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16" r:id="rId3"/>
    <p:sldMasterId id="2147483728" r:id="rId4"/>
    <p:sldMasterId id="2147483740" r:id="rId5"/>
    <p:sldMasterId id="2147483752" r:id="rId6"/>
  </p:sldMasterIdLst>
  <p:notesMasterIdLst>
    <p:notesMasterId r:id="rId35"/>
  </p:notesMasterIdLst>
  <p:handoutMasterIdLst>
    <p:handoutMasterId r:id="rId36"/>
  </p:handoutMasterIdLst>
  <p:sldIdLst>
    <p:sldId id="2049" r:id="rId7"/>
    <p:sldId id="292" r:id="rId8"/>
    <p:sldId id="259" r:id="rId9"/>
    <p:sldId id="2083" r:id="rId10"/>
    <p:sldId id="2084" r:id="rId11"/>
    <p:sldId id="2085" r:id="rId12"/>
    <p:sldId id="2086" r:id="rId13"/>
    <p:sldId id="2087" r:id="rId14"/>
    <p:sldId id="2088" r:id="rId15"/>
    <p:sldId id="2089" r:id="rId16"/>
    <p:sldId id="2067" r:id="rId17"/>
    <p:sldId id="2066" r:id="rId18"/>
    <p:sldId id="2068" r:id="rId19"/>
    <p:sldId id="262" r:id="rId20"/>
    <p:sldId id="2069" r:id="rId21"/>
    <p:sldId id="2071" r:id="rId22"/>
    <p:sldId id="2070" r:id="rId23"/>
    <p:sldId id="2072" r:id="rId24"/>
    <p:sldId id="260" r:id="rId25"/>
    <p:sldId id="2074" r:id="rId26"/>
    <p:sldId id="2075" r:id="rId27"/>
    <p:sldId id="2077" r:id="rId28"/>
    <p:sldId id="2078" r:id="rId29"/>
    <p:sldId id="2080" r:id="rId30"/>
    <p:sldId id="2079" r:id="rId31"/>
    <p:sldId id="2091" r:id="rId32"/>
    <p:sldId id="2081" r:id="rId33"/>
    <p:sldId id="2026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33" userDrawn="1">
          <p15:clr>
            <a:srgbClr val="A4A3A4"/>
          </p15:clr>
        </p15:guide>
        <p15:guide id="3" pos="4316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7" pos="5518" userDrawn="1">
          <p15:clr>
            <a:srgbClr val="A4A3A4"/>
          </p15:clr>
        </p15:guide>
        <p15:guide id="8" pos="2139" userDrawn="1">
          <p15:clr>
            <a:srgbClr val="A4A3A4"/>
          </p15:clr>
        </p15:guide>
        <p15:guide id="9" pos="347" userDrawn="1">
          <p15:clr>
            <a:srgbClr val="A4A3A4"/>
          </p15:clr>
        </p15:guide>
        <p15:guide id="10" orient="horz" pos="34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FF"/>
    <a:srgbClr val="008000"/>
    <a:srgbClr val="D9D9D8"/>
    <a:srgbClr val="F3F3F3"/>
    <a:srgbClr val="B4B4B5"/>
    <a:srgbClr val="B3B4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67" autoAdjust="0"/>
    <p:restoredTop sz="95439"/>
  </p:normalViewPr>
  <p:slideViewPr>
    <p:cSldViewPr snapToGrid="0" snapToObjects="1" showGuides="1">
      <p:cViewPr varScale="1">
        <p:scale>
          <a:sx n="80" d="100"/>
          <a:sy n="80" d="100"/>
        </p:scale>
        <p:origin x="77" y="62"/>
      </p:cViewPr>
      <p:guideLst>
        <p:guide orient="horz" pos="2160"/>
        <p:guide pos="7333"/>
        <p:guide pos="4316"/>
        <p:guide pos="3840"/>
        <p:guide orient="horz" pos="346"/>
        <p:guide orient="horz" pos="3997"/>
        <p:guide pos="5518"/>
        <p:guide pos="2139"/>
        <p:guide pos="347"/>
        <p:guide orient="horz" pos="347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343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E1C7CE-B93E-454A-ABB2-04AD8B71856F}" type="doc">
      <dgm:prSet loTypeId="urn:microsoft.com/office/officeart/2005/8/layout/hierarchy2" loCatId="hierarchy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1F6E435-2E14-4D4A-8582-89C335F96982}">
      <dgm:prSet phldrT="[Text]" custT="1"/>
      <dgm:spPr/>
      <dgm:t>
        <a:bodyPr/>
        <a:lstStyle/>
        <a:p>
          <a:r>
            <a:rPr lang="en-US" sz="1800" dirty="0" err="1"/>
            <a:t>Cảm</a:t>
          </a:r>
          <a:r>
            <a:rPr lang="en-US" sz="1800" dirty="0"/>
            <a:t> </a:t>
          </a:r>
          <a:r>
            <a:rPr lang="en-US" sz="1800" dirty="0" err="1"/>
            <a:t>biến</a:t>
          </a:r>
          <a:endParaRPr lang="en-US" sz="1800" dirty="0"/>
        </a:p>
      </dgm:t>
    </dgm:pt>
    <dgm:pt modelId="{C07DBDB3-56CE-46B1-AD4C-A281B48B8B21}" type="parTrans" cxnId="{8731EB8D-749B-4E85-ADEC-939C587AEB4D}">
      <dgm:prSet/>
      <dgm:spPr/>
      <dgm:t>
        <a:bodyPr/>
        <a:lstStyle/>
        <a:p>
          <a:endParaRPr lang="en-US" sz="1800"/>
        </a:p>
      </dgm:t>
    </dgm:pt>
    <dgm:pt modelId="{42A016CB-CA2D-401A-B639-CEF651AFB53F}" type="sibTrans" cxnId="{8731EB8D-749B-4E85-ADEC-939C587AEB4D}">
      <dgm:prSet/>
      <dgm:spPr/>
      <dgm:t>
        <a:bodyPr/>
        <a:lstStyle/>
        <a:p>
          <a:endParaRPr lang="en-US" sz="1800"/>
        </a:p>
      </dgm:t>
    </dgm:pt>
    <dgm:pt modelId="{BBB75CDE-18E5-4617-9BE9-56ED63D473FD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nguyên</a:t>
          </a:r>
          <a:r>
            <a:rPr lang="en-US" sz="1800" dirty="0"/>
            <a:t> </a:t>
          </a:r>
          <a:r>
            <a:rPr lang="en-US" sz="1800" dirty="0" err="1"/>
            <a:t>tắc</a:t>
          </a:r>
          <a:r>
            <a:rPr lang="en-US" sz="1800" dirty="0"/>
            <a:t> </a:t>
          </a:r>
          <a:r>
            <a:rPr lang="en-US" sz="1800" dirty="0" err="1"/>
            <a:t>hoạt</a:t>
          </a:r>
          <a:r>
            <a:rPr lang="en-US" sz="1800" dirty="0"/>
            <a:t> </a:t>
          </a:r>
          <a:r>
            <a:rPr lang="en-US" sz="1800" dirty="0" err="1"/>
            <a:t>động</a:t>
          </a:r>
          <a:endParaRPr lang="en-US" sz="1800" dirty="0"/>
        </a:p>
      </dgm:t>
    </dgm:pt>
    <dgm:pt modelId="{44B403F5-BB59-4CD4-84E8-BC6C8E34518E}" type="parTrans" cxnId="{F355505E-1053-4CEA-92FE-4011AA1BAF58}">
      <dgm:prSet custT="1"/>
      <dgm:spPr/>
      <dgm:t>
        <a:bodyPr/>
        <a:lstStyle/>
        <a:p>
          <a:endParaRPr lang="en-US" sz="1800"/>
        </a:p>
      </dgm:t>
    </dgm:pt>
    <dgm:pt modelId="{1712875D-EC8A-47B5-B577-139A39507ADD}" type="sibTrans" cxnId="{F355505E-1053-4CEA-92FE-4011AA1BAF58}">
      <dgm:prSet/>
      <dgm:spPr/>
      <dgm:t>
        <a:bodyPr/>
        <a:lstStyle/>
        <a:p>
          <a:endParaRPr lang="en-US" sz="1800"/>
        </a:p>
      </dgm:t>
    </dgm:pt>
    <dgm:pt modelId="{56F9F04D-55D8-4D7B-9BE6-EBEEA5B73EC2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trực</a:t>
          </a:r>
          <a:r>
            <a:rPr lang="en-US" sz="1800" dirty="0"/>
            <a:t> </a:t>
          </a:r>
          <a:r>
            <a:rPr lang="en-US" sz="1800" dirty="0" err="1"/>
            <a:t>tiếp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điện</a:t>
          </a:r>
          <a:endParaRPr lang="en-US" sz="1800" dirty="0"/>
        </a:p>
      </dgm:t>
    </dgm:pt>
    <dgm:pt modelId="{5A15E69C-12AF-4719-BB26-E389757CCB07}" type="parTrans" cxnId="{6F297710-BEBC-46F0-8FAB-34971E003A02}">
      <dgm:prSet custT="1"/>
      <dgm:spPr/>
      <dgm:t>
        <a:bodyPr/>
        <a:lstStyle/>
        <a:p>
          <a:endParaRPr lang="en-US" sz="1800"/>
        </a:p>
      </dgm:t>
    </dgm:pt>
    <dgm:pt modelId="{4A64C11E-498F-4FB7-BE9D-9EF56AA4D85B}" type="sibTrans" cxnId="{6F297710-BEBC-46F0-8FAB-34971E003A02}">
      <dgm:prSet/>
      <dgm:spPr/>
      <dgm:t>
        <a:bodyPr/>
        <a:lstStyle/>
        <a:p>
          <a:endParaRPr lang="en-US" sz="1800"/>
        </a:p>
      </dgm:t>
    </dgm:pt>
    <dgm:pt modelId="{74A6765A-A9C4-4A1E-A985-9A041A0A88AE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ác</a:t>
          </a:r>
          <a:r>
            <a:rPr lang="en-US" sz="1800" dirty="0"/>
            <a:t> </a:t>
          </a:r>
          <a:r>
            <a:rPr lang="en-US" sz="1800" dirty="0" err="1"/>
            <a:t>dạng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sự</a:t>
          </a:r>
          <a:r>
            <a:rPr lang="en-US" sz="1800" dirty="0"/>
            <a:t> </a:t>
          </a:r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ủa</a:t>
          </a:r>
          <a:r>
            <a:rPr lang="en-US" sz="1800" dirty="0"/>
            <a:t> </a:t>
          </a:r>
          <a:r>
            <a:rPr lang="en-US" sz="1800" dirty="0" err="1"/>
            <a:t>đại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vật</a:t>
          </a:r>
          <a:r>
            <a:rPr lang="en-US" sz="1800" dirty="0"/>
            <a:t> </a:t>
          </a:r>
          <a:r>
            <a:rPr lang="en-US" sz="1800" dirty="0" err="1"/>
            <a:t>lí</a:t>
          </a:r>
          <a:r>
            <a:rPr lang="en-US" sz="1800" dirty="0"/>
            <a:t> </a:t>
          </a:r>
        </a:p>
      </dgm:t>
    </dgm:pt>
    <dgm:pt modelId="{7C772198-BB99-486C-9E52-4161214ADDB9}" type="parTrans" cxnId="{7D8EC525-21CB-417F-976C-6C0F667B6674}">
      <dgm:prSet custT="1"/>
      <dgm:spPr/>
      <dgm:t>
        <a:bodyPr/>
        <a:lstStyle/>
        <a:p>
          <a:endParaRPr lang="en-US" sz="1800"/>
        </a:p>
      </dgm:t>
    </dgm:pt>
    <dgm:pt modelId="{74E48A1F-F8F4-4A02-882F-6DED30009AF5}" type="sibTrans" cxnId="{7D8EC525-21CB-417F-976C-6C0F667B6674}">
      <dgm:prSet/>
      <dgm:spPr/>
      <dgm:t>
        <a:bodyPr/>
        <a:lstStyle/>
        <a:p>
          <a:endParaRPr lang="en-US" sz="1800"/>
        </a:p>
      </dgm:t>
    </dgm:pt>
    <dgm:pt modelId="{FFCB0C0C-1E69-491F-BAD3-29990DEF87EB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phạm</a:t>
          </a:r>
          <a:r>
            <a:rPr lang="en-US" sz="1800" dirty="0"/>
            <a:t> vi </a:t>
          </a:r>
          <a:r>
            <a:rPr lang="en-US" sz="1800" dirty="0" err="1"/>
            <a:t>sử</a:t>
          </a:r>
          <a:r>
            <a:rPr lang="en-US" sz="1800" dirty="0"/>
            <a:t> </a:t>
          </a:r>
          <a:r>
            <a:rPr lang="en-US" sz="1800" dirty="0" err="1"/>
            <a:t>dụng</a:t>
          </a:r>
          <a:endParaRPr lang="en-US" sz="1800" dirty="0"/>
        </a:p>
      </dgm:t>
    </dgm:pt>
    <dgm:pt modelId="{72CF456C-4DC8-45CA-8488-BD60AB6AE935}" type="parTrans" cxnId="{587C69ED-CCCD-4B5B-B95E-A5EFCE9FC3B3}">
      <dgm:prSet custT="1"/>
      <dgm:spPr/>
      <dgm:t>
        <a:bodyPr/>
        <a:lstStyle/>
        <a:p>
          <a:endParaRPr lang="en-US" sz="1800"/>
        </a:p>
      </dgm:t>
    </dgm:pt>
    <dgm:pt modelId="{9A61904D-4BBF-4147-B10D-C95D6C82F171}" type="sibTrans" cxnId="{587C69ED-CCCD-4B5B-B95E-A5EFCE9FC3B3}">
      <dgm:prSet/>
      <dgm:spPr/>
      <dgm:t>
        <a:bodyPr/>
        <a:lstStyle/>
        <a:p>
          <a:endParaRPr lang="en-US" sz="1800"/>
        </a:p>
      </dgm:t>
    </dgm:pt>
    <dgm:pt modelId="{493418C0-B359-4519-B2B6-E46DDC32FCAA}">
      <dgm:prSet phldrT="[Text]" custT="1"/>
      <dgm:spPr/>
      <dgm:t>
        <a:bodyPr/>
        <a:lstStyle/>
        <a:p>
          <a:r>
            <a:rPr lang="en-US" sz="1800" dirty="0"/>
            <a:t>Y </a:t>
          </a:r>
          <a:r>
            <a:rPr lang="en-US" sz="1800" dirty="0" err="1"/>
            <a:t>tế</a:t>
          </a:r>
          <a:endParaRPr lang="en-US" sz="1800" dirty="0"/>
        </a:p>
      </dgm:t>
    </dgm:pt>
    <dgm:pt modelId="{2AEE3883-0250-41E4-ACB1-D9F8669AE6C5}" type="parTrans" cxnId="{19A68B6F-A251-4413-A316-B5A8EF72034B}">
      <dgm:prSet custT="1"/>
      <dgm:spPr/>
      <dgm:t>
        <a:bodyPr/>
        <a:lstStyle/>
        <a:p>
          <a:endParaRPr lang="en-US" sz="1800"/>
        </a:p>
      </dgm:t>
    </dgm:pt>
    <dgm:pt modelId="{28D48088-B5D9-4BF1-8B53-FE7E016A860C}" type="sibTrans" cxnId="{19A68B6F-A251-4413-A316-B5A8EF72034B}">
      <dgm:prSet/>
      <dgm:spPr/>
      <dgm:t>
        <a:bodyPr/>
        <a:lstStyle/>
        <a:p>
          <a:endParaRPr lang="en-US" sz="1800"/>
        </a:p>
      </dgm:t>
    </dgm:pt>
    <dgm:pt modelId="{D8D02F9A-D893-48D4-BD6B-4C7D13C7DB39}">
      <dgm:prSet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endParaRPr lang="en-US" sz="1800" dirty="0"/>
        </a:p>
      </dgm:t>
    </dgm:pt>
    <dgm:pt modelId="{0938710D-5CCD-40BC-90D2-664002706343}" type="parTrans" cxnId="{BC32801A-B8E2-4E47-BCEC-568F0EA4C6EB}">
      <dgm:prSet custT="1"/>
      <dgm:spPr/>
      <dgm:t>
        <a:bodyPr/>
        <a:lstStyle/>
        <a:p>
          <a:endParaRPr lang="en-US" sz="1800"/>
        </a:p>
      </dgm:t>
    </dgm:pt>
    <dgm:pt modelId="{3FAFCE98-B29D-443A-9D3D-E4D94EF636D2}" type="sibTrans" cxnId="{BC32801A-B8E2-4E47-BCEC-568F0EA4C6EB}">
      <dgm:prSet/>
      <dgm:spPr/>
      <dgm:t>
        <a:bodyPr/>
        <a:lstStyle/>
        <a:p>
          <a:endParaRPr lang="en-US" sz="1800"/>
        </a:p>
      </dgm:t>
    </dgm:pt>
    <dgm:pt modelId="{538F841B-BFFA-4E10-90F6-8F51306E23A9}">
      <dgm:prSet custT="1"/>
      <dgm:spPr/>
      <dgm:t>
        <a:bodyPr/>
        <a:lstStyle/>
        <a:p>
          <a:r>
            <a:rPr lang="en-US" sz="1800" dirty="0" err="1"/>
            <a:t>Môi</a:t>
          </a:r>
          <a:r>
            <a:rPr lang="en-US" sz="1800" dirty="0"/>
            <a:t> </a:t>
          </a:r>
          <a:r>
            <a:rPr lang="en-US" sz="1800" dirty="0" err="1"/>
            <a:t>trường</a:t>
          </a:r>
          <a:endParaRPr lang="en-US" sz="1800" dirty="0"/>
        </a:p>
      </dgm:t>
    </dgm:pt>
    <dgm:pt modelId="{18A6EC7C-F176-4681-A03E-34008FD36CB2}" type="parTrans" cxnId="{C46513A3-CB86-4913-93B5-EB726E163707}">
      <dgm:prSet custT="1"/>
      <dgm:spPr/>
      <dgm:t>
        <a:bodyPr/>
        <a:lstStyle/>
        <a:p>
          <a:endParaRPr lang="en-US" sz="1800"/>
        </a:p>
      </dgm:t>
    </dgm:pt>
    <dgm:pt modelId="{F74766B2-BA7F-4943-A4BD-E12076C709A0}" type="sibTrans" cxnId="{C46513A3-CB86-4913-93B5-EB726E163707}">
      <dgm:prSet/>
      <dgm:spPr/>
      <dgm:t>
        <a:bodyPr/>
        <a:lstStyle/>
        <a:p>
          <a:endParaRPr lang="en-US" sz="1800"/>
        </a:p>
      </dgm:t>
    </dgm:pt>
    <dgm:pt modelId="{5E46DB91-2554-4E90-AD3B-A818D3F98B30}">
      <dgm:prSet custT="1"/>
      <dgm:spPr/>
      <dgm:t>
        <a:bodyPr/>
        <a:lstStyle/>
        <a:p>
          <a:r>
            <a:rPr lang="en-US" sz="1800" dirty="0" err="1"/>
            <a:t>C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B1969581-B116-4A33-915E-F5571EA4B268}" type="parTrans" cxnId="{4DC1AB0E-E3D4-4A91-88B8-774F0B8C5688}">
      <dgm:prSet custT="1"/>
      <dgm:spPr/>
      <dgm:t>
        <a:bodyPr/>
        <a:lstStyle/>
        <a:p>
          <a:endParaRPr lang="en-US" sz="1800"/>
        </a:p>
      </dgm:t>
    </dgm:pt>
    <dgm:pt modelId="{B081AB99-5385-472D-AB4A-0557C671F1FF}" type="sibTrans" cxnId="{4DC1AB0E-E3D4-4A91-88B8-774F0B8C5688}">
      <dgm:prSet/>
      <dgm:spPr/>
      <dgm:t>
        <a:bodyPr/>
        <a:lstStyle/>
        <a:p>
          <a:endParaRPr lang="en-US" sz="1800"/>
        </a:p>
      </dgm:t>
    </dgm:pt>
    <dgm:pt modelId="{2F52146E-E037-4905-A26A-360D87CE8112}">
      <dgm:prSet custT="1"/>
      <dgm:spPr/>
      <dgm:t>
        <a:bodyPr/>
        <a:lstStyle/>
        <a:p>
          <a:r>
            <a:rPr lang="en-US" sz="1800" dirty="0" err="1"/>
            <a:t>N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14FE5694-A28B-440A-9CBF-B6A47B3AEC5B}" type="parTrans" cxnId="{ABF43627-FEAF-45F1-AF0E-2BBCC5014328}">
      <dgm:prSet custT="1"/>
      <dgm:spPr/>
      <dgm:t>
        <a:bodyPr/>
        <a:lstStyle/>
        <a:p>
          <a:endParaRPr lang="en-US" sz="1800"/>
        </a:p>
      </dgm:t>
    </dgm:pt>
    <dgm:pt modelId="{093CFF72-0320-40FD-A2C5-F29B84A8530F}" type="sibTrans" cxnId="{ABF43627-FEAF-45F1-AF0E-2BBCC5014328}">
      <dgm:prSet/>
      <dgm:spPr/>
      <dgm:t>
        <a:bodyPr/>
        <a:lstStyle/>
        <a:p>
          <a:endParaRPr lang="en-US" sz="1800"/>
        </a:p>
      </dgm:t>
    </dgm:pt>
    <dgm:pt modelId="{0AD3F8E2-02CC-4DFD-8D06-F3E34384F385}">
      <dgm:prSet custT="1"/>
      <dgm:spPr/>
      <dgm:t>
        <a:bodyPr/>
        <a:lstStyle/>
        <a:p>
          <a:r>
            <a:rPr lang="en-US" sz="1800" dirty="0" err="1"/>
            <a:t>Giá</a:t>
          </a:r>
          <a:r>
            <a:rPr lang="en-US" sz="1800" dirty="0"/>
            <a:t> </a:t>
          </a:r>
          <a:r>
            <a:rPr lang="en-US" sz="1800" dirty="0" err="1"/>
            <a:t>thành</a:t>
          </a:r>
          <a:endParaRPr lang="en-US" sz="1800" dirty="0"/>
        </a:p>
      </dgm:t>
    </dgm:pt>
    <dgm:pt modelId="{8DDF5D47-779F-4FBC-88DA-BF8808B19191}" type="parTrans" cxnId="{40BC6CE9-3D9C-4576-8D7D-BE2714D47188}">
      <dgm:prSet custT="1"/>
      <dgm:spPr/>
      <dgm:t>
        <a:bodyPr/>
        <a:lstStyle/>
        <a:p>
          <a:endParaRPr lang="en-US" sz="1800"/>
        </a:p>
      </dgm:t>
    </dgm:pt>
    <dgm:pt modelId="{D6C1B3D3-BCA7-45F1-B558-7F5133608729}" type="sibTrans" cxnId="{40BC6CE9-3D9C-4576-8D7D-BE2714D47188}">
      <dgm:prSet/>
      <dgm:spPr/>
      <dgm:t>
        <a:bodyPr/>
        <a:lstStyle/>
        <a:p>
          <a:endParaRPr lang="en-US" sz="1800"/>
        </a:p>
      </dgm:t>
    </dgm:pt>
    <dgm:pt modelId="{F862BF4D-A656-45F6-A7D7-DD21F893B7CD}">
      <dgm:prSet custT="1"/>
      <dgm:spPr/>
      <dgm:t>
        <a:bodyPr/>
        <a:lstStyle/>
        <a:p>
          <a:r>
            <a:rPr lang="en-US" sz="1800" dirty="0" err="1"/>
            <a:t>Năng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tiêu</a:t>
          </a:r>
          <a:r>
            <a:rPr lang="en-US" sz="1800" dirty="0"/>
            <a:t> </a:t>
          </a:r>
          <a:r>
            <a:rPr lang="en-US" sz="1800" dirty="0" err="1"/>
            <a:t>thụ</a:t>
          </a:r>
          <a:endParaRPr lang="en-US" sz="1800" dirty="0"/>
        </a:p>
      </dgm:t>
    </dgm:pt>
    <dgm:pt modelId="{DFE64B76-F719-4489-9F63-A2CA90DF4457}" type="parTrans" cxnId="{138E0D93-6BC5-432B-BACB-C39CD63B406F}">
      <dgm:prSet custT="1"/>
      <dgm:spPr/>
      <dgm:t>
        <a:bodyPr/>
        <a:lstStyle/>
        <a:p>
          <a:endParaRPr lang="en-US" sz="1800"/>
        </a:p>
      </dgm:t>
    </dgm:pt>
    <dgm:pt modelId="{4740ED32-54F4-43DE-93BC-9DD6971C00D4}" type="sibTrans" cxnId="{138E0D93-6BC5-432B-BACB-C39CD63B406F}">
      <dgm:prSet/>
      <dgm:spPr/>
      <dgm:t>
        <a:bodyPr/>
        <a:lstStyle/>
        <a:p>
          <a:endParaRPr lang="en-US" sz="1800"/>
        </a:p>
      </dgm:t>
    </dgm:pt>
    <dgm:pt modelId="{716E9BEA-220E-42BD-94BB-2B73EA6A6FE4}">
      <dgm:prSet custT="1"/>
      <dgm:spPr/>
      <dgm:t>
        <a:bodyPr/>
        <a:lstStyle/>
        <a:p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chính</a:t>
          </a:r>
          <a:r>
            <a:rPr lang="en-US" sz="1800" dirty="0"/>
            <a:t> </a:t>
          </a:r>
          <a:r>
            <a:rPr lang="en-US" sz="1800" dirty="0" err="1"/>
            <a:t>xác</a:t>
          </a:r>
          <a:r>
            <a:rPr lang="en-US" sz="1800" dirty="0"/>
            <a:t>, </a:t>
          </a:r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bền</a:t>
          </a:r>
          <a:endParaRPr lang="en-US" sz="1800" dirty="0"/>
        </a:p>
      </dgm:t>
    </dgm:pt>
    <dgm:pt modelId="{5EA3E1C7-74BF-4D28-9C33-694188F81CCD}" type="parTrans" cxnId="{0A040916-67AB-4125-BC57-5FA57FE53345}">
      <dgm:prSet custT="1"/>
      <dgm:spPr/>
      <dgm:t>
        <a:bodyPr/>
        <a:lstStyle/>
        <a:p>
          <a:endParaRPr lang="en-US" sz="1800"/>
        </a:p>
      </dgm:t>
    </dgm:pt>
    <dgm:pt modelId="{D8EB2F31-BEBD-4189-8880-F453CCC94185}" type="sibTrans" cxnId="{0A040916-67AB-4125-BC57-5FA57FE53345}">
      <dgm:prSet/>
      <dgm:spPr/>
      <dgm:t>
        <a:bodyPr/>
        <a:lstStyle/>
        <a:p>
          <a:endParaRPr lang="en-US" sz="1800"/>
        </a:p>
      </dgm:t>
    </dgm:pt>
    <dgm:pt modelId="{1B877BD4-853D-4DA6-A6E8-7B10181450EC}">
      <dgm:prSet custT="1"/>
      <dgm:spPr/>
      <dgm:t>
        <a:bodyPr/>
        <a:lstStyle/>
        <a:p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r>
            <a:rPr lang="en-US" sz="1800" dirty="0"/>
            <a:t> </a:t>
          </a:r>
          <a:r>
            <a:rPr lang="en-US" sz="1800" dirty="0" err="1"/>
            <a:t>mang</a:t>
          </a:r>
          <a:r>
            <a:rPr lang="en-US" sz="1800" dirty="0"/>
            <a:t> </a:t>
          </a:r>
          <a:r>
            <a:rPr lang="en-US" sz="1800" dirty="0" err="1"/>
            <a:t>lại</a:t>
          </a:r>
          <a:endParaRPr lang="en-US" sz="1800" dirty="0"/>
        </a:p>
      </dgm:t>
    </dgm:pt>
    <dgm:pt modelId="{38B96362-5A17-4F2F-88B3-746728244553}" type="parTrans" cxnId="{E6873FE2-5A66-466A-81D1-A8A991F5E6BE}">
      <dgm:prSet custT="1"/>
      <dgm:spPr/>
      <dgm:t>
        <a:bodyPr/>
        <a:lstStyle/>
        <a:p>
          <a:endParaRPr lang="en-US" sz="1800"/>
        </a:p>
      </dgm:t>
    </dgm:pt>
    <dgm:pt modelId="{2D240D0F-DD53-47E2-A716-545D48CD47AA}" type="sibTrans" cxnId="{E6873FE2-5A66-466A-81D1-A8A991F5E6BE}">
      <dgm:prSet/>
      <dgm:spPr/>
      <dgm:t>
        <a:bodyPr/>
        <a:lstStyle/>
        <a:p>
          <a:endParaRPr lang="en-US" sz="1800"/>
        </a:p>
      </dgm:t>
    </dgm:pt>
    <dgm:pt modelId="{56C9B4A3-B6B0-4D3F-BBB3-3B7D3BBCF300}" type="pres">
      <dgm:prSet presAssocID="{DFE1C7CE-B93E-454A-ABB2-04AD8B71856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7157101-082C-4C97-8899-C5154CDBFA52}" type="pres">
      <dgm:prSet presAssocID="{E1F6E435-2E14-4D4A-8582-89C335F96982}" presName="root1" presStyleCnt="0"/>
      <dgm:spPr/>
    </dgm:pt>
    <dgm:pt modelId="{6009F093-E4BD-4648-B182-3D088C5AD79E}" type="pres">
      <dgm:prSet presAssocID="{E1F6E435-2E14-4D4A-8582-89C335F96982}" presName="LevelOneTextNode" presStyleLbl="node0" presStyleIdx="0" presStyleCnt="1" custScaleX="61638" custLinFactX="-100000" custLinFactNeighborX="-111989" custLinFactNeighborY="17865">
        <dgm:presLayoutVars>
          <dgm:chPref val="3"/>
        </dgm:presLayoutVars>
      </dgm:prSet>
      <dgm:spPr/>
    </dgm:pt>
    <dgm:pt modelId="{A4DA5EB6-C462-49D8-B226-565875F810AA}" type="pres">
      <dgm:prSet presAssocID="{E1F6E435-2E14-4D4A-8582-89C335F96982}" presName="level2hierChild" presStyleCnt="0"/>
      <dgm:spPr/>
    </dgm:pt>
    <dgm:pt modelId="{2D92BB5F-7A22-479A-8E4F-7F74B41A7D17}" type="pres">
      <dgm:prSet presAssocID="{44B403F5-BB59-4CD4-84E8-BC6C8E34518E}" presName="conn2-1" presStyleLbl="parChTrans1D2" presStyleIdx="0" presStyleCnt="3"/>
      <dgm:spPr/>
    </dgm:pt>
    <dgm:pt modelId="{2DB89C70-3904-49D5-BF7D-0441326C5A33}" type="pres">
      <dgm:prSet presAssocID="{44B403F5-BB59-4CD4-84E8-BC6C8E34518E}" presName="connTx" presStyleLbl="parChTrans1D2" presStyleIdx="0" presStyleCnt="3"/>
      <dgm:spPr/>
    </dgm:pt>
    <dgm:pt modelId="{4518F80F-865F-4C38-8DCA-A2D97219C442}" type="pres">
      <dgm:prSet presAssocID="{BBB75CDE-18E5-4617-9BE9-56ED63D473FD}" presName="root2" presStyleCnt="0"/>
      <dgm:spPr/>
    </dgm:pt>
    <dgm:pt modelId="{EB758390-B5F0-471B-A598-F2EA7FE78F2F}" type="pres">
      <dgm:prSet presAssocID="{BBB75CDE-18E5-4617-9BE9-56ED63D473FD}" presName="LevelTwoTextNode" presStyleLbl="node2" presStyleIdx="0" presStyleCnt="3" custScaleX="93101" custScaleY="112543" custLinFactX="-51901" custLinFactNeighborX="-100000" custLinFactNeighborY="43921">
        <dgm:presLayoutVars>
          <dgm:chPref val="3"/>
        </dgm:presLayoutVars>
      </dgm:prSet>
      <dgm:spPr/>
    </dgm:pt>
    <dgm:pt modelId="{351B4420-37E3-4E0A-A264-9AC5EEC4371B}" type="pres">
      <dgm:prSet presAssocID="{BBB75CDE-18E5-4617-9BE9-56ED63D473FD}" presName="level3hierChild" presStyleCnt="0"/>
      <dgm:spPr/>
    </dgm:pt>
    <dgm:pt modelId="{FB422C1E-5D75-4CAB-987F-169DFF25D586}" type="pres">
      <dgm:prSet presAssocID="{5A15E69C-12AF-4719-BB26-E389757CCB07}" presName="conn2-1" presStyleLbl="parChTrans1D3" presStyleIdx="0" presStyleCnt="10"/>
      <dgm:spPr/>
    </dgm:pt>
    <dgm:pt modelId="{7CA54D22-113F-4476-9217-B918BDE07DEB}" type="pres">
      <dgm:prSet presAssocID="{5A15E69C-12AF-4719-BB26-E389757CCB07}" presName="connTx" presStyleLbl="parChTrans1D3" presStyleIdx="0" presStyleCnt="10"/>
      <dgm:spPr/>
    </dgm:pt>
    <dgm:pt modelId="{1B9A8C18-2775-4941-BF60-65E8D8EA1FBB}" type="pres">
      <dgm:prSet presAssocID="{56F9F04D-55D8-4D7B-9BE6-EBEEA5B73EC2}" presName="root2" presStyleCnt="0"/>
      <dgm:spPr/>
    </dgm:pt>
    <dgm:pt modelId="{036A4956-C567-4A65-BE49-ECCDEB66741C}" type="pres">
      <dgm:prSet presAssocID="{56F9F04D-55D8-4D7B-9BE6-EBEEA5B73EC2}" presName="LevelTwoTextNode" presStyleLbl="node3" presStyleIdx="0" presStyleCnt="10" custScaleX="257768" custScaleY="55285" custLinFactX="-85501" custLinFactNeighborX="-100000" custLinFactNeighborY="14556">
        <dgm:presLayoutVars>
          <dgm:chPref val="3"/>
        </dgm:presLayoutVars>
      </dgm:prSet>
      <dgm:spPr/>
    </dgm:pt>
    <dgm:pt modelId="{354CB90D-A581-4473-B6FE-E37AE9AFC621}" type="pres">
      <dgm:prSet presAssocID="{56F9F04D-55D8-4D7B-9BE6-EBEEA5B73EC2}" presName="level3hierChild" presStyleCnt="0"/>
      <dgm:spPr/>
    </dgm:pt>
    <dgm:pt modelId="{D2C90DAF-827F-4305-ABBF-900B3C60FD0A}" type="pres">
      <dgm:prSet presAssocID="{7C772198-BB99-486C-9E52-4161214ADDB9}" presName="conn2-1" presStyleLbl="parChTrans1D3" presStyleIdx="1" presStyleCnt="10"/>
      <dgm:spPr/>
    </dgm:pt>
    <dgm:pt modelId="{67E32E82-F79D-40C6-A8E1-6A99656C2F83}" type="pres">
      <dgm:prSet presAssocID="{7C772198-BB99-486C-9E52-4161214ADDB9}" presName="connTx" presStyleLbl="parChTrans1D3" presStyleIdx="1" presStyleCnt="10"/>
      <dgm:spPr/>
    </dgm:pt>
    <dgm:pt modelId="{F2DA023C-3A32-48A4-B8AA-62545D708A04}" type="pres">
      <dgm:prSet presAssocID="{74A6765A-A9C4-4A1E-A985-9A041A0A88AE}" presName="root2" presStyleCnt="0"/>
      <dgm:spPr/>
    </dgm:pt>
    <dgm:pt modelId="{272F36CC-95FD-47E1-84D8-BB35AD90260E}" type="pres">
      <dgm:prSet presAssocID="{74A6765A-A9C4-4A1E-A985-9A041A0A88AE}" presName="LevelTwoTextNode" presStyleLbl="node3" presStyleIdx="1" presStyleCnt="10" custScaleX="239871" custScaleY="84237" custLinFactX="-78386" custLinFactNeighborX="-100000" custLinFactNeighborY="20363">
        <dgm:presLayoutVars>
          <dgm:chPref val="3"/>
        </dgm:presLayoutVars>
      </dgm:prSet>
      <dgm:spPr/>
    </dgm:pt>
    <dgm:pt modelId="{2E2F0D99-14A0-4EB3-9E2A-5F073C89F5F1}" type="pres">
      <dgm:prSet presAssocID="{74A6765A-A9C4-4A1E-A985-9A041A0A88AE}" presName="level3hierChild" presStyleCnt="0"/>
      <dgm:spPr/>
    </dgm:pt>
    <dgm:pt modelId="{8AC2AB6F-F213-4ADF-B92D-32AD4843351A}" type="pres">
      <dgm:prSet presAssocID="{72CF456C-4DC8-45CA-8488-BD60AB6AE935}" presName="conn2-1" presStyleLbl="parChTrans1D2" presStyleIdx="1" presStyleCnt="3"/>
      <dgm:spPr/>
    </dgm:pt>
    <dgm:pt modelId="{D2D9E4C9-B0A2-4F19-8E22-96B3D1C1B7B0}" type="pres">
      <dgm:prSet presAssocID="{72CF456C-4DC8-45CA-8488-BD60AB6AE935}" presName="connTx" presStyleLbl="parChTrans1D2" presStyleIdx="1" presStyleCnt="3"/>
      <dgm:spPr/>
    </dgm:pt>
    <dgm:pt modelId="{D9D8E3CC-61B3-4A7B-B068-8E72B8BB9017}" type="pres">
      <dgm:prSet presAssocID="{FFCB0C0C-1E69-491F-BAD3-29990DEF87EB}" presName="root2" presStyleCnt="0"/>
      <dgm:spPr/>
    </dgm:pt>
    <dgm:pt modelId="{5ADDBDD1-CF83-494D-894F-6880C2D1A70F}" type="pres">
      <dgm:prSet presAssocID="{FFCB0C0C-1E69-491F-BAD3-29990DEF87EB}" presName="LevelTwoTextNode" presStyleLbl="node2" presStyleIdx="1" presStyleCnt="3" custScaleY="129209" custLinFactX="-10420" custLinFactNeighborX="-100000" custLinFactNeighborY="42262">
        <dgm:presLayoutVars>
          <dgm:chPref val="3"/>
        </dgm:presLayoutVars>
      </dgm:prSet>
      <dgm:spPr/>
    </dgm:pt>
    <dgm:pt modelId="{25DE9A65-7C81-4A4E-9BBB-D9FFDA7649E9}" type="pres">
      <dgm:prSet presAssocID="{FFCB0C0C-1E69-491F-BAD3-29990DEF87EB}" presName="level3hierChild" presStyleCnt="0"/>
      <dgm:spPr/>
    </dgm:pt>
    <dgm:pt modelId="{C6F589A2-C869-4FDD-9F13-DD0AB298EEEA}" type="pres">
      <dgm:prSet presAssocID="{2AEE3883-0250-41E4-ACB1-D9F8669AE6C5}" presName="conn2-1" presStyleLbl="parChTrans1D3" presStyleIdx="2" presStyleCnt="10"/>
      <dgm:spPr/>
    </dgm:pt>
    <dgm:pt modelId="{574C5000-AD73-454A-BB8D-429909809B90}" type="pres">
      <dgm:prSet presAssocID="{2AEE3883-0250-41E4-ACB1-D9F8669AE6C5}" presName="connTx" presStyleLbl="parChTrans1D3" presStyleIdx="2" presStyleCnt="10"/>
      <dgm:spPr/>
    </dgm:pt>
    <dgm:pt modelId="{74B5007C-BF39-43E0-B1AC-FDC484609C92}" type="pres">
      <dgm:prSet presAssocID="{493418C0-B359-4519-B2B6-E46DDC32FCAA}" presName="root2" presStyleCnt="0"/>
      <dgm:spPr/>
    </dgm:pt>
    <dgm:pt modelId="{35F87995-9438-4A28-B276-99BA28F0EF2F}" type="pres">
      <dgm:prSet presAssocID="{493418C0-B359-4519-B2B6-E46DDC32FCAA}" presName="LevelTwoTextNode" presStyleLbl="node3" presStyleIdx="2" presStyleCnt="10" custScaleY="41199" custLinFactX="-27415" custLinFactNeighborX="-100000" custLinFactNeighborY="59598">
        <dgm:presLayoutVars>
          <dgm:chPref val="3"/>
        </dgm:presLayoutVars>
      </dgm:prSet>
      <dgm:spPr/>
    </dgm:pt>
    <dgm:pt modelId="{DC0A06BD-EC94-4DE0-8425-3EF3E0E2A470}" type="pres">
      <dgm:prSet presAssocID="{493418C0-B359-4519-B2B6-E46DDC32FCAA}" presName="level3hierChild" presStyleCnt="0"/>
      <dgm:spPr/>
    </dgm:pt>
    <dgm:pt modelId="{C1D5AB20-F169-4710-B137-57622794592E}" type="pres">
      <dgm:prSet presAssocID="{18A6EC7C-F176-4681-A03E-34008FD36CB2}" presName="conn2-1" presStyleLbl="parChTrans1D3" presStyleIdx="3" presStyleCnt="10"/>
      <dgm:spPr/>
    </dgm:pt>
    <dgm:pt modelId="{A6E7F0C3-6B2F-490B-9BD1-90FE6F0F6555}" type="pres">
      <dgm:prSet presAssocID="{18A6EC7C-F176-4681-A03E-34008FD36CB2}" presName="connTx" presStyleLbl="parChTrans1D3" presStyleIdx="3" presStyleCnt="10"/>
      <dgm:spPr/>
    </dgm:pt>
    <dgm:pt modelId="{709396EB-FFF6-4CA3-8B4A-03E37323569E}" type="pres">
      <dgm:prSet presAssocID="{538F841B-BFFA-4E10-90F6-8F51306E23A9}" presName="root2" presStyleCnt="0"/>
      <dgm:spPr/>
    </dgm:pt>
    <dgm:pt modelId="{ED79924C-5A2B-403D-9075-C8164C3720E8}" type="pres">
      <dgm:prSet presAssocID="{538F841B-BFFA-4E10-90F6-8F51306E23A9}" presName="LevelTwoTextNode" presStyleLbl="node3" presStyleIdx="3" presStyleCnt="10" custScaleX="69048" custScaleY="49666" custLinFactNeighborX="-94213" custLinFactNeighborY="69302">
        <dgm:presLayoutVars>
          <dgm:chPref val="3"/>
        </dgm:presLayoutVars>
      </dgm:prSet>
      <dgm:spPr/>
    </dgm:pt>
    <dgm:pt modelId="{3B328F8F-4431-4200-99D7-198743E69404}" type="pres">
      <dgm:prSet presAssocID="{538F841B-BFFA-4E10-90F6-8F51306E23A9}" presName="level3hierChild" presStyleCnt="0"/>
      <dgm:spPr/>
    </dgm:pt>
    <dgm:pt modelId="{A7AB0CFD-7036-41CE-B618-B6E5DB3CB870}" type="pres">
      <dgm:prSet presAssocID="{B1969581-B116-4A33-915E-F5571EA4B268}" presName="conn2-1" presStyleLbl="parChTrans1D3" presStyleIdx="4" presStyleCnt="10"/>
      <dgm:spPr/>
    </dgm:pt>
    <dgm:pt modelId="{DF506DE1-903D-46AC-91E8-F1899AB131A1}" type="pres">
      <dgm:prSet presAssocID="{B1969581-B116-4A33-915E-F5571EA4B268}" presName="connTx" presStyleLbl="parChTrans1D3" presStyleIdx="4" presStyleCnt="10"/>
      <dgm:spPr/>
    </dgm:pt>
    <dgm:pt modelId="{52916929-0C5F-49DA-9BF7-9C29FAE0D05A}" type="pres">
      <dgm:prSet presAssocID="{5E46DB91-2554-4E90-AD3B-A818D3F98B30}" presName="root2" presStyleCnt="0"/>
      <dgm:spPr/>
    </dgm:pt>
    <dgm:pt modelId="{95DA46AE-C83A-4CC3-A7D0-23A04927D6A2}" type="pres">
      <dgm:prSet presAssocID="{5E46DB91-2554-4E90-AD3B-A818D3F98B30}" presName="LevelTwoTextNode" presStyleLbl="node3" presStyleIdx="4" presStyleCnt="10" custScaleX="71384" custScaleY="53674" custLinFactNeighborX="-52006" custLinFactNeighborY="61549">
        <dgm:presLayoutVars>
          <dgm:chPref val="3"/>
        </dgm:presLayoutVars>
      </dgm:prSet>
      <dgm:spPr/>
    </dgm:pt>
    <dgm:pt modelId="{57CB19CD-E89C-494C-A156-C3E6C6315C54}" type="pres">
      <dgm:prSet presAssocID="{5E46DB91-2554-4E90-AD3B-A818D3F98B30}" presName="level3hierChild" presStyleCnt="0"/>
      <dgm:spPr/>
    </dgm:pt>
    <dgm:pt modelId="{96105C51-DAF6-418F-BDF8-33E1629D70A2}" type="pres">
      <dgm:prSet presAssocID="{14FE5694-A28B-440A-9CBF-B6A47B3AEC5B}" presName="conn2-1" presStyleLbl="parChTrans1D3" presStyleIdx="5" presStyleCnt="10"/>
      <dgm:spPr/>
    </dgm:pt>
    <dgm:pt modelId="{8961A144-0201-46D6-9CDB-F4D076C2EBAC}" type="pres">
      <dgm:prSet presAssocID="{14FE5694-A28B-440A-9CBF-B6A47B3AEC5B}" presName="connTx" presStyleLbl="parChTrans1D3" presStyleIdx="5" presStyleCnt="10"/>
      <dgm:spPr/>
    </dgm:pt>
    <dgm:pt modelId="{EAB4C562-CBBD-4321-A5D8-C88EECC55F2F}" type="pres">
      <dgm:prSet presAssocID="{2F52146E-E037-4905-A26A-360D87CE8112}" presName="root2" presStyleCnt="0"/>
      <dgm:spPr/>
    </dgm:pt>
    <dgm:pt modelId="{C5AB3036-76EC-4A10-8347-DBC2F7417D3F}" type="pres">
      <dgm:prSet presAssocID="{2F52146E-E037-4905-A26A-360D87CE8112}" presName="LevelTwoTextNode" presStyleLbl="node3" presStyleIdx="5" presStyleCnt="10" custScaleX="81628" custScaleY="45764" custLinFactNeighborX="-38298" custLinFactNeighborY="71372">
        <dgm:presLayoutVars>
          <dgm:chPref val="3"/>
        </dgm:presLayoutVars>
      </dgm:prSet>
      <dgm:spPr/>
    </dgm:pt>
    <dgm:pt modelId="{D5784844-6613-4839-A8E5-73DDE0FA14DE}" type="pres">
      <dgm:prSet presAssocID="{2F52146E-E037-4905-A26A-360D87CE8112}" presName="level3hierChild" presStyleCnt="0"/>
      <dgm:spPr/>
    </dgm:pt>
    <dgm:pt modelId="{D34B3B74-7006-401E-8196-8B4D88A1073D}" type="pres">
      <dgm:prSet presAssocID="{0938710D-5CCD-40BC-90D2-664002706343}" presName="conn2-1" presStyleLbl="parChTrans1D2" presStyleIdx="2" presStyleCnt="3"/>
      <dgm:spPr/>
    </dgm:pt>
    <dgm:pt modelId="{C7FFC689-15AA-4F8D-914F-D65B3AA5FB8B}" type="pres">
      <dgm:prSet presAssocID="{0938710D-5CCD-40BC-90D2-664002706343}" presName="connTx" presStyleLbl="parChTrans1D2" presStyleIdx="2" presStyleCnt="3"/>
      <dgm:spPr/>
    </dgm:pt>
    <dgm:pt modelId="{FC32E997-251B-49B7-B2F4-D889E9FB764B}" type="pres">
      <dgm:prSet presAssocID="{D8D02F9A-D893-48D4-BD6B-4C7D13C7DB39}" presName="root2" presStyleCnt="0"/>
      <dgm:spPr/>
    </dgm:pt>
    <dgm:pt modelId="{4010BE2A-D30E-4C61-B395-834D194CA75D}" type="pres">
      <dgm:prSet presAssocID="{D8D02F9A-D893-48D4-BD6B-4C7D13C7DB39}" presName="LevelTwoTextNode" presStyleLbl="node2" presStyleIdx="2" presStyleCnt="3" custScaleX="114070" custScaleY="149289" custLinFactX="-52191" custLinFactNeighborX="-100000" custLinFactNeighborY="-16750">
        <dgm:presLayoutVars>
          <dgm:chPref val="3"/>
        </dgm:presLayoutVars>
      </dgm:prSet>
      <dgm:spPr/>
    </dgm:pt>
    <dgm:pt modelId="{527138A0-4268-4F31-856C-D3D7B8B4D277}" type="pres">
      <dgm:prSet presAssocID="{D8D02F9A-D893-48D4-BD6B-4C7D13C7DB39}" presName="level3hierChild" presStyleCnt="0"/>
      <dgm:spPr/>
    </dgm:pt>
    <dgm:pt modelId="{3DAAA332-8291-41B4-9747-D0D8E0453E79}" type="pres">
      <dgm:prSet presAssocID="{8DDF5D47-779F-4FBC-88DA-BF8808B19191}" presName="conn2-1" presStyleLbl="parChTrans1D3" presStyleIdx="6" presStyleCnt="10"/>
      <dgm:spPr/>
    </dgm:pt>
    <dgm:pt modelId="{9C168098-8E5E-464E-87DF-94F59078B4B8}" type="pres">
      <dgm:prSet presAssocID="{8DDF5D47-779F-4FBC-88DA-BF8808B19191}" presName="connTx" presStyleLbl="parChTrans1D3" presStyleIdx="6" presStyleCnt="10"/>
      <dgm:spPr/>
    </dgm:pt>
    <dgm:pt modelId="{2846D457-FA0C-47CD-9F29-41EFF32F352C}" type="pres">
      <dgm:prSet presAssocID="{0AD3F8E2-02CC-4DFD-8D06-F3E34384F385}" presName="root2" presStyleCnt="0"/>
      <dgm:spPr/>
    </dgm:pt>
    <dgm:pt modelId="{0CF8CB4E-235E-49F1-82FC-E50ABCF1C21A}" type="pres">
      <dgm:prSet presAssocID="{0AD3F8E2-02CC-4DFD-8D06-F3E34384F385}" presName="LevelTwoTextNode" presStyleLbl="node3" presStyleIdx="6" presStyleCnt="10" custScaleY="47911" custLinFactX="-77440" custLinFactNeighborX="-100000" custLinFactNeighborY="6665">
        <dgm:presLayoutVars>
          <dgm:chPref val="3"/>
        </dgm:presLayoutVars>
      </dgm:prSet>
      <dgm:spPr/>
    </dgm:pt>
    <dgm:pt modelId="{1CEC76CC-CAC2-48CA-9D10-1A361E62480E}" type="pres">
      <dgm:prSet presAssocID="{0AD3F8E2-02CC-4DFD-8D06-F3E34384F385}" presName="level3hierChild" presStyleCnt="0"/>
      <dgm:spPr/>
    </dgm:pt>
    <dgm:pt modelId="{598A2477-3956-4745-B81F-52E9119B82FB}" type="pres">
      <dgm:prSet presAssocID="{DFE64B76-F719-4489-9F63-A2CA90DF4457}" presName="conn2-1" presStyleLbl="parChTrans1D3" presStyleIdx="7" presStyleCnt="10"/>
      <dgm:spPr/>
    </dgm:pt>
    <dgm:pt modelId="{432B4CE7-E5A4-4F3B-BE4C-B10EFA05C33A}" type="pres">
      <dgm:prSet presAssocID="{DFE64B76-F719-4489-9F63-A2CA90DF4457}" presName="connTx" presStyleLbl="parChTrans1D3" presStyleIdx="7" presStyleCnt="10"/>
      <dgm:spPr/>
    </dgm:pt>
    <dgm:pt modelId="{200FD7A4-8902-46EA-80F6-AC5FAB6502B6}" type="pres">
      <dgm:prSet presAssocID="{F862BF4D-A656-45F6-A7D7-DD21F893B7CD}" presName="root2" presStyleCnt="0"/>
      <dgm:spPr/>
    </dgm:pt>
    <dgm:pt modelId="{21B723CF-9090-4960-826E-9E461027B320}" type="pres">
      <dgm:prSet presAssocID="{F862BF4D-A656-45F6-A7D7-DD21F893B7CD}" presName="LevelTwoTextNode" presStyleLbl="node3" presStyleIdx="7" presStyleCnt="10" custScaleX="149523" custScaleY="49809" custLinFactX="-52192" custLinFactNeighborX="-100000" custLinFactNeighborY="8592">
        <dgm:presLayoutVars>
          <dgm:chPref val="3"/>
        </dgm:presLayoutVars>
      </dgm:prSet>
      <dgm:spPr/>
    </dgm:pt>
    <dgm:pt modelId="{0F48B78C-C008-422C-A8AB-0165FBEA11A2}" type="pres">
      <dgm:prSet presAssocID="{F862BF4D-A656-45F6-A7D7-DD21F893B7CD}" presName="level3hierChild" presStyleCnt="0"/>
      <dgm:spPr/>
    </dgm:pt>
    <dgm:pt modelId="{AEA0893E-3951-4B29-A113-869D084482B7}" type="pres">
      <dgm:prSet presAssocID="{5EA3E1C7-74BF-4D28-9C33-694188F81CCD}" presName="conn2-1" presStyleLbl="parChTrans1D3" presStyleIdx="8" presStyleCnt="10"/>
      <dgm:spPr/>
    </dgm:pt>
    <dgm:pt modelId="{854AC183-2572-4EE9-8885-1E8EB9EDD267}" type="pres">
      <dgm:prSet presAssocID="{5EA3E1C7-74BF-4D28-9C33-694188F81CCD}" presName="connTx" presStyleLbl="parChTrans1D3" presStyleIdx="8" presStyleCnt="10"/>
      <dgm:spPr/>
    </dgm:pt>
    <dgm:pt modelId="{5EB2F9BE-95F5-423D-A574-CB43F11E1488}" type="pres">
      <dgm:prSet presAssocID="{716E9BEA-220E-42BD-94BB-2B73EA6A6FE4}" presName="root2" presStyleCnt="0"/>
      <dgm:spPr/>
    </dgm:pt>
    <dgm:pt modelId="{2FA06B25-175B-4202-8BFF-4182A0ADC680}" type="pres">
      <dgm:prSet presAssocID="{716E9BEA-220E-42BD-94BB-2B73EA6A6FE4}" presName="LevelTwoTextNode" presStyleLbl="node3" presStyleIdx="8" presStyleCnt="10" custScaleX="195802" custScaleY="39227" custLinFactX="-68342" custLinFactNeighborX="-100000" custLinFactNeighborY="768">
        <dgm:presLayoutVars>
          <dgm:chPref val="3"/>
        </dgm:presLayoutVars>
      </dgm:prSet>
      <dgm:spPr/>
    </dgm:pt>
    <dgm:pt modelId="{B87D69AE-84A4-4B81-98BB-B6211BA42165}" type="pres">
      <dgm:prSet presAssocID="{716E9BEA-220E-42BD-94BB-2B73EA6A6FE4}" presName="level3hierChild" presStyleCnt="0"/>
      <dgm:spPr/>
    </dgm:pt>
    <dgm:pt modelId="{840F3061-EE04-452A-8A43-30EE3204C941}" type="pres">
      <dgm:prSet presAssocID="{38B96362-5A17-4F2F-88B3-746728244553}" presName="conn2-1" presStyleLbl="parChTrans1D3" presStyleIdx="9" presStyleCnt="10"/>
      <dgm:spPr/>
    </dgm:pt>
    <dgm:pt modelId="{288AA29A-A86A-4DB7-9A37-6B206CE0345B}" type="pres">
      <dgm:prSet presAssocID="{38B96362-5A17-4F2F-88B3-746728244553}" presName="connTx" presStyleLbl="parChTrans1D3" presStyleIdx="9" presStyleCnt="10"/>
      <dgm:spPr/>
    </dgm:pt>
    <dgm:pt modelId="{1EDA4DD6-21A4-43E2-A558-76DC51039C33}" type="pres">
      <dgm:prSet presAssocID="{1B877BD4-853D-4DA6-A6E8-7B10181450EC}" presName="root2" presStyleCnt="0"/>
      <dgm:spPr/>
    </dgm:pt>
    <dgm:pt modelId="{816AABA0-9BE1-4CD6-B17B-9B4879AB145B}" type="pres">
      <dgm:prSet presAssocID="{1B877BD4-853D-4DA6-A6E8-7B10181450EC}" presName="LevelTwoTextNode" presStyleLbl="node3" presStyleIdx="9" presStyleCnt="10" custScaleX="236359" custScaleY="37939" custLinFactX="-83234" custLinFactNeighborX="-100000" custLinFactNeighborY="-9521">
        <dgm:presLayoutVars>
          <dgm:chPref val="3"/>
        </dgm:presLayoutVars>
      </dgm:prSet>
      <dgm:spPr/>
    </dgm:pt>
    <dgm:pt modelId="{1F2151F1-4280-4AEE-9561-EE764D2C5C88}" type="pres">
      <dgm:prSet presAssocID="{1B877BD4-853D-4DA6-A6E8-7B10181450EC}" presName="level3hierChild" presStyleCnt="0"/>
      <dgm:spPr/>
    </dgm:pt>
  </dgm:ptLst>
  <dgm:cxnLst>
    <dgm:cxn modelId="{D08C4A08-F4C8-4461-BFE0-845CD223E32F}" type="presOf" srcId="{5A15E69C-12AF-4719-BB26-E389757CCB07}" destId="{7CA54D22-113F-4476-9217-B918BDE07DEB}" srcOrd="1" destOrd="0" presId="urn:microsoft.com/office/officeart/2005/8/layout/hierarchy2"/>
    <dgm:cxn modelId="{4DC1AB0E-E3D4-4A91-88B8-774F0B8C5688}" srcId="{FFCB0C0C-1E69-491F-BAD3-29990DEF87EB}" destId="{5E46DB91-2554-4E90-AD3B-A818D3F98B30}" srcOrd="2" destOrd="0" parTransId="{B1969581-B116-4A33-915E-F5571EA4B268}" sibTransId="{B081AB99-5385-472D-AB4A-0557C671F1FF}"/>
    <dgm:cxn modelId="{3FD2B00F-A6A4-4AC7-91A9-E47E7A651148}" type="presOf" srcId="{E1F6E435-2E14-4D4A-8582-89C335F96982}" destId="{6009F093-E4BD-4648-B182-3D088C5AD79E}" srcOrd="0" destOrd="0" presId="urn:microsoft.com/office/officeart/2005/8/layout/hierarchy2"/>
    <dgm:cxn modelId="{6F297710-BEBC-46F0-8FAB-34971E003A02}" srcId="{BBB75CDE-18E5-4617-9BE9-56ED63D473FD}" destId="{56F9F04D-55D8-4D7B-9BE6-EBEEA5B73EC2}" srcOrd="0" destOrd="0" parTransId="{5A15E69C-12AF-4719-BB26-E389757CCB07}" sibTransId="{4A64C11E-498F-4FB7-BE9D-9EF56AA4D85B}"/>
    <dgm:cxn modelId="{0A040916-67AB-4125-BC57-5FA57FE53345}" srcId="{D8D02F9A-D893-48D4-BD6B-4C7D13C7DB39}" destId="{716E9BEA-220E-42BD-94BB-2B73EA6A6FE4}" srcOrd="2" destOrd="0" parTransId="{5EA3E1C7-74BF-4D28-9C33-694188F81CCD}" sibTransId="{D8EB2F31-BEBD-4189-8880-F453CCC94185}"/>
    <dgm:cxn modelId="{BC32801A-B8E2-4E47-BCEC-568F0EA4C6EB}" srcId="{E1F6E435-2E14-4D4A-8582-89C335F96982}" destId="{D8D02F9A-D893-48D4-BD6B-4C7D13C7DB39}" srcOrd="2" destOrd="0" parTransId="{0938710D-5CCD-40BC-90D2-664002706343}" sibTransId="{3FAFCE98-B29D-443A-9D3D-E4D94EF636D2}"/>
    <dgm:cxn modelId="{7448AC1B-C29C-4EA1-BA7F-BADA39F3919D}" type="presOf" srcId="{5E46DB91-2554-4E90-AD3B-A818D3F98B30}" destId="{95DA46AE-C83A-4CC3-A7D0-23A04927D6A2}" srcOrd="0" destOrd="0" presId="urn:microsoft.com/office/officeart/2005/8/layout/hierarchy2"/>
    <dgm:cxn modelId="{EAC13D1D-A40C-497B-845B-C625A98FB3D6}" type="presOf" srcId="{B1969581-B116-4A33-915E-F5571EA4B268}" destId="{DF506DE1-903D-46AC-91E8-F1899AB131A1}" srcOrd="1" destOrd="0" presId="urn:microsoft.com/office/officeart/2005/8/layout/hierarchy2"/>
    <dgm:cxn modelId="{7D8EC525-21CB-417F-976C-6C0F667B6674}" srcId="{BBB75CDE-18E5-4617-9BE9-56ED63D473FD}" destId="{74A6765A-A9C4-4A1E-A985-9A041A0A88AE}" srcOrd="1" destOrd="0" parTransId="{7C772198-BB99-486C-9E52-4161214ADDB9}" sibTransId="{74E48A1F-F8F4-4A02-882F-6DED30009AF5}"/>
    <dgm:cxn modelId="{ABF43627-FEAF-45F1-AF0E-2BBCC5014328}" srcId="{FFCB0C0C-1E69-491F-BAD3-29990DEF87EB}" destId="{2F52146E-E037-4905-A26A-360D87CE8112}" srcOrd="3" destOrd="0" parTransId="{14FE5694-A28B-440A-9CBF-B6A47B3AEC5B}" sibTransId="{093CFF72-0320-40FD-A2C5-F29B84A8530F}"/>
    <dgm:cxn modelId="{B7B63729-0B62-4868-AC35-7ACF537C75E1}" type="presOf" srcId="{0938710D-5CCD-40BC-90D2-664002706343}" destId="{D34B3B74-7006-401E-8196-8B4D88A1073D}" srcOrd="0" destOrd="0" presId="urn:microsoft.com/office/officeart/2005/8/layout/hierarchy2"/>
    <dgm:cxn modelId="{C8ACE430-ACEE-42EB-90F2-AB0BB2354B89}" type="presOf" srcId="{FFCB0C0C-1E69-491F-BAD3-29990DEF87EB}" destId="{5ADDBDD1-CF83-494D-894F-6880C2D1A70F}" srcOrd="0" destOrd="0" presId="urn:microsoft.com/office/officeart/2005/8/layout/hierarchy2"/>
    <dgm:cxn modelId="{768E283F-75AE-474E-8C5D-746BFA1E016D}" type="presOf" srcId="{2F52146E-E037-4905-A26A-360D87CE8112}" destId="{C5AB3036-76EC-4A10-8347-DBC2F7417D3F}" srcOrd="0" destOrd="0" presId="urn:microsoft.com/office/officeart/2005/8/layout/hierarchy2"/>
    <dgm:cxn modelId="{3C96215B-B3A0-492F-9B70-BE428594F5B6}" type="presOf" srcId="{7C772198-BB99-486C-9E52-4161214ADDB9}" destId="{67E32E82-F79D-40C6-A8E1-6A99656C2F83}" srcOrd="1" destOrd="0" presId="urn:microsoft.com/office/officeart/2005/8/layout/hierarchy2"/>
    <dgm:cxn modelId="{A505755C-092A-4565-9591-EF4B3A9AB0D7}" type="presOf" srcId="{14FE5694-A28B-440A-9CBF-B6A47B3AEC5B}" destId="{8961A144-0201-46D6-9CDB-F4D076C2EBAC}" srcOrd="1" destOrd="0" presId="urn:microsoft.com/office/officeart/2005/8/layout/hierarchy2"/>
    <dgm:cxn modelId="{F355505E-1053-4CEA-92FE-4011AA1BAF58}" srcId="{E1F6E435-2E14-4D4A-8582-89C335F96982}" destId="{BBB75CDE-18E5-4617-9BE9-56ED63D473FD}" srcOrd="0" destOrd="0" parTransId="{44B403F5-BB59-4CD4-84E8-BC6C8E34518E}" sibTransId="{1712875D-EC8A-47B5-B577-139A39507ADD}"/>
    <dgm:cxn modelId="{19A68B6F-A251-4413-A316-B5A8EF72034B}" srcId="{FFCB0C0C-1E69-491F-BAD3-29990DEF87EB}" destId="{493418C0-B359-4519-B2B6-E46DDC32FCAA}" srcOrd="0" destOrd="0" parTransId="{2AEE3883-0250-41E4-ACB1-D9F8669AE6C5}" sibTransId="{28D48088-B5D9-4BF1-8B53-FE7E016A860C}"/>
    <dgm:cxn modelId="{A9699772-8543-4E58-A2B7-75A0B9C53D3D}" type="presOf" srcId="{8DDF5D47-779F-4FBC-88DA-BF8808B19191}" destId="{3DAAA332-8291-41B4-9747-D0D8E0453E79}" srcOrd="0" destOrd="0" presId="urn:microsoft.com/office/officeart/2005/8/layout/hierarchy2"/>
    <dgm:cxn modelId="{754DC276-62B4-4AAC-8BBC-0223740651D3}" type="presOf" srcId="{18A6EC7C-F176-4681-A03E-34008FD36CB2}" destId="{C1D5AB20-F169-4710-B137-57622794592E}" srcOrd="0" destOrd="0" presId="urn:microsoft.com/office/officeart/2005/8/layout/hierarchy2"/>
    <dgm:cxn modelId="{26529A78-EE0F-42A6-BBD7-739B471AB8B6}" type="presOf" srcId="{7C772198-BB99-486C-9E52-4161214ADDB9}" destId="{D2C90DAF-827F-4305-ABBF-900B3C60FD0A}" srcOrd="0" destOrd="0" presId="urn:microsoft.com/office/officeart/2005/8/layout/hierarchy2"/>
    <dgm:cxn modelId="{59D0ED59-8A9A-46FD-8F1D-AE317B16B766}" type="presOf" srcId="{72CF456C-4DC8-45CA-8488-BD60AB6AE935}" destId="{D2D9E4C9-B0A2-4F19-8E22-96B3D1C1B7B0}" srcOrd="1" destOrd="0" presId="urn:microsoft.com/office/officeart/2005/8/layout/hierarchy2"/>
    <dgm:cxn modelId="{69AE3087-AC76-421E-B34D-75F756026F90}" type="presOf" srcId="{56F9F04D-55D8-4D7B-9BE6-EBEEA5B73EC2}" destId="{036A4956-C567-4A65-BE49-ECCDEB66741C}" srcOrd="0" destOrd="0" presId="urn:microsoft.com/office/officeart/2005/8/layout/hierarchy2"/>
    <dgm:cxn modelId="{292D078D-60A8-49F4-920E-E6096FC54D3A}" type="presOf" srcId="{5EA3E1C7-74BF-4D28-9C33-694188F81CCD}" destId="{854AC183-2572-4EE9-8885-1E8EB9EDD267}" srcOrd="1" destOrd="0" presId="urn:microsoft.com/office/officeart/2005/8/layout/hierarchy2"/>
    <dgm:cxn modelId="{8731EB8D-749B-4E85-ADEC-939C587AEB4D}" srcId="{DFE1C7CE-B93E-454A-ABB2-04AD8B71856F}" destId="{E1F6E435-2E14-4D4A-8582-89C335F96982}" srcOrd="0" destOrd="0" parTransId="{C07DBDB3-56CE-46B1-AD4C-A281B48B8B21}" sibTransId="{42A016CB-CA2D-401A-B639-CEF651AFB53F}"/>
    <dgm:cxn modelId="{138E0D93-6BC5-432B-BACB-C39CD63B406F}" srcId="{D8D02F9A-D893-48D4-BD6B-4C7D13C7DB39}" destId="{F862BF4D-A656-45F6-A7D7-DD21F893B7CD}" srcOrd="1" destOrd="0" parTransId="{DFE64B76-F719-4489-9F63-A2CA90DF4457}" sibTransId="{4740ED32-54F4-43DE-93BC-9DD6971C00D4}"/>
    <dgm:cxn modelId="{5B4EAF95-15E3-4440-9606-C4840D09FE77}" type="presOf" srcId="{2AEE3883-0250-41E4-ACB1-D9F8669AE6C5}" destId="{C6F589A2-C869-4FDD-9F13-DD0AB298EEEA}" srcOrd="0" destOrd="0" presId="urn:microsoft.com/office/officeart/2005/8/layout/hierarchy2"/>
    <dgm:cxn modelId="{ECB93E96-F556-4BD0-BF22-2C83809EF5C2}" type="presOf" srcId="{F862BF4D-A656-45F6-A7D7-DD21F893B7CD}" destId="{21B723CF-9090-4960-826E-9E461027B320}" srcOrd="0" destOrd="0" presId="urn:microsoft.com/office/officeart/2005/8/layout/hierarchy2"/>
    <dgm:cxn modelId="{FD22849F-4463-4F84-9D01-68D054B644C3}" type="presOf" srcId="{44B403F5-BB59-4CD4-84E8-BC6C8E34518E}" destId="{2D92BB5F-7A22-479A-8E4F-7F74B41A7D17}" srcOrd="0" destOrd="0" presId="urn:microsoft.com/office/officeart/2005/8/layout/hierarchy2"/>
    <dgm:cxn modelId="{C46513A3-CB86-4913-93B5-EB726E163707}" srcId="{FFCB0C0C-1E69-491F-BAD3-29990DEF87EB}" destId="{538F841B-BFFA-4E10-90F6-8F51306E23A9}" srcOrd="1" destOrd="0" parTransId="{18A6EC7C-F176-4681-A03E-34008FD36CB2}" sibTransId="{F74766B2-BA7F-4943-A4BD-E12076C709A0}"/>
    <dgm:cxn modelId="{4F5456A9-FDA9-45C6-9541-A2BAF537C490}" type="presOf" srcId="{493418C0-B359-4519-B2B6-E46DDC32FCAA}" destId="{35F87995-9438-4A28-B276-99BA28F0EF2F}" srcOrd="0" destOrd="0" presId="urn:microsoft.com/office/officeart/2005/8/layout/hierarchy2"/>
    <dgm:cxn modelId="{9108AFAC-D355-4E8E-AF62-8552EF29E739}" type="presOf" srcId="{44B403F5-BB59-4CD4-84E8-BC6C8E34518E}" destId="{2DB89C70-3904-49D5-BF7D-0441326C5A33}" srcOrd="1" destOrd="0" presId="urn:microsoft.com/office/officeart/2005/8/layout/hierarchy2"/>
    <dgm:cxn modelId="{6003DDAD-DDBE-4922-A22F-A5ED7C3250DE}" type="presOf" srcId="{D8D02F9A-D893-48D4-BD6B-4C7D13C7DB39}" destId="{4010BE2A-D30E-4C61-B395-834D194CA75D}" srcOrd="0" destOrd="0" presId="urn:microsoft.com/office/officeart/2005/8/layout/hierarchy2"/>
    <dgm:cxn modelId="{115FB4B0-A062-44B2-ABBB-A14D2E6C5B71}" type="presOf" srcId="{1B877BD4-853D-4DA6-A6E8-7B10181450EC}" destId="{816AABA0-9BE1-4CD6-B17B-9B4879AB145B}" srcOrd="0" destOrd="0" presId="urn:microsoft.com/office/officeart/2005/8/layout/hierarchy2"/>
    <dgm:cxn modelId="{2A7860B5-7643-486F-8D08-584D56EB85FA}" type="presOf" srcId="{BBB75CDE-18E5-4617-9BE9-56ED63D473FD}" destId="{EB758390-B5F0-471B-A598-F2EA7FE78F2F}" srcOrd="0" destOrd="0" presId="urn:microsoft.com/office/officeart/2005/8/layout/hierarchy2"/>
    <dgm:cxn modelId="{9D02DBB6-7F91-4950-9428-2D6FD9B4CF3D}" type="presOf" srcId="{0938710D-5CCD-40BC-90D2-664002706343}" destId="{C7FFC689-15AA-4F8D-914F-D65B3AA5FB8B}" srcOrd="1" destOrd="0" presId="urn:microsoft.com/office/officeart/2005/8/layout/hierarchy2"/>
    <dgm:cxn modelId="{C69C9AB7-D9DA-4325-BF89-18E29D13A13C}" type="presOf" srcId="{72CF456C-4DC8-45CA-8488-BD60AB6AE935}" destId="{8AC2AB6F-F213-4ADF-B92D-32AD4843351A}" srcOrd="0" destOrd="0" presId="urn:microsoft.com/office/officeart/2005/8/layout/hierarchy2"/>
    <dgm:cxn modelId="{4D2821B9-4353-47EA-A779-D0867BE3F3F6}" type="presOf" srcId="{0AD3F8E2-02CC-4DFD-8D06-F3E34384F385}" destId="{0CF8CB4E-235E-49F1-82FC-E50ABCF1C21A}" srcOrd="0" destOrd="0" presId="urn:microsoft.com/office/officeart/2005/8/layout/hierarchy2"/>
    <dgm:cxn modelId="{1BEFCCBA-5633-4EC3-BBAB-46F149849E12}" type="presOf" srcId="{B1969581-B116-4A33-915E-F5571EA4B268}" destId="{A7AB0CFD-7036-41CE-B618-B6E5DB3CB870}" srcOrd="0" destOrd="0" presId="urn:microsoft.com/office/officeart/2005/8/layout/hierarchy2"/>
    <dgm:cxn modelId="{A395B5BE-A855-4B8E-AD1C-CB47CDC9F5DD}" type="presOf" srcId="{5EA3E1C7-74BF-4D28-9C33-694188F81CCD}" destId="{AEA0893E-3951-4B29-A113-869D084482B7}" srcOrd="0" destOrd="0" presId="urn:microsoft.com/office/officeart/2005/8/layout/hierarchy2"/>
    <dgm:cxn modelId="{59426EC2-6565-4373-95E4-F4A7F817B30C}" type="presOf" srcId="{18A6EC7C-F176-4681-A03E-34008FD36CB2}" destId="{A6E7F0C3-6B2F-490B-9BD1-90FE6F0F6555}" srcOrd="1" destOrd="0" presId="urn:microsoft.com/office/officeart/2005/8/layout/hierarchy2"/>
    <dgm:cxn modelId="{71A670C6-3AD3-4969-8592-3188FC690623}" type="presOf" srcId="{8DDF5D47-779F-4FBC-88DA-BF8808B19191}" destId="{9C168098-8E5E-464E-87DF-94F59078B4B8}" srcOrd="1" destOrd="0" presId="urn:microsoft.com/office/officeart/2005/8/layout/hierarchy2"/>
    <dgm:cxn modelId="{CD5BD3C6-25AA-4370-BE8F-422EF05960E9}" type="presOf" srcId="{DFE1C7CE-B93E-454A-ABB2-04AD8B71856F}" destId="{56C9B4A3-B6B0-4D3F-BBB3-3B7D3BBCF300}" srcOrd="0" destOrd="0" presId="urn:microsoft.com/office/officeart/2005/8/layout/hierarchy2"/>
    <dgm:cxn modelId="{02E78FC9-B1ED-454E-93BB-0E3891655E1E}" type="presOf" srcId="{74A6765A-A9C4-4A1E-A985-9A041A0A88AE}" destId="{272F36CC-95FD-47E1-84D8-BB35AD90260E}" srcOrd="0" destOrd="0" presId="urn:microsoft.com/office/officeart/2005/8/layout/hierarchy2"/>
    <dgm:cxn modelId="{40536DCB-3F60-4228-9934-C6D02A5625E0}" type="presOf" srcId="{538F841B-BFFA-4E10-90F6-8F51306E23A9}" destId="{ED79924C-5A2B-403D-9075-C8164C3720E8}" srcOrd="0" destOrd="0" presId="urn:microsoft.com/office/officeart/2005/8/layout/hierarchy2"/>
    <dgm:cxn modelId="{E6873FE2-5A66-466A-81D1-A8A991F5E6BE}" srcId="{D8D02F9A-D893-48D4-BD6B-4C7D13C7DB39}" destId="{1B877BD4-853D-4DA6-A6E8-7B10181450EC}" srcOrd="3" destOrd="0" parTransId="{38B96362-5A17-4F2F-88B3-746728244553}" sibTransId="{2D240D0F-DD53-47E2-A716-545D48CD47AA}"/>
    <dgm:cxn modelId="{C4748BE6-BFFB-4FF3-9135-03730A6BACAF}" type="presOf" srcId="{716E9BEA-220E-42BD-94BB-2B73EA6A6FE4}" destId="{2FA06B25-175B-4202-8BFF-4182A0ADC680}" srcOrd="0" destOrd="0" presId="urn:microsoft.com/office/officeart/2005/8/layout/hierarchy2"/>
    <dgm:cxn modelId="{40BC6CE9-3D9C-4576-8D7D-BE2714D47188}" srcId="{D8D02F9A-D893-48D4-BD6B-4C7D13C7DB39}" destId="{0AD3F8E2-02CC-4DFD-8D06-F3E34384F385}" srcOrd="0" destOrd="0" parTransId="{8DDF5D47-779F-4FBC-88DA-BF8808B19191}" sibTransId="{D6C1B3D3-BCA7-45F1-B558-7F5133608729}"/>
    <dgm:cxn modelId="{F8711FEA-7812-46F7-B023-9E0A9E4E40A6}" type="presOf" srcId="{DFE64B76-F719-4489-9F63-A2CA90DF4457}" destId="{432B4CE7-E5A4-4F3B-BE4C-B10EFA05C33A}" srcOrd="1" destOrd="0" presId="urn:microsoft.com/office/officeart/2005/8/layout/hierarchy2"/>
    <dgm:cxn modelId="{587C69ED-CCCD-4B5B-B95E-A5EFCE9FC3B3}" srcId="{E1F6E435-2E14-4D4A-8582-89C335F96982}" destId="{FFCB0C0C-1E69-491F-BAD3-29990DEF87EB}" srcOrd="1" destOrd="0" parTransId="{72CF456C-4DC8-45CA-8488-BD60AB6AE935}" sibTransId="{9A61904D-4BBF-4147-B10D-C95D6C82F171}"/>
    <dgm:cxn modelId="{93AC86F0-F6B3-4942-82D6-FED07594ED1E}" type="presOf" srcId="{14FE5694-A28B-440A-9CBF-B6A47B3AEC5B}" destId="{96105C51-DAF6-418F-BDF8-33E1629D70A2}" srcOrd="0" destOrd="0" presId="urn:microsoft.com/office/officeart/2005/8/layout/hierarchy2"/>
    <dgm:cxn modelId="{08417BF1-516B-466D-AC87-6BB777ABFF93}" type="presOf" srcId="{2AEE3883-0250-41E4-ACB1-D9F8669AE6C5}" destId="{574C5000-AD73-454A-BB8D-429909809B90}" srcOrd="1" destOrd="0" presId="urn:microsoft.com/office/officeart/2005/8/layout/hierarchy2"/>
    <dgm:cxn modelId="{ED84EAF4-B18F-452A-BBAD-E48FE73D9BBD}" type="presOf" srcId="{38B96362-5A17-4F2F-88B3-746728244553}" destId="{840F3061-EE04-452A-8A43-30EE3204C941}" srcOrd="0" destOrd="0" presId="urn:microsoft.com/office/officeart/2005/8/layout/hierarchy2"/>
    <dgm:cxn modelId="{1A61CDFA-CAF3-452F-AA93-9C40EC8447A0}" type="presOf" srcId="{38B96362-5A17-4F2F-88B3-746728244553}" destId="{288AA29A-A86A-4DB7-9A37-6B206CE0345B}" srcOrd="1" destOrd="0" presId="urn:microsoft.com/office/officeart/2005/8/layout/hierarchy2"/>
    <dgm:cxn modelId="{1C42EEFD-0B42-4886-A80C-74711740E27A}" type="presOf" srcId="{5A15E69C-12AF-4719-BB26-E389757CCB07}" destId="{FB422C1E-5D75-4CAB-987F-169DFF25D586}" srcOrd="0" destOrd="0" presId="urn:microsoft.com/office/officeart/2005/8/layout/hierarchy2"/>
    <dgm:cxn modelId="{E16755FE-31AC-4F2D-AD53-8F76F3837033}" type="presOf" srcId="{DFE64B76-F719-4489-9F63-A2CA90DF4457}" destId="{598A2477-3956-4745-B81F-52E9119B82FB}" srcOrd="0" destOrd="0" presId="urn:microsoft.com/office/officeart/2005/8/layout/hierarchy2"/>
    <dgm:cxn modelId="{EF62E37F-5792-4208-8EE4-7222907E2667}" type="presParOf" srcId="{56C9B4A3-B6B0-4D3F-BBB3-3B7D3BBCF300}" destId="{D7157101-082C-4C97-8899-C5154CDBFA52}" srcOrd="0" destOrd="0" presId="urn:microsoft.com/office/officeart/2005/8/layout/hierarchy2"/>
    <dgm:cxn modelId="{F77EE28F-7B01-402E-B50D-F76959D816A8}" type="presParOf" srcId="{D7157101-082C-4C97-8899-C5154CDBFA52}" destId="{6009F093-E4BD-4648-B182-3D088C5AD79E}" srcOrd="0" destOrd="0" presId="urn:microsoft.com/office/officeart/2005/8/layout/hierarchy2"/>
    <dgm:cxn modelId="{884E37D2-3107-4A4C-A230-F71F6A1634D3}" type="presParOf" srcId="{D7157101-082C-4C97-8899-C5154CDBFA52}" destId="{A4DA5EB6-C462-49D8-B226-565875F810AA}" srcOrd="1" destOrd="0" presId="urn:microsoft.com/office/officeart/2005/8/layout/hierarchy2"/>
    <dgm:cxn modelId="{575C0D5A-6C10-497F-B9A5-384DB62C47FA}" type="presParOf" srcId="{A4DA5EB6-C462-49D8-B226-565875F810AA}" destId="{2D92BB5F-7A22-479A-8E4F-7F74B41A7D17}" srcOrd="0" destOrd="0" presId="urn:microsoft.com/office/officeart/2005/8/layout/hierarchy2"/>
    <dgm:cxn modelId="{EDA68D6B-29DC-4A70-AE1A-AFB174C2CF60}" type="presParOf" srcId="{2D92BB5F-7A22-479A-8E4F-7F74B41A7D17}" destId="{2DB89C70-3904-49D5-BF7D-0441326C5A33}" srcOrd="0" destOrd="0" presId="urn:microsoft.com/office/officeart/2005/8/layout/hierarchy2"/>
    <dgm:cxn modelId="{0503A57F-EC10-4FF5-AE8D-E6AD8AADA2F7}" type="presParOf" srcId="{A4DA5EB6-C462-49D8-B226-565875F810AA}" destId="{4518F80F-865F-4C38-8DCA-A2D97219C442}" srcOrd="1" destOrd="0" presId="urn:microsoft.com/office/officeart/2005/8/layout/hierarchy2"/>
    <dgm:cxn modelId="{ED5E89E4-EFE1-4F4A-A4A1-9B1A7D0D9352}" type="presParOf" srcId="{4518F80F-865F-4C38-8DCA-A2D97219C442}" destId="{EB758390-B5F0-471B-A598-F2EA7FE78F2F}" srcOrd="0" destOrd="0" presId="urn:microsoft.com/office/officeart/2005/8/layout/hierarchy2"/>
    <dgm:cxn modelId="{BF9E4752-31CA-4E1D-AD80-2DCE343B8C1D}" type="presParOf" srcId="{4518F80F-865F-4C38-8DCA-A2D97219C442}" destId="{351B4420-37E3-4E0A-A264-9AC5EEC4371B}" srcOrd="1" destOrd="0" presId="urn:microsoft.com/office/officeart/2005/8/layout/hierarchy2"/>
    <dgm:cxn modelId="{E7140361-224A-4AF3-97C0-5793B3752B80}" type="presParOf" srcId="{351B4420-37E3-4E0A-A264-9AC5EEC4371B}" destId="{FB422C1E-5D75-4CAB-987F-169DFF25D586}" srcOrd="0" destOrd="0" presId="urn:microsoft.com/office/officeart/2005/8/layout/hierarchy2"/>
    <dgm:cxn modelId="{2D2049FF-37F1-4437-AF7D-6870AE07407D}" type="presParOf" srcId="{FB422C1E-5D75-4CAB-987F-169DFF25D586}" destId="{7CA54D22-113F-4476-9217-B918BDE07DEB}" srcOrd="0" destOrd="0" presId="urn:microsoft.com/office/officeart/2005/8/layout/hierarchy2"/>
    <dgm:cxn modelId="{D16D37F4-7FA0-4500-8436-47722A9E7366}" type="presParOf" srcId="{351B4420-37E3-4E0A-A264-9AC5EEC4371B}" destId="{1B9A8C18-2775-4941-BF60-65E8D8EA1FBB}" srcOrd="1" destOrd="0" presId="urn:microsoft.com/office/officeart/2005/8/layout/hierarchy2"/>
    <dgm:cxn modelId="{E4139D8A-D80A-4D9E-B26D-865F70DE1CD6}" type="presParOf" srcId="{1B9A8C18-2775-4941-BF60-65E8D8EA1FBB}" destId="{036A4956-C567-4A65-BE49-ECCDEB66741C}" srcOrd="0" destOrd="0" presId="urn:microsoft.com/office/officeart/2005/8/layout/hierarchy2"/>
    <dgm:cxn modelId="{0E3AAAEB-5590-4049-B126-CA55E92F4054}" type="presParOf" srcId="{1B9A8C18-2775-4941-BF60-65E8D8EA1FBB}" destId="{354CB90D-A581-4473-B6FE-E37AE9AFC621}" srcOrd="1" destOrd="0" presId="urn:microsoft.com/office/officeart/2005/8/layout/hierarchy2"/>
    <dgm:cxn modelId="{46BBCF09-255C-4D73-8CB6-65E2E7C1DCB6}" type="presParOf" srcId="{351B4420-37E3-4E0A-A264-9AC5EEC4371B}" destId="{D2C90DAF-827F-4305-ABBF-900B3C60FD0A}" srcOrd="2" destOrd="0" presId="urn:microsoft.com/office/officeart/2005/8/layout/hierarchy2"/>
    <dgm:cxn modelId="{7FAFC950-1B25-49C8-9B12-CDE3023CBC8A}" type="presParOf" srcId="{D2C90DAF-827F-4305-ABBF-900B3C60FD0A}" destId="{67E32E82-F79D-40C6-A8E1-6A99656C2F83}" srcOrd="0" destOrd="0" presId="urn:microsoft.com/office/officeart/2005/8/layout/hierarchy2"/>
    <dgm:cxn modelId="{C9E4E875-E1AE-421B-9FE6-01954B38A0FE}" type="presParOf" srcId="{351B4420-37E3-4E0A-A264-9AC5EEC4371B}" destId="{F2DA023C-3A32-48A4-B8AA-62545D708A04}" srcOrd="3" destOrd="0" presId="urn:microsoft.com/office/officeart/2005/8/layout/hierarchy2"/>
    <dgm:cxn modelId="{530DABD9-60A7-4587-B9D1-574BB253685A}" type="presParOf" srcId="{F2DA023C-3A32-48A4-B8AA-62545D708A04}" destId="{272F36CC-95FD-47E1-84D8-BB35AD90260E}" srcOrd="0" destOrd="0" presId="urn:microsoft.com/office/officeart/2005/8/layout/hierarchy2"/>
    <dgm:cxn modelId="{4BBC5963-8444-4043-A481-2A9E844E6EA3}" type="presParOf" srcId="{F2DA023C-3A32-48A4-B8AA-62545D708A04}" destId="{2E2F0D99-14A0-4EB3-9E2A-5F073C89F5F1}" srcOrd="1" destOrd="0" presId="urn:microsoft.com/office/officeart/2005/8/layout/hierarchy2"/>
    <dgm:cxn modelId="{FCEA8705-9A31-4992-8B9D-570D3B9B04E5}" type="presParOf" srcId="{A4DA5EB6-C462-49D8-B226-565875F810AA}" destId="{8AC2AB6F-F213-4ADF-B92D-32AD4843351A}" srcOrd="2" destOrd="0" presId="urn:microsoft.com/office/officeart/2005/8/layout/hierarchy2"/>
    <dgm:cxn modelId="{A3715AE1-52AA-45B9-8C5A-C86A952C5241}" type="presParOf" srcId="{8AC2AB6F-F213-4ADF-B92D-32AD4843351A}" destId="{D2D9E4C9-B0A2-4F19-8E22-96B3D1C1B7B0}" srcOrd="0" destOrd="0" presId="urn:microsoft.com/office/officeart/2005/8/layout/hierarchy2"/>
    <dgm:cxn modelId="{C80962A9-B508-4D82-9DFE-8B8194BC422D}" type="presParOf" srcId="{A4DA5EB6-C462-49D8-B226-565875F810AA}" destId="{D9D8E3CC-61B3-4A7B-B068-8E72B8BB9017}" srcOrd="3" destOrd="0" presId="urn:microsoft.com/office/officeart/2005/8/layout/hierarchy2"/>
    <dgm:cxn modelId="{97BCFD91-0993-48C3-BDEB-061962775DEA}" type="presParOf" srcId="{D9D8E3CC-61B3-4A7B-B068-8E72B8BB9017}" destId="{5ADDBDD1-CF83-494D-894F-6880C2D1A70F}" srcOrd="0" destOrd="0" presId="urn:microsoft.com/office/officeart/2005/8/layout/hierarchy2"/>
    <dgm:cxn modelId="{4A0A4216-2E21-4223-B870-D4B09B89D9CC}" type="presParOf" srcId="{D9D8E3CC-61B3-4A7B-B068-8E72B8BB9017}" destId="{25DE9A65-7C81-4A4E-9BBB-D9FFDA7649E9}" srcOrd="1" destOrd="0" presId="urn:microsoft.com/office/officeart/2005/8/layout/hierarchy2"/>
    <dgm:cxn modelId="{D7B304D3-AE2F-4EA6-B5F0-4BDF98947929}" type="presParOf" srcId="{25DE9A65-7C81-4A4E-9BBB-D9FFDA7649E9}" destId="{C6F589A2-C869-4FDD-9F13-DD0AB298EEEA}" srcOrd="0" destOrd="0" presId="urn:microsoft.com/office/officeart/2005/8/layout/hierarchy2"/>
    <dgm:cxn modelId="{18782B12-61A1-4B30-B5BA-0C39246701F4}" type="presParOf" srcId="{C6F589A2-C869-4FDD-9F13-DD0AB298EEEA}" destId="{574C5000-AD73-454A-BB8D-429909809B90}" srcOrd="0" destOrd="0" presId="urn:microsoft.com/office/officeart/2005/8/layout/hierarchy2"/>
    <dgm:cxn modelId="{8D75186B-01D7-46D1-B6A6-CF296D103C5A}" type="presParOf" srcId="{25DE9A65-7C81-4A4E-9BBB-D9FFDA7649E9}" destId="{74B5007C-BF39-43E0-B1AC-FDC484609C92}" srcOrd="1" destOrd="0" presId="urn:microsoft.com/office/officeart/2005/8/layout/hierarchy2"/>
    <dgm:cxn modelId="{8A924BF2-D6A2-46B2-9E45-2ACB0E8F07C3}" type="presParOf" srcId="{74B5007C-BF39-43E0-B1AC-FDC484609C92}" destId="{35F87995-9438-4A28-B276-99BA28F0EF2F}" srcOrd="0" destOrd="0" presId="urn:microsoft.com/office/officeart/2005/8/layout/hierarchy2"/>
    <dgm:cxn modelId="{2774279D-6268-43A4-9078-8DABDE5EF33F}" type="presParOf" srcId="{74B5007C-BF39-43E0-B1AC-FDC484609C92}" destId="{DC0A06BD-EC94-4DE0-8425-3EF3E0E2A470}" srcOrd="1" destOrd="0" presId="urn:microsoft.com/office/officeart/2005/8/layout/hierarchy2"/>
    <dgm:cxn modelId="{5B202263-AB14-4558-ABD0-8F5110DD9D54}" type="presParOf" srcId="{25DE9A65-7C81-4A4E-9BBB-D9FFDA7649E9}" destId="{C1D5AB20-F169-4710-B137-57622794592E}" srcOrd="2" destOrd="0" presId="urn:microsoft.com/office/officeart/2005/8/layout/hierarchy2"/>
    <dgm:cxn modelId="{B35D640D-DF60-4714-B00F-E74DC154368B}" type="presParOf" srcId="{C1D5AB20-F169-4710-B137-57622794592E}" destId="{A6E7F0C3-6B2F-490B-9BD1-90FE6F0F6555}" srcOrd="0" destOrd="0" presId="urn:microsoft.com/office/officeart/2005/8/layout/hierarchy2"/>
    <dgm:cxn modelId="{F087A9BF-6C7F-44D1-B61C-C679E8DB2DC8}" type="presParOf" srcId="{25DE9A65-7C81-4A4E-9BBB-D9FFDA7649E9}" destId="{709396EB-FFF6-4CA3-8B4A-03E37323569E}" srcOrd="3" destOrd="0" presId="urn:microsoft.com/office/officeart/2005/8/layout/hierarchy2"/>
    <dgm:cxn modelId="{CA4FBE44-FD36-4436-B7BD-0CD3C69FFDF6}" type="presParOf" srcId="{709396EB-FFF6-4CA3-8B4A-03E37323569E}" destId="{ED79924C-5A2B-403D-9075-C8164C3720E8}" srcOrd="0" destOrd="0" presId="urn:microsoft.com/office/officeart/2005/8/layout/hierarchy2"/>
    <dgm:cxn modelId="{7C76AC47-1130-4FAB-AF7D-FB3D1E182D50}" type="presParOf" srcId="{709396EB-FFF6-4CA3-8B4A-03E37323569E}" destId="{3B328F8F-4431-4200-99D7-198743E69404}" srcOrd="1" destOrd="0" presId="urn:microsoft.com/office/officeart/2005/8/layout/hierarchy2"/>
    <dgm:cxn modelId="{16178B63-C765-489C-8574-64BE1BA1A793}" type="presParOf" srcId="{25DE9A65-7C81-4A4E-9BBB-D9FFDA7649E9}" destId="{A7AB0CFD-7036-41CE-B618-B6E5DB3CB870}" srcOrd="4" destOrd="0" presId="urn:microsoft.com/office/officeart/2005/8/layout/hierarchy2"/>
    <dgm:cxn modelId="{3EC84206-4849-43A0-A605-628B70CAD92A}" type="presParOf" srcId="{A7AB0CFD-7036-41CE-B618-B6E5DB3CB870}" destId="{DF506DE1-903D-46AC-91E8-F1899AB131A1}" srcOrd="0" destOrd="0" presId="urn:microsoft.com/office/officeart/2005/8/layout/hierarchy2"/>
    <dgm:cxn modelId="{C1C7E8D4-5849-4EA9-AD11-89025A6A9207}" type="presParOf" srcId="{25DE9A65-7C81-4A4E-9BBB-D9FFDA7649E9}" destId="{52916929-0C5F-49DA-9BF7-9C29FAE0D05A}" srcOrd="5" destOrd="0" presId="urn:microsoft.com/office/officeart/2005/8/layout/hierarchy2"/>
    <dgm:cxn modelId="{5A63722E-E033-41B4-9337-2342E07E5CDA}" type="presParOf" srcId="{52916929-0C5F-49DA-9BF7-9C29FAE0D05A}" destId="{95DA46AE-C83A-4CC3-A7D0-23A04927D6A2}" srcOrd="0" destOrd="0" presId="urn:microsoft.com/office/officeart/2005/8/layout/hierarchy2"/>
    <dgm:cxn modelId="{E788D4E7-1D38-41BB-BF3E-54B93A1D8A4D}" type="presParOf" srcId="{52916929-0C5F-49DA-9BF7-9C29FAE0D05A}" destId="{57CB19CD-E89C-494C-A156-C3E6C6315C54}" srcOrd="1" destOrd="0" presId="urn:microsoft.com/office/officeart/2005/8/layout/hierarchy2"/>
    <dgm:cxn modelId="{FF085D53-1307-499C-9F4A-6C01A3C2AC62}" type="presParOf" srcId="{25DE9A65-7C81-4A4E-9BBB-D9FFDA7649E9}" destId="{96105C51-DAF6-418F-BDF8-33E1629D70A2}" srcOrd="6" destOrd="0" presId="urn:microsoft.com/office/officeart/2005/8/layout/hierarchy2"/>
    <dgm:cxn modelId="{BE7994BF-2E05-405A-B82F-315B70709D6B}" type="presParOf" srcId="{96105C51-DAF6-418F-BDF8-33E1629D70A2}" destId="{8961A144-0201-46D6-9CDB-F4D076C2EBAC}" srcOrd="0" destOrd="0" presId="urn:microsoft.com/office/officeart/2005/8/layout/hierarchy2"/>
    <dgm:cxn modelId="{CBD07266-030F-4BAC-9903-A37F96C894F1}" type="presParOf" srcId="{25DE9A65-7C81-4A4E-9BBB-D9FFDA7649E9}" destId="{EAB4C562-CBBD-4321-A5D8-C88EECC55F2F}" srcOrd="7" destOrd="0" presId="urn:microsoft.com/office/officeart/2005/8/layout/hierarchy2"/>
    <dgm:cxn modelId="{9FC17EC3-DD3D-4454-97B2-69D3CC19CEAA}" type="presParOf" srcId="{EAB4C562-CBBD-4321-A5D8-C88EECC55F2F}" destId="{C5AB3036-76EC-4A10-8347-DBC2F7417D3F}" srcOrd="0" destOrd="0" presId="urn:microsoft.com/office/officeart/2005/8/layout/hierarchy2"/>
    <dgm:cxn modelId="{DC168BE1-DB3B-41C8-A759-221A91CACD36}" type="presParOf" srcId="{EAB4C562-CBBD-4321-A5D8-C88EECC55F2F}" destId="{D5784844-6613-4839-A8E5-73DDE0FA14DE}" srcOrd="1" destOrd="0" presId="urn:microsoft.com/office/officeart/2005/8/layout/hierarchy2"/>
    <dgm:cxn modelId="{99BCC038-25E7-4759-BD22-F29E864FCFA6}" type="presParOf" srcId="{A4DA5EB6-C462-49D8-B226-565875F810AA}" destId="{D34B3B74-7006-401E-8196-8B4D88A1073D}" srcOrd="4" destOrd="0" presId="urn:microsoft.com/office/officeart/2005/8/layout/hierarchy2"/>
    <dgm:cxn modelId="{F9BCED3C-B290-42B3-A409-C0C4305DE40C}" type="presParOf" srcId="{D34B3B74-7006-401E-8196-8B4D88A1073D}" destId="{C7FFC689-15AA-4F8D-914F-D65B3AA5FB8B}" srcOrd="0" destOrd="0" presId="urn:microsoft.com/office/officeart/2005/8/layout/hierarchy2"/>
    <dgm:cxn modelId="{EB72CAB4-8DB2-48E4-A051-762D8FE90DA6}" type="presParOf" srcId="{A4DA5EB6-C462-49D8-B226-565875F810AA}" destId="{FC32E997-251B-49B7-B2F4-D889E9FB764B}" srcOrd="5" destOrd="0" presId="urn:microsoft.com/office/officeart/2005/8/layout/hierarchy2"/>
    <dgm:cxn modelId="{AC49F5BE-75B9-43F7-803C-B59CEBE40036}" type="presParOf" srcId="{FC32E997-251B-49B7-B2F4-D889E9FB764B}" destId="{4010BE2A-D30E-4C61-B395-834D194CA75D}" srcOrd="0" destOrd="0" presId="urn:microsoft.com/office/officeart/2005/8/layout/hierarchy2"/>
    <dgm:cxn modelId="{D5B6CC87-1B4A-4D5D-9C66-B04B0AA18EB6}" type="presParOf" srcId="{FC32E997-251B-49B7-B2F4-D889E9FB764B}" destId="{527138A0-4268-4F31-856C-D3D7B8B4D277}" srcOrd="1" destOrd="0" presId="urn:microsoft.com/office/officeart/2005/8/layout/hierarchy2"/>
    <dgm:cxn modelId="{9815E3C9-B147-48AD-A6D2-14475F003430}" type="presParOf" srcId="{527138A0-4268-4F31-856C-D3D7B8B4D277}" destId="{3DAAA332-8291-41B4-9747-D0D8E0453E79}" srcOrd="0" destOrd="0" presId="urn:microsoft.com/office/officeart/2005/8/layout/hierarchy2"/>
    <dgm:cxn modelId="{B208608F-B9EB-4B5C-983B-927A3CF7A147}" type="presParOf" srcId="{3DAAA332-8291-41B4-9747-D0D8E0453E79}" destId="{9C168098-8E5E-464E-87DF-94F59078B4B8}" srcOrd="0" destOrd="0" presId="urn:microsoft.com/office/officeart/2005/8/layout/hierarchy2"/>
    <dgm:cxn modelId="{8EC7A270-0710-4908-8245-4FDB93F99599}" type="presParOf" srcId="{527138A0-4268-4F31-856C-D3D7B8B4D277}" destId="{2846D457-FA0C-47CD-9F29-41EFF32F352C}" srcOrd="1" destOrd="0" presId="urn:microsoft.com/office/officeart/2005/8/layout/hierarchy2"/>
    <dgm:cxn modelId="{44383EE5-2FCF-445B-B2CD-8E68F5D28C91}" type="presParOf" srcId="{2846D457-FA0C-47CD-9F29-41EFF32F352C}" destId="{0CF8CB4E-235E-49F1-82FC-E50ABCF1C21A}" srcOrd="0" destOrd="0" presId="urn:microsoft.com/office/officeart/2005/8/layout/hierarchy2"/>
    <dgm:cxn modelId="{202A0733-6853-4170-BFDE-847976506BC6}" type="presParOf" srcId="{2846D457-FA0C-47CD-9F29-41EFF32F352C}" destId="{1CEC76CC-CAC2-48CA-9D10-1A361E62480E}" srcOrd="1" destOrd="0" presId="urn:microsoft.com/office/officeart/2005/8/layout/hierarchy2"/>
    <dgm:cxn modelId="{2D3B593C-434A-423C-A9A4-7D85583E185A}" type="presParOf" srcId="{527138A0-4268-4F31-856C-D3D7B8B4D277}" destId="{598A2477-3956-4745-B81F-52E9119B82FB}" srcOrd="2" destOrd="0" presId="urn:microsoft.com/office/officeart/2005/8/layout/hierarchy2"/>
    <dgm:cxn modelId="{A2F0AFFB-EB72-4D95-8367-729954F6DD0F}" type="presParOf" srcId="{598A2477-3956-4745-B81F-52E9119B82FB}" destId="{432B4CE7-E5A4-4F3B-BE4C-B10EFA05C33A}" srcOrd="0" destOrd="0" presId="urn:microsoft.com/office/officeart/2005/8/layout/hierarchy2"/>
    <dgm:cxn modelId="{44E9C36B-99B8-451E-A1A4-A07A01CAC644}" type="presParOf" srcId="{527138A0-4268-4F31-856C-D3D7B8B4D277}" destId="{200FD7A4-8902-46EA-80F6-AC5FAB6502B6}" srcOrd="3" destOrd="0" presId="urn:microsoft.com/office/officeart/2005/8/layout/hierarchy2"/>
    <dgm:cxn modelId="{1D8C6AAD-9054-41F4-8013-2B266D21B963}" type="presParOf" srcId="{200FD7A4-8902-46EA-80F6-AC5FAB6502B6}" destId="{21B723CF-9090-4960-826E-9E461027B320}" srcOrd="0" destOrd="0" presId="urn:microsoft.com/office/officeart/2005/8/layout/hierarchy2"/>
    <dgm:cxn modelId="{A50C259A-C040-4DF2-B337-7C0AE129182B}" type="presParOf" srcId="{200FD7A4-8902-46EA-80F6-AC5FAB6502B6}" destId="{0F48B78C-C008-422C-A8AB-0165FBEA11A2}" srcOrd="1" destOrd="0" presId="urn:microsoft.com/office/officeart/2005/8/layout/hierarchy2"/>
    <dgm:cxn modelId="{3334EAE7-9163-4453-A9C0-0CE17C49721A}" type="presParOf" srcId="{527138A0-4268-4F31-856C-D3D7B8B4D277}" destId="{AEA0893E-3951-4B29-A113-869D084482B7}" srcOrd="4" destOrd="0" presId="urn:microsoft.com/office/officeart/2005/8/layout/hierarchy2"/>
    <dgm:cxn modelId="{84F1595C-58B0-45A2-B4EA-923ACCEB6F39}" type="presParOf" srcId="{AEA0893E-3951-4B29-A113-869D084482B7}" destId="{854AC183-2572-4EE9-8885-1E8EB9EDD267}" srcOrd="0" destOrd="0" presId="urn:microsoft.com/office/officeart/2005/8/layout/hierarchy2"/>
    <dgm:cxn modelId="{BC83F405-5593-4859-AA21-C24A66066706}" type="presParOf" srcId="{527138A0-4268-4F31-856C-D3D7B8B4D277}" destId="{5EB2F9BE-95F5-423D-A574-CB43F11E1488}" srcOrd="5" destOrd="0" presId="urn:microsoft.com/office/officeart/2005/8/layout/hierarchy2"/>
    <dgm:cxn modelId="{60105D47-FE7D-4EDF-8438-D880EB76CA11}" type="presParOf" srcId="{5EB2F9BE-95F5-423D-A574-CB43F11E1488}" destId="{2FA06B25-175B-4202-8BFF-4182A0ADC680}" srcOrd="0" destOrd="0" presId="urn:microsoft.com/office/officeart/2005/8/layout/hierarchy2"/>
    <dgm:cxn modelId="{2CA3FFDD-6A05-4C18-86A7-DED273588FD6}" type="presParOf" srcId="{5EB2F9BE-95F5-423D-A574-CB43F11E1488}" destId="{B87D69AE-84A4-4B81-98BB-B6211BA42165}" srcOrd="1" destOrd="0" presId="urn:microsoft.com/office/officeart/2005/8/layout/hierarchy2"/>
    <dgm:cxn modelId="{E710A6C1-9900-43FF-97B5-A2B7BBFAFA20}" type="presParOf" srcId="{527138A0-4268-4F31-856C-D3D7B8B4D277}" destId="{840F3061-EE04-452A-8A43-30EE3204C941}" srcOrd="6" destOrd="0" presId="urn:microsoft.com/office/officeart/2005/8/layout/hierarchy2"/>
    <dgm:cxn modelId="{0DAFF39F-9028-4DA6-BF9F-D1A1A9E41991}" type="presParOf" srcId="{840F3061-EE04-452A-8A43-30EE3204C941}" destId="{288AA29A-A86A-4DB7-9A37-6B206CE0345B}" srcOrd="0" destOrd="0" presId="urn:microsoft.com/office/officeart/2005/8/layout/hierarchy2"/>
    <dgm:cxn modelId="{EDD49197-FDC1-4B54-AC50-473DAF3ABDF1}" type="presParOf" srcId="{527138A0-4268-4F31-856C-D3D7B8B4D277}" destId="{1EDA4DD6-21A4-43E2-A558-76DC51039C33}" srcOrd="7" destOrd="0" presId="urn:microsoft.com/office/officeart/2005/8/layout/hierarchy2"/>
    <dgm:cxn modelId="{989F238B-75FA-411F-981A-F6B69F181B3D}" type="presParOf" srcId="{1EDA4DD6-21A4-43E2-A558-76DC51039C33}" destId="{816AABA0-9BE1-4CD6-B17B-9B4879AB145B}" srcOrd="0" destOrd="0" presId="urn:microsoft.com/office/officeart/2005/8/layout/hierarchy2"/>
    <dgm:cxn modelId="{B0378072-0644-418C-B5BF-F0C6438B626C}" type="presParOf" srcId="{1EDA4DD6-21A4-43E2-A558-76DC51039C33}" destId="{1F2151F1-4280-4AEE-9561-EE764D2C5C88}" srcOrd="1" destOrd="0" presId="urn:microsoft.com/office/officeart/2005/8/layout/hierarchy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09F093-E4BD-4648-B182-3D088C5AD79E}">
      <dsp:nvSpPr>
        <dsp:cNvPr id="0" name=""/>
        <dsp:cNvSpPr/>
      </dsp:nvSpPr>
      <dsp:spPr>
        <a:xfrm>
          <a:off x="0" y="2627987"/>
          <a:ext cx="1152814" cy="93514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ảm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endParaRPr lang="en-US" sz="1800" kern="1200" dirty="0"/>
        </a:p>
      </dsp:txBody>
      <dsp:txXfrm>
        <a:off x="27390" y="2655377"/>
        <a:ext cx="1098034" cy="880369"/>
      </dsp:txXfrm>
    </dsp:sp>
    <dsp:sp modelId="{2D92BB5F-7A22-479A-8E4F-7F74B41A7D17}">
      <dsp:nvSpPr>
        <dsp:cNvPr id="0" name=""/>
        <dsp:cNvSpPr/>
      </dsp:nvSpPr>
      <dsp:spPr>
        <a:xfrm rot="16045919">
          <a:off x="128894" y="2102486"/>
          <a:ext cx="19600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960021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59904" y="2067535"/>
        <a:ext cx="98001" cy="98001"/>
      </dsp:txXfrm>
    </dsp:sp>
    <dsp:sp modelId="{EB758390-B5F0-471B-A598-F2EA7FE78F2F}">
      <dsp:nvSpPr>
        <dsp:cNvPr id="0" name=""/>
        <dsp:cNvSpPr/>
      </dsp:nvSpPr>
      <dsp:spPr>
        <a:xfrm>
          <a:off x="1064995" y="611286"/>
          <a:ext cx="1741266" cy="10524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nguyên</a:t>
          </a:r>
          <a:r>
            <a:rPr lang="en-US" sz="1800" kern="1200" dirty="0"/>
            <a:t> </a:t>
          </a:r>
          <a:r>
            <a:rPr lang="en-US" sz="1800" kern="1200" dirty="0" err="1"/>
            <a:t>tắc</a:t>
          </a:r>
          <a:r>
            <a:rPr lang="en-US" sz="1800" kern="1200" dirty="0"/>
            <a:t> </a:t>
          </a:r>
          <a:r>
            <a:rPr lang="en-US" sz="1800" kern="1200" dirty="0" err="1"/>
            <a:t>hoạt</a:t>
          </a:r>
          <a:r>
            <a:rPr lang="en-US" sz="1800" kern="1200" dirty="0"/>
            <a:t> </a:t>
          </a:r>
          <a:r>
            <a:rPr lang="en-US" sz="1800" kern="1200" dirty="0" err="1"/>
            <a:t>động</a:t>
          </a:r>
          <a:endParaRPr lang="en-US" sz="1800" kern="1200" dirty="0"/>
        </a:p>
      </dsp:txBody>
      <dsp:txXfrm>
        <a:off x="1095820" y="642111"/>
        <a:ext cx="1679616" cy="990795"/>
      </dsp:txXfrm>
    </dsp:sp>
    <dsp:sp modelId="{FB422C1E-5D75-4CAB-987F-169DFF25D586}">
      <dsp:nvSpPr>
        <dsp:cNvPr id="0" name=""/>
        <dsp:cNvSpPr/>
      </dsp:nvSpPr>
      <dsp:spPr>
        <a:xfrm rot="16752317">
          <a:off x="2491986" y="754153"/>
          <a:ext cx="74824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24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847405" y="749496"/>
        <a:ext cx="37412" cy="37412"/>
      </dsp:txXfrm>
    </dsp:sp>
    <dsp:sp modelId="{036A4956-C567-4A65-BE49-ECCDEB66741C}">
      <dsp:nvSpPr>
        <dsp:cNvPr id="0" name=""/>
        <dsp:cNvSpPr/>
      </dsp:nvSpPr>
      <dsp:spPr>
        <a:xfrm>
          <a:off x="2925961" y="140396"/>
          <a:ext cx="4821031" cy="5169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trực</a:t>
          </a:r>
          <a:r>
            <a:rPr lang="en-US" sz="1800" kern="1200" dirty="0"/>
            <a:t> </a:t>
          </a:r>
          <a:r>
            <a:rPr lang="en-US" sz="1800" kern="1200" dirty="0" err="1"/>
            <a:t>tiếp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điện</a:t>
          </a:r>
          <a:endParaRPr lang="en-US" sz="1800" kern="1200" dirty="0"/>
        </a:p>
      </dsp:txBody>
      <dsp:txXfrm>
        <a:off x="2941103" y="155538"/>
        <a:ext cx="4790747" cy="486713"/>
      </dsp:txXfrm>
    </dsp:sp>
    <dsp:sp modelId="{D2C90DAF-827F-4305-ABBF-900B3C60FD0A}">
      <dsp:nvSpPr>
        <dsp:cNvPr id="0" name=""/>
        <dsp:cNvSpPr/>
      </dsp:nvSpPr>
      <dsp:spPr>
        <a:xfrm rot="1391938">
          <a:off x="2795143" y="1177626"/>
          <a:ext cx="275007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75007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925772" y="1184800"/>
        <a:ext cx="13750" cy="13750"/>
      </dsp:txXfrm>
    </dsp:sp>
    <dsp:sp modelId="{272F36CC-95FD-47E1-84D8-BB35AD90260E}">
      <dsp:nvSpPr>
        <dsp:cNvPr id="0" name=""/>
        <dsp:cNvSpPr/>
      </dsp:nvSpPr>
      <dsp:spPr>
        <a:xfrm>
          <a:off x="3059033" y="851970"/>
          <a:ext cx="4486304" cy="78774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ác</a:t>
          </a:r>
          <a:r>
            <a:rPr lang="en-US" sz="1800" kern="1200" dirty="0"/>
            <a:t> </a:t>
          </a:r>
          <a:r>
            <a:rPr lang="en-US" sz="1800" kern="1200" dirty="0" err="1"/>
            <a:t>dạng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sự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ủa</a:t>
          </a:r>
          <a:r>
            <a:rPr lang="en-US" sz="1800" kern="1200" dirty="0"/>
            <a:t> </a:t>
          </a:r>
          <a:r>
            <a:rPr lang="en-US" sz="1800" kern="1200" dirty="0" err="1"/>
            <a:t>đại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vật</a:t>
          </a:r>
          <a:r>
            <a:rPr lang="en-US" sz="1800" kern="1200" dirty="0"/>
            <a:t> </a:t>
          </a:r>
          <a:r>
            <a:rPr lang="en-US" sz="1800" kern="1200" dirty="0" err="1"/>
            <a:t>lí</a:t>
          </a:r>
          <a:r>
            <a:rPr lang="en-US" sz="1800" kern="1200" dirty="0"/>
            <a:t> </a:t>
          </a:r>
        </a:p>
      </dsp:txBody>
      <dsp:txXfrm>
        <a:off x="3082105" y="875042"/>
        <a:ext cx="4440160" cy="741597"/>
      </dsp:txXfrm>
    </dsp:sp>
    <dsp:sp modelId="{8AC2AB6F-F213-4ADF-B92D-32AD4843351A}">
      <dsp:nvSpPr>
        <dsp:cNvPr id="0" name=""/>
        <dsp:cNvSpPr/>
      </dsp:nvSpPr>
      <dsp:spPr>
        <a:xfrm rot="21547179">
          <a:off x="1152774" y="3076227"/>
          <a:ext cx="6880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8080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1479612" y="3073074"/>
        <a:ext cx="34404" cy="34404"/>
      </dsp:txXfrm>
    </dsp:sp>
    <dsp:sp modelId="{5ADDBDD1-CF83-494D-894F-6880C2D1A70F}">
      <dsp:nvSpPr>
        <dsp:cNvPr id="0" name=""/>
        <dsp:cNvSpPr/>
      </dsp:nvSpPr>
      <dsp:spPr>
        <a:xfrm>
          <a:off x="1840814" y="2480841"/>
          <a:ext cx="1870298" cy="12082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phạm</a:t>
          </a:r>
          <a:r>
            <a:rPr lang="en-US" sz="1800" kern="1200" dirty="0"/>
            <a:t> vi </a:t>
          </a:r>
          <a:r>
            <a:rPr lang="en-US" sz="1800" kern="1200" dirty="0" err="1"/>
            <a:t>sử</a:t>
          </a:r>
          <a:r>
            <a:rPr lang="en-US" sz="1800" kern="1200" dirty="0"/>
            <a:t> </a:t>
          </a:r>
          <a:r>
            <a:rPr lang="en-US" sz="1800" kern="1200" dirty="0" err="1"/>
            <a:t>dụng</a:t>
          </a:r>
          <a:endParaRPr lang="en-US" sz="1800" kern="1200" dirty="0"/>
        </a:p>
      </dsp:txBody>
      <dsp:txXfrm>
        <a:off x="1876204" y="2516231"/>
        <a:ext cx="1799518" cy="1137517"/>
      </dsp:txXfrm>
    </dsp:sp>
    <dsp:sp modelId="{C6F589A2-C869-4FDD-9F13-DD0AB298EEEA}">
      <dsp:nvSpPr>
        <dsp:cNvPr id="0" name=""/>
        <dsp:cNvSpPr/>
      </dsp:nvSpPr>
      <dsp:spPr>
        <a:xfrm rot="17999545">
          <a:off x="3495883" y="2698209"/>
          <a:ext cx="8607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860721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904725" y="2690740"/>
        <a:ext cx="43036" cy="43036"/>
      </dsp:txXfrm>
    </dsp:sp>
    <dsp:sp modelId="{35F87995-9438-4A28-B276-99BA28F0EF2F}">
      <dsp:nvSpPr>
        <dsp:cNvPr id="0" name=""/>
        <dsp:cNvSpPr/>
      </dsp:nvSpPr>
      <dsp:spPr>
        <a:xfrm>
          <a:off x="4141374" y="2146890"/>
          <a:ext cx="1870298" cy="3852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Y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4152658" y="2158174"/>
        <a:ext cx="1847730" cy="362704"/>
      </dsp:txXfrm>
    </dsp:sp>
    <dsp:sp modelId="{C1D5AB20-F169-4710-B137-57622794592E}">
      <dsp:nvSpPr>
        <dsp:cNvPr id="0" name=""/>
        <dsp:cNvSpPr/>
      </dsp:nvSpPr>
      <dsp:spPr>
        <a:xfrm rot="21307754">
          <a:off x="3709207" y="3026150"/>
          <a:ext cx="1055048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055048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210355" y="3013822"/>
        <a:ext cx="52752" cy="52752"/>
      </dsp:txXfrm>
    </dsp:sp>
    <dsp:sp modelId="{ED79924C-5A2B-403D-9075-C8164C3720E8}">
      <dsp:nvSpPr>
        <dsp:cNvPr id="0" name=""/>
        <dsp:cNvSpPr/>
      </dsp:nvSpPr>
      <dsp:spPr>
        <a:xfrm>
          <a:off x="4762351" y="2763182"/>
          <a:ext cx="1291403" cy="4644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Môi</a:t>
          </a:r>
          <a:r>
            <a:rPr lang="en-US" sz="1800" kern="1200" dirty="0"/>
            <a:t> </a:t>
          </a:r>
          <a:r>
            <a:rPr lang="en-US" sz="1800" kern="1200" dirty="0" err="1"/>
            <a:t>trường</a:t>
          </a:r>
          <a:endParaRPr lang="en-US" sz="1800" kern="1200" dirty="0"/>
        </a:p>
      </dsp:txBody>
      <dsp:txXfrm>
        <a:off x="4775954" y="2776785"/>
        <a:ext cx="1264197" cy="437245"/>
      </dsp:txXfrm>
    </dsp:sp>
    <dsp:sp modelId="{A7AB0CFD-7036-41CE-B618-B6E5DB3CB870}">
      <dsp:nvSpPr>
        <dsp:cNvPr id="0" name=""/>
        <dsp:cNvSpPr/>
      </dsp:nvSpPr>
      <dsp:spPr>
        <a:xfrm rot="844319">
          <a:off x="3682640" y="3301631"/>
          <a:ext cx="18975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897580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583991" y="3268240"/>
        <a:ext cx="94879" cy="94879"/>
      </dsp:txXfrm>
    </dsp:sp>
    <dsp:sp modelId="{95DA46AE-C83A-4CC3-A7D0-23A04927D6A2}">
      <dsp:nvSpPr>
        <dsp:cNvPr id="0" name=""/>
        <dsp:cNvSpPr/>
      </dsp:nvSpPr>
      <dsp:spPr>
        <a:xfrm>
          <a:off x="5551748" y="3295403"/>
          <a:ext cx="1335093" cy="50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566449" y="3310104"/>
        <a:ext cx="1305691" cy="472530"/>
      </dsp:txXfrm>
    </dsp:sp>
    <dsp:sp modelId="{96105C51-DAF6-418F-BDF8-33E1629D70A2}">
      <dsp:nvSpPr>
        <dsp:cNvPr id="0" name=""/>
        <dsp:cNvSpPr/>
      </dsp:nvSpPr>
      <dsp:spPr>
        <a:xfrm rot="1735059">
          <a:off x="3561757" y="3650170"/>
          <a:ext cx="2395725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395725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699727" y="3604326"/>
        <a:ext cx="119786" cy="119786"/>
      </dsp:txXfrm>
    </dsp:sp>
    <dsp:sp modelId="{C5AB3036-76EC-4A10-8347-DBC2F7417D3F}">
      <dsp:nvSpPr>
        <dsp:cNvPr id="0" name=""/>
        <dsp:cNvSpPr/>
      </dsp:nvSpPr>
      <dsp:spPr>
        <a:xfrm>
          <a:off x="5808128" y="4029467"/>
          <a:ext cx="1526687" cy="42796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820663" y="4042002"/>
        <a:ext cx="1501617" cy="402891"/>
      </dsp:txXfrm>
    </dsp:sp>
    <dsp:sp modelId="{D34B3B74-7006-401E-8196-8B4D88A1073D}">
      <dsp:nvSpPr>
        <dsp:cNvPr id="0" name=""/>
        <dsp:cNvSpPr/>
      </dsp:nvSpPr>
      <dsp:spPr>
        <a:xfrm rot="5587685">
          <a:off x="251820" y="3934612"/>
          <a:ext cx="170874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708744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63474" y="3905942"/>
        <a:ext cx="85437" cy="85437"/>
      </dsp:txXfrm>
    </dsp:sp>
    <dsp:sp modelId="{4010BE2A-D30E-4C61-B395-834D194CA75D}">
      <dsp:nvSpPr>
        <dsp:cNvPr id="0" name=""/>
        <dsp:cNvSpPr/>
      </dsp:nvSpPr>
      <dsp:spPr>
        <a:xfrm>
          <a:off x="1059571" y="4103723"/>
          <a:ext cx="2133449" cy="139607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1100461" y="4144613"/>
        <a:ext cx="2051669" cy="1314295"/>
      </dsp:txXfrm>
    </dsp:sp>
    <dsp:sp modelId="{3DAAA332-8291-41B4-9747-D0D8E0453E79}">
      <dsp:nvSpPr>
        <dsp:cNvPr id="0" name=""/>
        <dsp:cNvSpPr/>
      </dsp:nvSpPr>
      <dsp:spPr>
        <a:xfrm rot="17714591">
          <a:off x="3007503" y="4495138"/>
          <a:ext cx="646923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46923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14792" y="4493014"/>
        <a:ext cx="32346" cy="32346"/>
      </dsp:txXfrm>
    </dsp:sp>
    <dsp:sp modelId="{0CF8CB4E-235E-49F1-82FC-E50ABCF1C21A}">
      <dsp:nvSpPr>
        <dsp:cNvPr id="0" name=""/>
        <dsp:cNvSpPr/>
      </dsp:nvSpPr>
      <dsp:spPr>
        <a:xfrm>
          <a:off x="3468909" y="3992594"/>
          <a:ext cx="1870298" cy="44803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Giá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endParaRPr lang="en-US" sz="1800" kern="1200" dirty="0"/>
        </a:p>
      </dsp:txBody>
      <dsp:txXfrm>
        <a:off x="3482032" y="4005717"/>
        <a:ext cx="1844052" cy="421793"/>
      </dsp:txXfrm>
    </dsp:sp>
    <dsp:sp modelId="{598A2477-3956-4745-B81F-52E9119B82FB}">
      <dsp:nvSpPr>
        <dsp:cNvPr id="0" name=""/>
        <dsp:cNvSpPr/>
      </dsp:nvSpPr>
      <dsp:spPr>
        <a:xfrm rot="138062">
          <a:off x="3192719" y="4802742"/>
          <a:ext cx="74870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70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548354" y="4798073"/>
        <a:ext cx="37435" cy="37435"/>
      </dsp:txXfrm>
    </dsp:sp>
    <dsp:sp modelId="{21B723CF-9090-4960-826E-9E461027B320}">
      <dsp:nvSpPr>
        <dsp:cNvPr id="0" name=""/>
        <dsp:cNvSpPr/>
      </dsp:nvSpPr>
      <dsp:spPr>
        <a:xfrm>
          <a:off x="3941121" y="4598926"/>
          <a:ext cx="2796526" cy="465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ăng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tiêu</a:t>
          </a:r>
          <a:r>
            <a:rPr lang="en-US" sz="1800" kern="1200" dirty="0"/>
            <a:t> </a:t>
          </a:r>
          <a:r>
            <a:rPr lang="en-US" sz="1800" kern="1200" dirty="0" err="1"/>
            <a:t>thụ</a:t>
          </a:r>
          <a:endParaRPr lang="en-US" sz="1800" kern="1200" dirty="0"/>
        </a:p>
      </dsp:txBody>
      <dsp:txXfrm>
        <a:off x="3954763" y="4612568"/>
        <a:ext cx="2769242" cy="438504"/>
      </dsp:txXfrm>
    </dsp:sp>
    <dsp:sp modelId="{AEA0893E-3951-4B29-A113-869D084482B7}">
      <dsp:nvSpPr>
        <dsp:cNvPr id="0" name=""/>
        <dsp:cNvSpPr/>
      </dsp:nvSpPr>
      <dsp:spPr>
        <a:xfrm rot="2941185">
          <a:off x="3075965" y="5044450"/>
          <a:ext cx="68015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015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99041" y="5041495"/>
        <a:ext cx="34007" cy="34007"/>
      </dsp:txXfrm>
    </dsp:sp>
    <dsp:sp modelId="{2FA06B25-175B-4202-8BFF-4182A0ADC680}">
      <dsp:nvSpPr>
        <dsp:cNvPr id="0" name=""/>
        <dsp:cNvSpPr/>
      </dsp:nvSpPr>
      <dsp:spPr>
        <a:xfrm>
          <a:off x="3639068" y="5131821"/>
          <a:ext cx="3662082" cy="36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chính</a:t>
          </a:r>
          <a:r>
            <a:rPr lang="en-US" sz="1800" kern="1200" dirty="0"/>
            <a:t> </a:t>
          </a:r>
          <a:r>
            <a:rPr lang="en-US" sz="1800" kern="1200" dirty="0" err="1"/>
            <a:t>xác</a:t>
          </a:r>
          <a:r>
            <a:rPr lang="en-US" sz="1800" kern="1200" dirty="0"/>
            <a:t>, </a:t>
          </a: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bền</a:t>
          </a:r>
          <a:endParaRPr lang="en-US" sz="1800" kern="1200" dirty="0"/>
        </a:p>
      </dsp:txBody>
      <dsp:txXfrm>
        <a:off x="3649812" y="5142565"/>
        <a:ext cx="3640594" cy="345343"/>
      </dsp:txXfrm>
    </dsp:sp>
    <dsp:sp modelId="{840F3061-EE04-452A-8A43-30EE3204C941}">
      <dsp:nvSpPr>
        <dsp:cNvPr id="0" name=""/>
        <dsp:cNvSpPr/>
      </dsp:nvSpPr>
      <dsp:spPr>
        <a:xfrm rot="4779710">
          <a:off x="2810035" y="5246882"/>
          <a:ext cx="93349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93349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253445" y="5237593"/>
        <a:ext cx="46674" cy="46674"/>
      </dsp:txXfrm>
    </dsp:sp>
    <dsp:sp modelId="{816AABA0-9BE1-4CD6-B17B-9B4879AB145B}">
      <dsp:nvSpPr>
        <dsp:cNvPr id="0" name=""/>
        <dsp:cNvSpPr/>
      </dsp:nvSpPr>
      <dsp:spPr>
        <a:xfrm>
          <a:off x="3360543" y="5542707"/>
          <a:ext cx="4420619" cy="35478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r>
            <a:rPr lang="en-US" sz="1800" kern="1200" dirty="0"/>
            <a:t> </a:t>
          </a:r>
          <a:r>
            <a:rPr lang="en-US" sz="1800" kern="1200" dirty="0" err="1"/>
            <a:t>mang</a:t>
          </a:r>
          <a:r>
            <a:rPr lang="en-US" sz="1800" kern="1200" dirty="0"/>
            <a:t> </a:t>
          </a:r>
          <a:r>
            <a:rPr lang="en-US" sz="1800" kern="1200" dirty="0" err="1"/>
            <a:t>lại</a:t>
          </a:r>
          <a:endParaRPr lang="en-US" sz="1800" kern="1200" dirty="0"/>
        </a:p>
      </dsp:txBody>
      <dsp:txXfrm>
        <a:off x="3370934" y="5553098"/>
        <a:ext cx="4399837" cy="3340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367838-CB9E-1C4E-B6E3-A78C0BA007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4E375D-1A8F-9F4D-8CC8-BAE8A5E919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8E09-BFC9-6B48-96B7-BE5177A01D51}" type="datetimeFigureOut">
              <a:rPr lang="es-ES_tradnl" smtClean="0">
                <a:latin typeface="Abhaya Libre" panose="02000603000000000000" pitchFamily="2" charset="77"/>
              </a:rPr>
              <a:t>24/07/2023</a:t>
            </a:fld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E7A4FF-704A-954D-BC9C-F371462E0F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4880EF-7252-FC47-A361-5A3684F19A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F8D33-B625-EE45-B94F-4FC0DF67D7D4}" type="slidenum">
              <a:rPr lang="es-ES_tradnl" smtClean="0">
                <a:latin typeface="Abhaya Libre" panose="02000603000000000000" pitchFamily="2" charset="77"/>
              </a:rPr>
              <a:t>‹#›</a:t>
            </a:fld>
            <a:endParaRPr lang="es-ES_tradnl" dirty="0">
              <a:latin typeface="Abhaya Libre" panose="02000603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8307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88EDFB7E-8A14-5F4A-A8BC-FEC574E653A4}" type="datetimeFigureOut">
              <a:rPr lang="en-US" smtClean="0"/>
              <a:pPr/>
              <a:t>7/2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4A1814F3-7BF6-CC41-BA5F-F3649E84E6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263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lycs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YCS Architectur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701CE-F599-4CD5-9E97-82CBA78847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870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203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00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75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02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683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760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4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10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182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55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027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8996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43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24/07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2480204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31226-5EE8-49D6-99BC-D60337D88C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8EFF2-A8D3-46DB-8ABA-5944A575F0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160843-7276-4B4F-A8C2-B73035E4B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AEE1B6-6578-4093-AEB9-394360AB3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FD722-2549-40D0-AD46-84A5D6AE2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765364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C7A8A-951B-4A50-8745-2D5929FF5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D0B76C-E6EF-44FB-BDEC-E2B4A8FBB8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17C3D-56AD-41ED-8D95-DCEB20E00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FE01D-C49E-49C2-8670-6D7F075BF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99271-2C68-4684-9C32-91DDE3F7F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380594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F09C3-D2C0-4DBD-9BE5-F6F21D148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C5C28-0769-4FB3-9405-04A6853B1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65239-7AD0-45F1-879B-DC17C0E4F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02BB4-18B0-4946-9096-EAC4D3015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FF0B77-1FD6-429F-A88A-14F9D8AF7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93800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FDA9F-C885-4DE1-B4EB-618114C8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8CDC95-212E-49CB-BAB3-5B82FC12B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2FAB9A-C09F-4367-A8E1-815A6D15E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93538-8BCF-4333-900E-FB93F712E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91DF3D-4F7A-430D-889D-5E70AF2CB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70628D-CE3D-45E3-B086-3AD8999D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434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5F857-A46F-41EC-9B0C-48E092EE5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9FD35-641B-452F-956F-A1CA64E9B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1193A-E6E8-4BE7-9288-DDC43E628F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D08A8C-5D9E-4CBB-8B87-E30B024BCB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8C639C-CBAF-4817-8651-972EB4245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BBD77-9049-45CD-9E87-BA7A520CE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F44B11-F300-46A2-849F-2CC3ACB92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1C0194-CAA7-434D-A31E-8A366B1A1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935656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0A8D0-EF79-4910-BF04-2E6069257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28A862-2268-419D-B020-A9832E469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FE41C-6457-4AB9-A37E-3B86617C7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8EA8C-D2D6-41E1-B395-C81535815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38862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81A143-796F-4EDD-A9BA-4CAC9FED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E57987-959D-4938-97E3-0DC70CAE0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1E168-74A3-464D-96C7-69A2C6356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38987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608BD-ABFD-4FC5-805B-AC645E094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BD4351-2D2D-4A21-A1B3-0F41F68AED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4D0DFB-1237-44E9-87A4-A0C2E61140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FD9602-2610-48A1-AA51-B8092F133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0195A6-ADA2-4505-BD5E-4DCC965FB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AF3ABB-4EDF-4186-8C4A-162447AEF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84651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EF88C4-BD4C-6B4F-8E97-850FB8BDB1B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1965" y="1220817"/>
            <a:ext cx="4480560" cy="4459583"/>
          </a:xfrm>
          <a:custGeom>
            <a:avLst/>
            <a:gdLst>
              <a:gd name="connsiteX0" fmla="*/ 1666146 w 3392687"/>
              <a:gd name="connsiteY0" fmla="*/ 0 h 3376803"/>
              <a:gd name="connsiteX1" fmla="*/ 1670024 w 3392687"/>
              <a:gd name="connsiteY1" fmla="*/ 303079 h 3376803"/>
              <a:gd name="connsiteX2" fmla="*/ 1688309 w 3392687"/>
              <a:gd name="connsiteY2" fmla="*/ 302524 h 3376803"/>
              <a:gd name="connsiteX3" fmla="*/ 1924351 w 3392687"/>
              <a:gd name="connsiteY3" fmla="*/ 323025 h 3376803"/>
              <a:gd name="connsiteX4" fmla="*/ 1975605 w 3392687"/>
              <a:gd name="connsiteY4" fmla="*/ 24379 h 3376803"/>
              <a:gd name="connsiteX5" fmla="*/ 2755762 w 3392687"/>
              <a:gd name="connsiteY5" fmla="*/ 380095 h 3376803"/>
              <a:gd name="connsiteX6" fmla="*/ 2564324 w 3392687"/>
              <a:gd name="connsiteY6" fmla="*/ 614745 h 3376803"/>
              <a:gd name="connsiteX7" fmla="*/ 2746619 w 3392687"/>
              <a:gd name="connsiteY7" fmla="*/ 793988 h 3376803"/>
              <a:gd name="connsiteX8" fmla="*/ 2978506 w 3392687"/>
              <a:gd name="connsiteY8" fmla="*/ 598123 h 3376803"/>
              <a:gd name="connsiteX9" fmla="*/ 3348637 w 3392687"/>
              <a:gd name="connsiteY9" fmla="*/ 1371887 h 3376803"/>
              <a:gd name="connsiteX10" fmla="*/ 3052476 w 3392687"/>
              <a:gd name="connsiteY10" fmla="*/ 1428403 h 3376803"/>
              <a:gd name="connsiteX11" fmla="*/ 3080181 w 3392687"/>
              <a:gd name="connsiteY11" fmla="*/ 1682445 h 3376803"/>
              <a:gd name="connsiteX12" fmla="*/ 3392687 w 3392687"/>
              <a:gd name="connsiteY12" fmla="*/ 1680506 h 3376803"/>
              <a:gd name="connsiteX13" fmla="*/ 3392687 w 3392687"/>
              <a:gd name="connsiteY13" fmla="*/ 1688540 h 3376803"/>
              <a:gd name="connsiteX14" fmla="*/ 3167450 w 3392687"/>
              <a:gd name="connsiteY14" fmla="*/ 2517435 h 3376803"/>
              <a:gd name="connsiteX15" fmla="*/ 2895946 w 3392687"/>
              <a:gd name="connsiteY15" fmla="*/ 2367558 h 3376803"/>
              <a:gd name="connsiteX16" fmla="*/ 2749944 w 3392687"/>
              <a:gd name="connsiteY16" fmla="*/ 2578383 h 3376803"/>
              <a:gd name="connsiteX17" fmla="*/ 2982107 w 3392687"/>
              <a:gd name="connsiteY17" fmla="*/ 2773140 h 3376803"/>
              <a:gd name="connsiteX18" fmla="*/ 2283124 w 3392687"/>
              <a:gd name="connsiteY18" fmla="*/ 3268759 h 3376803"/>
              <a:gd name="connsiteX19" fmla="*/ 2176462 w 3392687"/>
              <a:gd name="connsiteY19" fmla="*/ 2985350 h 3376803"/>
              <a:gd name="connsiteX20" fmla="*/ 1929892 w 3392687"/>
              <a:gd name="connsiteY20" fmla="*/ 3052393 h 3376803"/>
              <a:gd name="connsiteX21" fmla="*/ 1982254 w 3392687"/>
              <a:gd name="connsiteY21" fmla="*/ 3351039 h 3376803"/>
              <a:gd name="connsiteX22" fmla="*/ 1688863 w 3392687"/>
              <a:gd name="connsiteY22" fmla="*/ 3376803 h 3376803"/>
              <a:gd name="connsiteX23" fmla="*/ 1128957 w 3392687"/>
              <a:gd name="connsiteY23" fmla="*/ 3281779 h 3376803"/>
              <a:gd name="connsiteX24" fmla="*/ 1229247 w 3392687"/>
              <a:gd name="connsiteY24" fmla="*/ 2995877 h 3376803"/>
              <a:gd name="connsiteX25" fmla="*/ 997083 w 3392687"/>
              <a:gd name="connsiteY25" fmla="*/ 2888941 h 3376803"/>
              <a:gd name="connsiteX26" fmla="*/ 845540 w 3392687"/>
              <a:gd name="connsiteY26" fmla="*/ 3151572 h 3376803"/>
              <a:gd name="connsiteX27" fmla="*/ 236319 w 3392687"/>
              <a:gd name="connsiteY27" fmla="*/ 2550125 h 3376803"/>
              <a:gd name="connsiteX28" fmla="*/ 496741 w 3392687"/>
              <a:gd name="connsiteY28" fmla="*/ 2395261 h 3376803"/>
              <a:gd name="connsiteX29" fmla="*/ 386754 w 3392687"/>
              <a:gd name="connsiteY29" fmla="*/ 2164490 h 3376803"/>
              <a:gd name="connsiteX30" fmla="*/ 102507 w 3392687"/>
              <a:gd name="connsiteY30" fmla="*/ 2268655 h 3376803"/>
              <a:gd name="connsiteX31" fmla="*/ 0 w 3392687"/>
              <a:gd name="connsiteY31" fmla="*/ 1688540 h 3376803"/>
              <a:gd name="connsiteX32" fmla="*/ 21610 w 3392687"/>
              <a:gd name="connsiteY32" fmla="*/ 1416213 h 3376803"/>
              <a:gd name="connsiteX33" fmla="*/ 320818 w 3392687"/>
              <a:gd name="connsiteY33" fmla="*/ 1464694 h 3376803"/>
              <a:gd name="connsiteX34" fmla="*/ 384815 w 3392687"/>
              <a:gd name="connsiteY34" fmla="*/ 1217300 h 3376803"/>
              <a:gd name="connsiteX35" fmla="*/ 100013 w 3392687"/>
              <a:gd name="connsiteY35" fmla="*/ 1114243 h 3376803"/>
              <a:gd name="connsiteX36" fmla="*/ 586503 w 3392687"/>
              <a:gd name="connsiteY36" fmla="*/ 408907 h 3376803"/>
              <a:gd name="connsiteX37" fmla="*/ 784313 w 3392687"/>
              <a:gd name="connsiteY37" fmla="*/ 638570 h 3376803"/>
              <a:gd name="connsiteX38" fmla="*/ 992374 w 3392687"/>
              <a:gd name="connsiteY38" fmla="*/ 490355 h 3376803"/>
              <a:gd name="connsiteX39" fmla="*/ 839722 w 3392687"/>
              <a:gd name="connsiteY39" fmla="*/ 228279 h 3376803"/>
              <a:gd name="connsiteX40" fmla="*/ 1666146 w 3392687"/>
              <a:gd name="connsiteY40" fmla="*/ 0 h 3376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392687" h="3376803">
                <a:moveTo>
                  <a:pt x="1666146" y="0"/>
                </a:moveTo>
                <a:lnTo>
                  <a:pt x="1670024" y="303079"/>
                </a:lnTo>
                <a:cubicBezTo>
                  <a:pt x="1676119" y="303079"/>
                  <a:pt x="1682214" y="302524"/>
                  <a:pt x="1688309" y="302524"/>
                </a:cubicBezTo>
                <a:cubicBezTo>
                  <a:pt x="1768929" y="302524"/>
                  <a:pt x="1847610" y="310004"/>
                  <a:pt x="1924351" y="323025"/>
                </a:cubicBezTo>
                <a:lnTo>
                  <a:pt x="1975605" y="24379"/>
                </a:lnTo>
                <a:cubicBezTo>
                  <a:pt x="2260960" y="73415"/>
                  <a:pt x="2530802" y="196419"/>
                  <a:pt x="2755762" y="380095"/>
                </a:cubicBezTo>
                <a:lnTo>
                  <a:pt x="2564324" y="614745"/>
                </a:lnTo>
                <a:cubicBezTo>
                  <a:pt x="2630538" y="668767"/>
                  <a:pt x="2691487" y="728884"/>
                  <a:pt x="2746619" y="793988"/>
                </a:cubicBezTo>
                <a:lnTo>
                  <a:pt x="2978506" y="598123"/>
                </a:lnTo>
                <a:cubicBezTo>
                  <a:pt x="3166065" y="820029"/>
                  <a:pt x="3294613" y="1087647"/>
                  <a:pt x="3348637" y="1371887"/>
                </a:cubicBezTo>
                <a:lnTo>
                  <a:pt x="3052476" y="1428403"/>
                </a:lnTo>
                <a:cubicBezTo>
                  <a:pt x="3067991" y="1510960"/>
                  <a:pt x="3079904" y="1595733"/>
                  <a:pt x="3080181" y="1682445"/>
                </a:cubicBezTo>
                <a:lnTo>
                  <a:pt x="3392687" y="1680506"/>
                </a:lnTo>
                <a:lnTo>
                  <a:pt x="3392687" y="1688540"/>
                </a:lnTo>
                <a:cubicBezTo>
                  <a:pt x="3392687" y="1978598"/>
                  <a:pt x="3309574" y="2265331"/>
                  <a:pt x="3167450" y="2517435"/>
                </a:cubicBezTo>
                <a:lnTo>
                  <a:pt x="2895946" y="2367558"/>
                </a:lnTo>
                <a:cubicBezTo>
                  <a:pt x="2853836" y="2442358"/>
                  <a:pt x="2804799" y="2513002"/>
                  <a:pt x="2749944" y="2578383"/>
                </a:cubicBezTo>
                <a:lnTo>
                  <a:pt x="2982107" y="2773140"/>
                </a:lnTo>
                <a:cubicBezTo>
                  <a:pt x="2795379" y="2995600"/>
                  <a:pt x="2553796" y="3166809"/>
                  <a:pt x="2283124" y="3268759"/>
                </a:cubicBezTo>
                <a:lnTo>
                  <a:pt x="2176462" y="2985350"/>
                </a:lnTo>
                <a:cubicBezTo>
                  <a:pt x="2097504" y="3014993"/>
                  <a:pt x="2014945" y="3037433"/>
                  <a:pt x="1929892" y="3052393"/>
                </a:cubicBezTo>
                <a:lnTo>
                  <a:pt x="1982254" y="3351039"/>
                </a:lnTo>
                <a:cubicBezTo>
                  <a:pt x="1885842" y="3367938"/>
                  <a:pt x="1787214" y="3376526"/>
                  <a:pt x="1688863" y="3376803"/>
                </a:cubicBezTo>
                <a:cubicBezTo>
                  <a:pt x="1496595" y="3376803"/>
                  <a:pt x="1308481" y="3344667"/>
                  <a:pt x="1128957" y="3281779"/>
                </a:cubicBezTo>
                <a:lnTo>
                  <a:pt x="1229247" y="2995877"/>
                </a:lnTo>
                <a:cubicBezTo>
                  <a:pt x="1148073" y="2967343"/>
                  <a:pt x="1070500" y="2931328"/>
                  <a:pt x="997083" y="2888941"/>
                </a:cubicBezTo>
                <a:lnTo>
                  <a:pt x="845540" y="3151572"/>
                </a:lnTo>
                <a:cubicBezTo>
                  <a:pt x="594815" y="3006959"/>
                  <a:pt x="383984" y="2798904"/>
                  <a:pt x="236319" y="2550125"/>
                </a:cubicBezTo>
                <a:lnTo>
                  <a:pt x="496741" y="2395261"/>
                </a:lnTo>
                <a:cubicBezTo>
                  <a:pt x="453245" y="2322401"/>
                  <a:pt x="416121" y="2245384"/>
                  <a:pt x="386754" y="2164490"/>
                </a:cubicBezTo>
                <a:lnTo>
                  <a:pt x="102507" y="2268655"/>
                </a:lnTo>
                <a:cubicBezTo>
                  <a:pt x="34354" y="2082764"/>
                  <a:pt x="0" y="1887453"/>
                  <a:pt x="0" y="1688540"/>
                </a:cubicBezTo>
                <a:cubicBezTo>
                  <a:pt x="0" y="1597395"/>
                  <a:pt x="7203" y="1505696"/>
                  <a:pt x="21610" y="1416213"/>
                </a:cubicBezTo>
                <a:lnTo>
                  <a:pt x="320818" y="1464694"/>
                </a:lnTo>
                <a:cubicBezTo>
                  <a:pt x="334670" y="1379367"/>
                  <a:pt x="356002" y="1296533"/>
                  <a:pt x="384815" y="1217300"/>
                </a:cubicBezTo>
                <a:lnTo>
                  <a:pt x="100013" y="1114243"/>
                </a:lnTo>
                <a:cubicBezTo>
                  <a:pt x="198364" y="842469"/>
                  <a:pt x="366530" y="598677"/>
                  <a:pt x="586503" y="408907"/>
                </a:cubicBezTo>
                <a:lnTo>
                  <a:pt x="784313" y="638570"/>
                </a:lnTo>
                <a:cubicBezTo>
                  <a:pt x="848865" y="583163"/>
                  <a:pt x="918403" y="533296"/>
                  <a:pt x="992374" y="490355"/>
                </a:cubicBezTo>
                <a:lnTo>
                  <a:pt x="839722" y="228279"/>
                </a:lnTo>
                <a:cubicBezTo>
                  <a:pt x="1089893" y="82834"/>
                  <a:pt x="1375526" y="3879"/>
                  <a:pt x="166614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Abhaya Libre" panose="02000603000000000000" pitchFamily="2" charset="77"/>
                <a:ea typeface="Roboto Regular" charset="0"/>
                <a:cs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69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2F07D-056C-4956-AB23-53FEB9E32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6418DA-431A-4AAB-8349-C723A739A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96262-4B38-4621-81E9-6A5AAF824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02E275-EEDA-455B-B4B3-6513C2147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90665F-E271-40C9-87F4-6499F2392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877B6F-F5FD-408E-87C1-CD079C6F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51750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C15D1-1EB6-4159-834A-080CE4EB7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9766D3-600E-40FA-9FE8-DA07FCBC6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E7252D-8A13-4718-922F-FBAA37D3E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1354CE-4B93-4B4A-8F84-74B83F033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3E85B-44E1-4A25-9C9A-186E5B5E3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534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8EBA9E-93F6-45DD-9CDA-9DED24556B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1D7150-7065-4849-AB16-067D54C46A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D73D58-9DBE-4D29-B13B-FB7FFAAE6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09D16-6EAE-40A4-A916-AD192C005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6C0F7-D29E-4A67-8690-F7D3BDE22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743940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394B7-A2E7-485D-A1FC-571AF69A00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38F4A-7C15-4DD1-A468-9FC7C4D48F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79AE1E-FDD8-4B8A-A86C-C3C4D2EB3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0C751-5964-4B0C-A4AC-68950F087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A4941-081A-4F67-BA05-9B8BBC99C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823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B60CF-ED07-4DAD-8AFD-ABD2C1EA0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47653C-5DF3-466E-B31B-CACC9477CA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D22E43-C616-4869-8201-DF064EB4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A2190-CB0F-4895-953C-42B7A1939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D767C9-54BF-4119-BFB2-E661AEDAA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0237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A3F27-11FB-46E6-8585-78847F311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52F13-60D2-4488-94FD-14EFCB5E6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0D3BF2-A404-438F-8918-736682844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DC079-D89A-4266-B00C-BC4DA7983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F0C3A-2B5D-4F01-8BB7-8AD1AE84F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62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17F7C-4141-4A31-8BAA-18148ECE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D4FB3-3426-4BA7-A84D-E077CDAE19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84ABEE-E2BB-4CA9-BAEF-B6E0ED2854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8A54C8-088F-4B4B-86AE-3B52BE61D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E0BC-E484-490D-9EE5-EE99BCD3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388169-A312-424E-9566-035D54F70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7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A72BB9-EB34-4D76-940B-84133D011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60DE-31CE-47E2-B97E-C68E4009B5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A7938E-A912-4016-8B98-C5AF0EB2A8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70396C-B832-45AB-ADCC-9A6BD03F38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115839-9DA0-4388-9CF7-7A7AE19EB4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755F46-982E-4070-95FA-9DBAF52C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03FAA-F7E8-48F5-8CBC-87131AD8A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1EA536-850F-4EA4-B1F9-74C67B7B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5686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A5C9D-8CB5-49A2-89F7-D7D000310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4E5D6-AED1-43DB-A803-F0AE18E6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D02E21-D616-467D-A2E7-8190AC63C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123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506FA5-AE2B-4C24-B001-C15675EE7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C8E82D-606D-4686-BB06-7127E1E5A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6616-1AC7-471B-A919-2234CB8FC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525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TIF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D9853EE-7C46-6141-B114-4AB2DBE1E0F2}"/>
              </a:ext>
            </a:extLst>
          </p:cNvPr>
          <p:cNvGrpSpPr/>
          <p:nvPr userDrawn="1"/>
        </p:nvGrpSpPr>
        <p:grpSpPr>
          <a:xfrm>
            <a:off x="102626" y="109065"/>
            <a:ext cx="2519922" cy="3652162"/>
            <a:chOff x="2616200" y="463550"/>
            <a:chExt cx="4190640" cy="6459178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7011C62-A1F1-9F4B-AA23-D8695F52F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5400" y="5329238"/>
              <a:ext cx="1695090" cy="1593490"/>
            </a:xfrm>
            <a:custGeom>
              <a:avLst/>
              <a:gdLst>
                <a:gd name="connsiteX0" fmla="*/ 315913 w 1695090"/>
                <a:gd name="connsiteY0" fmla="*/ 1131887 h 1593490"/>
                <a:gd name="connsiteX1" fmla="*/ 1377590 w 1695090"/>
                <a:gd name="connsiteY1" fmla="*/ 1131887 h 1593490"/>
                <a:gd name="connsiteX2" fmla="*/ 1377590 w 1695090"/>
                <a:gd name="connsiteY2" fmla="*/ 1216208 h 1593490"/>
                <a:gd name="connsiteX3" fmla="*/ 1000425 w 1695090"/>
                <a:gd name="connsiteY3" fmla="*/ 1593490 h 1593490"/>
                <a:gd name="connsiteX4" fmla="*/ 693079 w 1695090"/>
                <a:gd name="connsiteY4" fmla="*/ 1593490 h 1593490"/>
                <a:gd name="connsiteX5" fmla="*/ 315913 w 1695090"/>
                <a:gd name="connsiteY5" fmla="*/ 1216208 h 1593490"/>
                <a:gd name="connsiteX6" fmla="*/ 145818 w 1695090"/>
                <a:gd name="connsiteY6" fmla="*/ 750887 h 1593490"/>
                <a:gd name="connsiteX7" fmla="*/ 1549272 w 1695090"/>
                <a:gd name="connsiteY7" fmla="*/ 750887 h 1593490"/>
                <a:gd name="connsiteX8" fmla="*/ 1695090 w 1695090"/>
                <a:gd name="connsiteY8" fmla="*/ 896937 h 1593490"/>
                <a:gd name="connsiteX9" fmla="*/ 1549272 w 1695090"/>
                <a:gd name="connsiteY9" fmla="*/ 1042628 h 1593490"/>
                <a:gd name="connsiteX10" fmla="*/ 145818 w 1695090"/>
                <a:gd name="connsiteY10" fmla="*/ 1042628 h 1593490"/>
                <a:gd name="connsiteX11" fmla="*/ 0 w 1695090"/>
                <a:gd name="connsiteY11" fmla="*/ 896937 h 1593490"/>
                <a:gd name="connsiteX12" fmla="*/ 145818 w 1695090"/>
                <a:gd name="connsiteY12" fmla="*/ 750887 h 1593490"/>
                <a:gd name="connsiteX13" fmla="*/ 145818 w 1695090"/>
                <a:gd name="connsiteY13" fmla="*/ 376237 h 1593490"/>
                <a:gd name="connsiteX14" fmla="*/ 1549272 w 1695090"/>
                <a:gd name="connsiteY14" fmla="*/ 376237 h 1593490"/>
                <a:gd name="connsiteX15" fmla="*/ 1695090 w 1695090"/>
                <a:gd name="connsiteY15" fmla="*/ 521747 h 1593490"/>
                <a:gd name="connsiteX16" fmla="*/ 1549272 w 1695090"/>
                <a:gd name="connsiteY16" fmla="*/ 667977 h 1593490"/>
                <a:gd name="connsiteX17" fmla="*/ 145818 w 1695090"/>
                <a:gd name="connsiteY17" fmla="*/ 667977 h 1593490"/>
                <a:gd name="connsiteX18" fmla="*/ 0 w 1695090"/>
                <a:gd name="connsiteY18" fmla="*/ 521747 h 1593490"/>
                <a:gd name="connsiteX19" fmla="*/ 145818 w 1695090"/>
                <a:gd name="connsiteY19" fmla="*/ 376237 h 1593490"/>
                <a:gd name="connsiteX20" fmla="*/ 145818 w 1695090"/>
                <a:gd name="connsiteY20" fmla="*/ 0 h 1593490"/>
                <a:gd name="connsiteX21" fmla="*/ 1549272 w 1695090"/>
                <a:gd name="connsiteY21" fmla="*/ 0 h 1593490"/>
                <a:gd name="connsiteX22" fmla="*/ 1695090 w 1695090"/>
                <a:gd name="connsiteY22" fmla="*/ 146230 h 1593490"/>
                <a:gd name="connsiteX23" fmla="*/ 1549272 w 1695090"/>
                <a:gd name="connsiteY23" fmla="*/ 291740 h 1593490"/>
                <a:gd name="connsiteX24" fmla="*/ 145818 w 1695090"/>
                <a:gd name="connsiteY24" fmla="*/ 291740 h 1593490"/>
                <a:gd name="connsiteX25" fmla="*/ 0 w 1695090"/>
                <a:gd name="connsiteY25" fmla="*/ 146230 h 1593490"/>
                <a:gd name="connsiteX26" fmla="*/ 145818 w 1695090"/>
                <a:gd name="connsiteY26" fmla="*/ 0 h 159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95090" h="1593490">
                  <a:moveTo>
                    <a:pt x="315913" y="1131887"/>
                  </a:moveTo>
                  <a:lnTo>
                    <a:pt x="1377590" y="1131887"/>
                  </a:lnTo>
                  <a:lnTo>
                    <a:pt x="1377590" y="1216208"/>
                  </a:lnTo>
                  <a:cubicBezTo>
                    <a:pt x="1377590" y="1424488"/>
                    <a:pt x="1208802" y="1593490"/>
                    <a:pt x="1000425" y="1593490"/>
                  </a:cubicBezTo>
                  <a:lnTo>
                    <a:pt x="693079" y="1593490"/>
                  </a:lnTo>
                  <a:cubicBezTo>
                    <a:pt x="484702" y="1593490"/>
                    <a:pt x="315913" y="1424488"/>
                    <a:pt x="315913" y="1216208"/>
                  </a:cubicBezTo>
                  <a:close/>
                  <a:moveTo>
                    <a:pt x="145818" y="750887"/>
                  </a:moveTo>
                  <a:lnTo>
                    <a:pt x="1549272" y="750887"/>
                  </a:lnTo>
                  <a:cubicBezTo>
                    <a:pt x="1629922" y="750887"/>
                    <a:pt x="1695090" y="816358"/>
                    <a:pt x="1695090" y="896937"/>
                  </a:cubicBezTo>
                  <a:cubicBezTo>
                    <a:pt x="1695090" y="977157"/>
                    <a:pt x="1629922" y="1042628"/>
                    <a:pt x="1549272" y="1042628"/>
                  </a:cubicBezTo>
                  <a:lnTo>
                    <a:pt x="145818" y="1042628"/>
                  </a:lnTo>
                  <a:cubicBezTo>
                    <a:pt x="65168" y="1042628"/>
                    <a:pt x="0" y="977157"/>
                    <a:pt x="0" y="896937"/>
                  </a:cubicBezTo>
                  <a:cubicBezTo>
                    <a:pt x="0" y="816358"/>
                    <a:pt x="65168" y="750887"/>
                    <a:pt x="145818" y="750887"/>
                  </a:cubicBezTo>
                  <a:close/>
                  <a:moveTo>
                    <a:pt x="145818" y="376237"/>
                  </a:moveTo>
                  <a:lnTo>
                    <a:pt x="1549272" y="376237"/>
                  </a:lnTo>
                  <a:cubicBezTo>
                    <a:pt x="1629922" y="376237"/>
                    <a:pt x="1695090" y="441428"/>
                    <a:pt x="1695090" y="521747"/>
                  </a:cubicBezTo>
                  <a:cubicBezTo>
                    <a:pt x="1695090" y="602426"/>
                    <a:pt x="1629922" y="667977"/>
                    <a:pt x="1549272" y="667977"/>
                  </a:cubicBezTo>
                  <a:lnTo>
                    <a:pt x="145818" y="667977"/>
                  </a:lnTo>
                  <a:cubicBezTo>
                    <a:pt x="65168" y="667977"/>
                    <a:pt x="0" y="602426"/>
                    <a:pt x="0" y="521747"/>
                  </a:cubicBezTo>
                  <a:cubicBezTo>
                    <a:pt x="0" y="441428"/>
                    <a:pt x="65168" y="376237"/>
                    <a:pt x="145818" y="376237"/>
                  </a:cubicBezTo>
                  <a:close/>
                  <a:moveTo>
                    <a:pt x="145818" y="0"/>
                  </a:moveTo>
                  <a:lnTo>
                    <a:pt x="1549272" y="0"/>
                  </a:lnTo>
                  <a:cubicBezTo>
                    <a:pt x="1629922" y="0"/>
                    <a:pt x="1695090" y="65552"/>
                    <a:pt x="1695090" y="146230"/>
                  </a:cubicBezTo>
                  <a:cubicBezTo>
                    <a:pt x="1695090" y="226549"/>
                    <a:pt x="1629922" y="291740"/>
                    <a:pt x="1549272" y="291740"/>
                  </a:cubicBezTo>
                  <a:lnTo>
                    <a:pt x="145818" y="291740"/>
                  </a:lnTo>
                  <a:cubicBezTo>
                    <a:pt x="65168" y="291740"/>
                    <a:pt x="0" y="226549"/>
                    <a:pt x="0" y="146230"/>
                  </a:cubicBezTo>
                  <a:cubicBezTo>
                    <a:pt x="0" y="65552"/>
                    <a:pt x="65168" y="0"/>
                    <a:pt x="145818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C99F5B7A-68BE-8F4B-A6C4-3AD2E3065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7425" y="2962275"/>
              <a:ext cx="1147763" cy="1147763"/>
            </a:xfrm>
            <a:custGeom>
              <a:avLst/>
              <a:gdLst>
                <a:gd name="T0" fmla="*/ 1595 w 3190"/>
                <a:gd name="T1" fmla="*/ 2491 h 3190"/>
                <a:gd name="T2" fmla="*/ 697 w 3190"/>
                <a:gd name="T3" fmla="*/ 1595 h 3190"/>
                <a:gd name="T4" fmla="*/ 1595 w 3190"/>
                <a:gd name="T5" fmla="*/ 698 h 3190"/>
                <a:gd name="T6" fmla="*/ 2492 w 3190"/>
                <a:gd name="T7" fmla="*/ 1595 h 3190"/>
                <a:gd name="T8" fmla="*/ 3189 w 3190"/>
                <a:gd name="T9" fmla="*/ 1795 h 3190"/>
                <a:gd name="T10" fmla="*/ 2874 w 3190"/>
                <a:gd name="T11" fmla="*/ 1396 h 3190"/>
                <a:gd name="T12" fmla="*/ 2802 w 3190"/>
                <a:gd name="T13" fmla="*/ 1128 h 3190"/>
                <a:gd name="T14" fmla="*/ 2876 w 3190"/>
                <a:gd name="T15" fmla="*/ 625 h 3190"/>
                <a:gd name="T16" fmla="*/ 2604 w 3190"/>
                <a:gd name="T17" fmla="*/ 783 h 3190"/>
                <a:gd name="T18" fmla="*/ 2565 w 3190"/>
                <a:gd name="T19" fmla="*/ 314 h 3190"/>
                <a:gd name="T20" fmla="*/ 2062 w 3190"/>
                <a:gd name="T21" fmla="*/ 388 h 3190"/>
                <a:gd name="T22" fmla="*/ 1794 w 3190"/>
                <a:gd name="T23" fmla="*/ 316 h 3190"/>
                <a:gd name="T24" fmla="*/ 1395 w 3190"/>
                <a:gd name="T25" fmla="*/ 0 h 3190"/>
                <a:gd name="T26" fmla="*/ 1395 w 3190"/>
                <a:gd name="T27" fmla="*/ 316 h 3190"/>
                <a:gd name="T28" fmla="*/ 970 w 3190"/>
                <a:gd name="T29" fmla="*/ 114 h 3190"/>
                <a:gd name="T30" fmla="*/ 782 w 3190"/>
                <a:gd name="T31" fmla="*/ 587 h 3190"/>
                <a:gd name="T32" fmla="*/ 586 w 3190"/>
                <a:gd name="T33" fmla="*/ 783 h 3190"/>
                <a:gd name="T34" fmla="*/ 114 w 3190"/>
                <a:gd name="T35" fmla="*/ 970 h 3190"/>
                <a:gd name="T36" fmla="*/ 387 w 3190"/>
                <a:gd name="T37" fmla="*/ 1128 h 3190"/>
                <a:gd name="T38" fmla="*/ 0 w 3190"/>
                <a:gd name="T39" fmla="*/ 1396 h 3190"/>
                <a:gd name="T40" fmla="*/ 316 w 3190"/>
                <a:gd name="T41" fmla="*/ 1795 h 3190"/>
                <a:gd name="T42" fmla="*/ 387 w 3190"/>
                <a:gd name="T43" fmla="*/ 2063 h 3190"/>
                <a:gd name="T44" fmla="*/ 313 w 3190"/>
                <a:gd name="T45" fmla="*/ 2564 h 3190"/>
                <a:gd name="T46" fmla="*/ 586 w 3190"/>
                <a:gd name="T47" fmla="*/ 2408 h 3190"/>
                <a:gd name="T48" fmla="*/ 624 w 3190"/>
                <a:gd name="T49" fmla="*/ 2876 h 3190"/>
                <a:gd name="T50" fmla="*/ 1128 w 3190"/>
                <a:gd name="T51" fmla="*/ 2802 h 3190"/>
                <a:gd name="T52" fmla="*/ 1395 w 3190"/>
                <a:gd name="T53" fmla="*/ 2873 h 3190"/>
                <a:gd name="T54" fmla="*/ 1794 w 3190"/>
                <a:gd name="T55" fmla="*/ 3189 h 3190"/>
                <a:gd name="T56" fmla="*/ 1794 w 3190"/>
                <a:gd name="T57" fmla="*/ 2873 h 3190"/>
                <a:gd name="T58" fmla="*/ 2220 w 3190"/>
                <a:gd name="T59" fmla="*/ 3075 h 3190"/>
                <a:gd name="T60" fmla="*/ 2407 w 3190"/>
                <a:gd name="T61" fmla="*/ 2603 h 3190"/>
                <a:gd name="T62" fmla="*/ 2604 w 3190"/>
                <a:gd name="T63" fmla="*/ 2408 h 3190"/>
                <a:gd name="T64" fmla="*/ 3075 w 3190"/>
                <a:gd name="T65" fmla="*/ 2220 h 3190"/>
                <a:gd name="T66" fmla="*/ 2802 w 3190"/>
                <a:gd name="T67" fmla="*/ 2063 h 3190"/>
                <a:gd name="T68" fmla="*/ 3189 w 3190"/>
                <a:gd name="T69" fmla="*/ 1795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90" h="3190">
                  <a:moveTo>
                    <a:pt x="1595" y="2491"/>
                  </a:moveTo>
                  <a:lnTo>
                    <a:pt x="1595" y="2491"/>
                  </a:lnTo>
                  <a:cubicBezTo>
                    <a:pt x="1099" y="2491"/>
                    <a:pt x="697" y="2091"/>
                    <a:pt x="697" y="1595"/>
                  </a:cubicBezTo>
                  <a:lnTo>
                    <a:pt x="697" y="1595"/>
                  </a:lnTo>
                  <a:cubicBezTo>
                    <a:pt x="697" y="1100"/>
                    <a:pt x="1099" y="698"/>
                    <a:pt x="1595" y="698"/>
                  </a:cubicBezTo>
                  <a:lnTo>
                    <a:pt x="1595" y="698"/>
                  </a:lnTo>
                  <a:cubicBezTo>
                    <a:pt x="2090" y="698"/>
                    <a:pt x="2492" y="1100"/>
                    <a:pt x="2492" y="1595"/>
                  </a:cubicBezTo>
                  <a:lnTo>
                    <a:pt x="2492" y="1595"/>
                  </a:lnTo>
                  <a:cubicBezTo>
                    <a:pt x="2492" y="2091"/>
                    <a:pt x="2090" y="2491"/>
                    <a:pt x="1595" y="2491"/>
                  </a:cubicBezTo>
                  <a:close/>
                  <a:moveTo>
                    <a:pt x="3189" y="1795"/>
                  </a:moveTo>
                  <a:lnTo>
                    <a:pt x="3189" y="1396"/>
                  </a:lnTo>
                  <a:lnTo>
                    <a:pt x="2874" y="1396"/>
                  </a:lnTo>
                  <a:lnTo>
                    <a:pt x="2874" y="1396"/>
                  </a:lnTo>
                  <a:cubicBezTo>
                    <a:pt x="2859" y="1303"/>
                    <a:pt x="2836" y="1213"/>
                    <a:pt x="2802" y="1128"/>
                  </a:cubicBezTo>
                  <a:lnTo>
                    <a:pt x="3075" y="971"/>
                  </a:lnTo>
                  <a:lnTo>
                    <a:pt x="2876" y="625"/>
                  </a:lnTo>
                  <a:lnTo>
                    <a:pt x="2604" y="783"/>
                  </a:lnTo>
                  <a:lnTo>
                    <a:pt x="2604" y="783"/>
                  </a:lnTo>
                  <a:cubicBezTo>
                    <a:pt x="2545" y="711"/>
                    <a:pt x="2480" y="645"/>
                    <a:pt x="2407" y="587"/>
                  </a:cubicBezTo>
                  <a:lnTo>
                    <a:pt x="2565" y="314"/>
                  </a:lnTo>
                  <a:lnTo>
                    <a:pt x="2220" y="114"/>
                  </a:lnTo>
                  <a:lnTo>
                    <a:pt x="2062" y="388"/>
                  </a:lnTo>
                  <a:lnTo>
                    <a:pt x="2062" y="388"/>
                  </a:lnTo>
                  <a:cubicBezTo>
                    <a:pt x="1977" y="355"/>
                    <a:pt x="1887" y="331"/>
                    <a:pt x="1794" y="316"/>
                  </a:cubicBezTo>
                  <a:lnTo>
                    <a:pt x="1794" y="0"/>
                  </a:lnTo>
                  <a:lnTo>
                    <a:pt x="1395" y="0"/>
                  </a:lnTo>
                  <a:lnTo>
                    <a:pt x="1395" y="316"/>
                  </a:lnTo>
                  <a:lnTo>
                    <a:pt x="1395" y="316"/>
                  </a:lnTo>
                  <a:cubicBezTo>
                    <a:pt x="1302" y="331"/>
                    <a:pt x="1213" y="355"/>
                    <a:pt x="1128" y="388"/>
                  </a:cubicBezTo>
                  <a:lnTo>
                    <a:pt x="970" y="114"/>
                  </a:lnTo>
                  <a:lnTo>
                    <a:pt x="624" y="314"/>
                  </a:lnTo>
                  <a:lnTo>
                    <a:pt x="782" y="587"/>
                  </a:lnTo>
                  <a:lnTo>
                    <a:pt x="782" y="587"/>
                  </a:lnTo>
                  <a:cubicBezTo>
                    <a:pt x="710" y="645"/>
                    <a:pt x="644" y="711"/>
                    <a:pt x="586" y="783"/>
                  </a:cubicBezTo>
                  <a:lnTo>
                    <a:pt x="313" y="625"/>
                  </a:lnTo>
                  <a:lnTo>
                    <a:pt x="114" y="970"/>
                  </a:lnTo>
                  <a:lnTo>
                    <a:pt x="387" y="1128"/>
                  </a:lnTo>
                  <a:lnTo>
                    <a:pt x="387" y="1128"/>
                  </a:lnTo>
                  <a:cubicBezTo>
                    <a:pt x="354" y="1213"/>
                    <a:pt x="330" y="1303"/>
                    <a:pt x="316" y="1396"/>
                  </a:cubicBezTo>
                  <a:lnTo>
                    <a:pt x="0" y="1396"/>
                  </a:lnTo>
                  <a:lnTo>
                    <a:pt x="0" y="1795"/>
                  </a:lnTo>
                  <a:lnTo>
                    <a:pt x="316" y="1795"/>
                  </a:lnTo>
                  <a:lnTo>
                    <a:pt x="316" y="1795"/>
                  </a:lnTo>
                  <a:cubicBezTo>
                    <a:pt x="330" y="1888"/>
                    <a:pt x="354" y="1977"/>
                    <a:pt x="387" y="2063"/>
                  </a:cubicBezTo>
                  <a:lnTo>
                    <a:pt x="114" y="2220"/>
                  </a:lnTo>
                  <a:lnTo>
                    <a:pt x="313" y="2564"/>
                  </a:lnTo>
                  <a:lnTo>
                    <a:pt x="586" y="2408"/>
                  </a:lnTo>
                  <a:lnTo>
                    <a:pt x="586" y="2408"/>
                  </a:lnTo>
                  <a:cubicBezTo>
                    <a:pt x="644" y="2479"/>
                    <a:pt x="710" y="2545"/>
                    <a:pt x="782" y="2603"/>
                  </a:cubicBezTo>
                  <a:lnTo>
                    <a:pt x="624" y="2876"/>
                  </a:lnTo>
                  <a:lnTo>
                    <a:pt x="970" y="3075"/>
                  </a:lnTo>
                  <a:lnTo>
                    <a:pt x="1128" y="2802"/>
                  </a:lnTo>
                  <a:lnTo>
                    <a:pt x="1128" y="2802"/>
                  </a:lnTo>
                  <a:cubicBezTo>
                    <a:pt x="1213" y="2835"/>
                    <a:pt x="1302" y="2859"/>
                    <a:pt x="1395" y="2873"/>
                  </a:cubicBezTo>
                  <a:lnTo>
                    <a:pt x="1395" y="3189"/>
                  </a:lnTo>
                  <a:lnTo>
                    <a:pt x="1794" y="3189"/>
                  </a:lnTo>
                  <a:lnTo>
                    <a:pt x="1794" y="2873"/>
                  </a:lnTo>
                  <a:lnTo>
                    <a:pt x="1794" y="2873"/>
                  </a:lnTo>
                  <a:cubicBezTo>
                    <a:pt x="1887" y="2859"/>
                    <a:pt x="1977" y="2835"/>
                    <a:pt x="2062" y="2802"/>
                  </a:cubicBezTo>
                  <a:lnTo>
                    <a:pt x="2220" y="3075"/>
                  </a:lnTo>
                  <a:lnTo>
                    <a:pt x="2565" y="2876"/>
                  </a:lnTo>
                  <a:lnTo>
                    <a:pt x="2407" y="2603"/>
                  </a:lnTo>
                  <a:lnTo>
                    <a:pt x="2407" y="2603"/>
                  </a:lnTo>
                  <a:cubicBezTo>
                    <a:pt x="2480" y="2545"/>
                    <a:pt x="2545" y="2479"/>
                    <a:pt x="2604" y="2408"/>
                  </a:cubicBezTo>
                  <a:lnTo>
                    <a:pt x="2876" y="2564"/>
                  </a:lnTo>
                  <a:lnTo>
                    <a:pt x="3075" y="2220"/>
                  </a:lnTo>
                  <a:lnTo>
                    <a:pt x="2802" y="2063"/>
                  </a:lnTo>
                  <a:lnTo>
                    <a:pt x="2802" y="2063"/>
                  </a:lnTo>
                  <a:cubicBezTo>
                    <a:pt x="2836" y="1977"/>
                    <a:pt x="2859" y="1888"/>
                    <a:pt x="2874" y="1795"/>
                  </a:cubicBezTo>
                  <a:lnTo>
                    <a:pt x="3189" y="17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7769FCB-D14D-D746-B806-841CE36FD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0225" y="4932363"/>
              <a:ext cx="312738" cy="312737"/>
            </a:xfrm>
            <a:custGeom>
              <a:avLst/>
              <a:gdLst>
                <a:gd name="T0" fmla="*/ 434 w 870"/>
                <a:gd name="T1" fmla="*/ 678 h 870"/>
                <a:gd name="T2" fmla="*/ 191 w 870"/>
                <a:gd name="T3" fmla="*/ 434 h 870"/>
                <a:gd name="T4" fmla="*/ 434 w 870"/>
                <a:gd name="T5" fmla="*/ 190 h 870"/>
                <a:gd name="T6" fmla="*/ 679 w 870"/>
                <a:gd name="T7" fmla="*/ 434 h 870"/>
                <a:gd name="T8" fmla="*/ 869 w 870"/>
                <a:gd name="T9" fmla="*/ 489 h 870"/>
                <a:gd name="T10" fmla="*/ 782 w 870"/>
                <a:gd name="T11" fmla="*/ 380 h 870"/>
                <a:gd name="T12" fmla="*/ 763 w 870"/>
                <a:gd name="T13" fmla="*/ 307 h 870"/>
                <a:gd name="T14" fmla="*/ 783 w 870"/>
                <a:gd name="T15" fmla="*/ 170 h 870"/>
                <a:gd name="T16" fmla="*/ 709 w 870"/>
                <a:gd name="T17" fmla="*/ 213 h 870"/>
                <a:gd name="T18" fmla="*/ 698 w 870"/>
                <a:gd name="T19" fmla="*/ 86 h 870"/>
                <a:gd name="T20" fmla="*/ 562 w 870"/>
                <a:gd name="T21" fmla="*/ 106 h 870"/>
                <a:gd name="T22" fmla="*/ 489 w 870"/>
                <a:gd name="T23" fmla="*/ 86 h 870"/>
                <a:gd name="T24" fmla="*/ 380 w 870"/>
                <a:gd name="T25" fmla="*/ 0 h 870"/>
                <a:gd name="T26" fmla="*/ 380 w 870"/>
                <a:gd name="T27" fmla="*/ 86 h 870"/>
                <a:gd name="T28" fmla="*/ 264 w 870"/>
                <a:gd name="T29" fmla="*/ 31 h 870"/>
                <a:gd name="T30" fmla="*/ 213 w 870"/>
                <a:gd name="T31" fmla="*/ 160 h 870"/>
                <a:gd name="T32" fmla="*/ 160 w 870"/>
                <a:gd name="T33" fmla="*/ 213 h 870"/>
                <a:gd name="T34" fmla="*/ 31 w 870"/>
                <a:gd name="T35" fmla="*/ 264 h 870"/>
                <a:gd name="T36" fmla="*/ 106 w 870"/>
                <a:gd name="T37" fmla="*/ 307 h 870"/>
                <a:gd name="T38" fmla="*/ 0 w 870"/>
                <a:gd name="T39" fmla="*/ 380 h 870"/>
                <a:gd name="T40" fmla="*/ 87 w 870"/>
                <a:gd name="T41" fmla="*/ 489 h 870"/>
                <a:gd name="T42" fmla="*/ 106 w 870"/>
                <a:gd name="T43" fmla="*/ 562 h 870"/>
                <a:gd name="T44" fmla="*/ 86 w 870"/>
                <a:gd name="T45" fmla="*/ 698 h 870"/>
                <a:gd name="T46" fmla="*/ 160 w 870"/>
                <a:gd name="T47" fmla="*/ 655 h 870"/>
                <a:gd name="T48" fmla="*/ 171 w 870"/>
                <a:gd name="T49" fmla="*/ 784 h 870"/>
                <a:gd name="T50" fmla="*/ 307 w 870"/>
                <a:gd name="T51" fmla="*/ 763 h 870"/>
                <a:gd name="T52" fmla="*/ 380 w 870"/>
                <a:gd name="T53" fmla="*/ 782 h 870"/>
                <a:gd name="T54" fmla="*/ 489 w 870"/>
                <a:gd name="T55" fmla="*/ 869 h 870"/>
                <a:gd name="T56" fmla="*/ 489 w 870"/>
                <a:gd name="T57" fmla="*/ 782 h 870"/>
                <a:gd name="T58" fmla="*/ 605 w 870"/>
                <a:gd name="T59" fmla="*/ 838 h 870"/>
                <a:gd name="T60" fmla="*/ 656 w 870"/>
                <a:gd name="T61" fmla="*/ 709 h 870"/>
                <a:gd name="T62" fmla="*/ 709 w 870"/>
                <a:gd name="T63" fmla="*/ 655 h 870"/>
                <a:gd name="T64" fmla="*/ 838 w 870"/>
                <a:gd name="T65" fmla="*/ 604 h 870"/>
                <a:gd name="T66" fmla="*/ 763 w 870"/>
                <a:gd name="T67" fmla="*/ 562 h 870"/>
                <a:gd name="T68" fmla="*/ 869 w 870"/>
                <a:gd name="T69" fmla="*/ 489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870">
                  <a:moveTo>
                    <a:pt x="434" y="678"/>
                  </a:moveTo>
                  <a:lnTo>
                    <a:pt x="434" y="678"/>
                  </a:lnTo>
                  <a:cubicBezTo>
                    <a:pt x="300" y="678"/>
                    <a:pt x="191" y="569"/>
                    <a:pt x="191" y="434"/>
                  </a:cubicBezTo>
                  <a:lnTo>
                    <a:pt x="191" y="434"/>
                  </a:lnTo>
                  <a:cubicBezTo>
                    <a:pt x="191" y="300"/>
                    <a:pt x="300" y="190"/>
                    <a:pt x="434" y="190"/>
                  </a:cubicBezTo>
                  <a:lnTo>
                    <a:pt x="434" y="190"/>
                  </a:lnTo>
                  <a:cubicBezTo>
                    <a:pt x="569" y="190"/>
                    <a:pt x="679" y="300"/>
                    <a:pt x="679" y="434"/>
                  </a:cubicBezTo>
                  <a:lnTo>
                    <a:pt x="679" y="434"/>
                  </a:lnTo>
                  <a:cubicBezTo>
                    <a:pt x="679" y="569"/>
                    <a:pt x="569" y="678"/>
                    <a:pt x="434" y="678"/>
                  </a:cubicBezTo>
                  <a:close/>
                  <a:moveTo>
                    <a:pt x="869" y="489"/>
                  </a:moveTo>
                  <a:lnTo>
                    <a:pt x="869" y="380"/>
                  </a:lnTo>
                  <a:lnTo>
                    <a:pt x="782" y="380"/>
                  </a:lnTo>
                  <a:lnTo>
                    <a:pt x="782" y="380"/>
                  </a:lnTo>
                  <a:cubicBezTo>
                    <a:pt x="779" y="355"/>
                    <a:pt x="772" y="331"/>
                    <a:pt x="763" y="307"/>
                  </a:cubicBezTo>
                  <a:lnTo>
                    <a:pt x="838" y="264"/>
                  </a:lnTo>
                  <a:lnTo>
                    <a:pt x="783" y="170"/>
                  </a:lnTo>
                  <a:lnTo>
                    <a:pt x="709" y="213"/>
                  </a:lnTo>
                  <a:lnTo>
                    <a:pt x="709" y="213"/>
                  </a:lnTo>
                  <a:cubicBezTo>
                    <a:pt x="693" y="194"/>
                    <a:pt x="676" y="176"/>
                    <a:pt x="656" y="160"/>
                  </a:cubicBezTo>
                  <a:lnTo>
                    <a:pt x="698" y="86"/>
                  </a:lnTo>
                  <a:lnTo>
                    <a:pt x="605" y="31"/>
                  </a:lnTo>
                  <a:lnTo>
                    <a:pt x="562" y="106"/>
                  </a:lnTo>
                  <a:lnTo>
                    <a:pt x="562" y="106"/>
                  </a:lnTo>
                  <a:cubicBezTo>
                    <a:pt x="538" y="97"/>
                    <a:pt x="514" y="90"/>
                    <a:pt x="489" y="86"/>
                  </a:cubicBezTo>
                  <a:lnTo>
                    <a:pt x="489" y="0"/>
                  </a:lnTo>
                  <a:lnTo>
                    <a:pt x="380" y="0"/>
                  </a:lnTo>
                  <a:lnTo>
                    <a:pt x="380" y="86"/>
                  </a:lnTo>
                  <a:lnTo>
                    <a:pt x="380" y="86"/>
                  </a:lnTo>
                  <a:cubicBezTo>
                    <a:pt x="355" y="90"/>
                    <a:pt x="331" y="97"/>
                    <a:pt x="307" y="106"/>
                  </a:cubicBezTo>
                  <a:lnTo>
                    <a:pt x="264" y="31"/>
                  </a:lnTo>
                  <a:lnTo>
                    <a:pt x="171" y="86"/>
                  </a:lnTo>
                  <a:lnTo>
                    <a:pt x="213" y="160"/>
                  </a:lnTo>
                  <a:lnTo>
                    <a:pt x="213" y="160"/>
                  </a:lnTo>
                  <a:cubicBezTo>
                    <a:pt x="193" y="176"/>
                    <a:pt x="176" y="194"/>
                    <a:pt x="160" y="213"/>
                  </a:cubicBezTo>
                  <a:lnTo>
                    <a:pt x="86" y="170"/>
                  </a:lnTo>
                  <a:lnTo>
                    <a:pt x="31" y="264"/>
                  </a:lnTo>
                  <a:lnTo>
                    <a:pt x="106" y="307"/>
                  </a:lnTo>
                  <a:lnTo>
                    <a:pt x="106" y="307"/>
                  </a:lnTo>
                  <a:cubicBezTo>
                    <a:pt x="97" y="331"/>
                    <a:pt x="90" y="355"/>
                    <a:pt x="87" y="380"/>
                  </a:cubicBezTo>
                  <a:lnTo>
                    <a:pt x="0" y="380"/>
                  </a:lnTo>
                  <a:lnTo>
                    <a:pt x="0" y="489"/>
                  </a:lnTo>
                  <a:lnTo>
                    <a:pt x="87" y="489"/>
                  </a:lnTo>
                  <a:lnTo>
                    <a:pt x="87" y="489"/>
                  </a:lnTo>
                  <a:cubicBezTo>
                    <a:pt x="90" y="514"/>
                    <a:pt x="97" y="539"/>
                    <a:pt x="106" y="562"/>
                  </a:cubicBezTo>
                  <a:lnTo>
                    <a:pt x="31" y="604"/>
                  </a:lnTo>
                  <a:lnTo>
                    <a:pt x="86" y="698"/>
                  </a:lnTo>
                  <a:lnTo>
                    <a:pt x="160" y="655"/>
                  </a:lnTo>
                  <a:lnTo>
                    <a:pt x="160" y="655"/>
                  </a:lnTo>
                  <a:cubicBezTo>
                    <a:pt x="176" y="675"/>
                    <a:pt x="193" y="693"/>
                    <a:pt x="213" y="709"/>
                  </a:cubicBezTo>
                  <a:lnTo>
                    <a:pt x="171" y="784"/>
                  </a:lnTo>
                  <a:lnTo>
                    <a:pt x="264" y="838"/>
                  </a:lnTo>
                  <a:lnTo>
                    <a:pt x="307" y="763"/>
                  </a:lnTo>
                  <a:lnTo>
                    <a:pt x="307" y="763"/>
                  </a:lnTo>
                  <a:cubicBezTo>
                    <a:pt x="331" y="772"/>
                    <a:pt x="355" y="779"/>
                    <a:pt x="380" y="782"/>
                  </a:cubicBezTo>
                  <a:lnTo>
                    <a:pt x="380" y="869"/>
                  </a:lnTo>
                  <a:lnTo>
                    <a:pt x="489" y="869"/>
                  </a:lnTo>
                  <a:lnTo>
                    <a:pt x="489" y="782"/>
                  </a:lnTo>
                  <a:lnTo>
                    <a:pt x="489" y="782"/>
                  </a:lnTo>
                  <a:cubicBezTo>
                    <a:pt x="514" y="779"/>
                    <a:pt x="538" y="772"/>
                    <a:pt x="562" y="763"/>
                  </a:cubicBezTo>
                  <a:lnTo>
                    <a:pt x="605" y="838"/>
                  </a:lnTo>
                  <a:lnTo>
                    <a:pt x="698" y="784"/>
                  </a:lnTo>
                  <a:lnTo>
                    <a:pt x="656" y="709"/>
                  </a:lnTo>
                  <a:lnTo>
                    <a:pt x="656" y="709"/>
                  </a:lnTo>
                  <a:cubicBezTo>
                    <a:pt x="676" y="693"/>
                    <a:pt x="693" y="675"/>
                    <a:pt x="709" y="655"/>
                  </a:cubicBezTo>
                  <a:lnTo>
                    <a:pt x="783" y="698"/>
                  </a:lnTo>
                  <a:lnTo>
                    <a:pt x="838" y="604"/>
                  </a:lnTo>
                  <a:lnTo>
                    <a:pt x="763" y="562"/>
                  </a:lnTo>
                  <a:lnTo>
                    <a:pt x="763" y="562"/>
                  </a:lnTo>
                  <a:cubicBezTo>
                    <a:pt x="772" y="539"/>
                    <a:pt x="779" y="514"/>
                    <a:pt x="782" y="489"/>
                  </a:cubicBezTo>
                  <a:lnTo>
                    <a:pt x="869" y="48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B42315F4-A4DD-6942-AA43-A8F00A279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0425" y="3700463"/>
              <a:ext cx="280988" cy="280987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D8131E-4E43-EB4A-8C4A-39C5D3BCC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9800" y="3970338"/>
              <a:ext cx="280988" cy="280987"/>
            </a:xfrm>
            <a:custGeom>
              <a:avLst/>
              <a:gdLst>
                <a:gd name="T0" fmla="*/ 390 w 782"/>
                <a:gd name="T1" fmla="*/ 610 h 782"/>
                <a:gd name="T2" fmla="*/ 171 w 782"/>
                <a:gd name="T3" fmla="*/ 390 h 782"/>
                <a:gd name="T4" fmla="*/ 390 w 782"/>
                <a:gd name="T5" fmla="*/ 171 h 782"/>
                <a:gd name="T6" fmla="*/ 610 w 782"/>
                <a:gd name="T7" fmla="*/ 390 h 782"/>
                <a:gd name="T8" fmla="*/ 781 w 782"/>
                <a:gd name="T9" fmla="*/ 439 h 782"/>
                <a:gd name="T10" fmla="*/ 703 w 782"/>
                <a:gd name="T11" fmla="*/ 342 h 782"/>
                <a:gd name="T12" fmla="*/ 686 w 782"/>
                <a:gd name="T13" fmla="*/ 276 h 782"/>
                <a:gd name="T14" fmla="*/ 704 w 782"/>
                <a:gd name="T15" fmla="*/ 153 h 782"/>
                <a:gd name="T16" fmla="*/ 638 w 782"/>
                <a:gd name="T17" fmla="*/ 191 h 782"/>
                <a:gd name="T18" fmla="*/ 628 w 782"/>
                <a:gd name="T19" fmla="*/ 77 h 782"/>
                <a:gd name="T20" fmla="*/ 505 w 782"/>
                <a:gd name="T21" fmla="*/ 95 h 782"/>
                <a:gd name="T22" fmla="*/ 439 w 782"/>
                <a:gd name="T23" fmla="*/ 77 h 782"/>
                <a:gd name="T24" fmla="*/ 342 w 782"/>
                <a:gd name="T25" fmla="*/ 0 h 782"/>
                <a:gd name="T26" fmla="*/ 342 w 782"/>
                <a:gd name="T27" fmla="*/ 77 h 782"/>
                <a:gd name="T28" fmla="*/ 238 w 782"/>
                <a:gd name="T29" fmla="*/ 28 h 782"/>
                <a:gd name="T30" fmla="*/ 191 w 782"/>
                <a:gd name="T31" fmla="*/ 144 h 782"/>
                <a:gd name="T32" fmla="*/ 144 w 782"/>
                <a:gd name="T33" fmla="*/ 191 h 782"/>
                <a:gd name="T34" fmla="*/ 28 w 782"/>
                <a:gd name="T35" fmla="*/ 238 h 782"/>
                <a:gd name="T36" fmla="*/ 95 w 782"/>
                <a:gd name="T37" fmla="*/ 276 h 782"/>
                <a:gd name="T38" fmla="*/ 0 w 782"/>
                <a:gd name="T39" fmla="*/ 342 h 782"/>
                <a:gd name="T40" fmla="*/ 77 w 782"/>
                <a:gd name="T41" fmla="*/ 439 h 782"/>
                <a:gd name="T42" fmla="*/ 95 w 782"/>
                <a:gd name="T43" fmla="*/ 505 h 782"/>
                <a:gd name="T44" fmla="*/ 77 w 782"/>
                <a:gd name="T45" fmla="*/ 628 h 782"/>
                <a:gd name="T46" fmla="*/ 144 w 782"/>
                <a:gd name="T47" fmla="*/ 590 h 782"/>
                <a:gd name="T48" fmla="*/ 153 w 782"/>
                <a:gd name="T49" fmla="*/ 704 h 782"/>
                <a:gd name="T50" fmla="*/ 276 w 782"/>
                <a:gd name="T51" fmla="*/ 686 h 782"/>
                <a:gd name="T52" fmla="*/ 342 w 782"/>
                <a:gd name="T53" fmla="*/ 703 h 782"/>
                <a:gd name="T54" fmla="*/ 439 w 782"/>
                <a:gd name="T55" fmla="*/ 781 h 782"/>
                <a:gd name="T56" fmla="*/ 439 w 782"/>
                <a:gd name="T57" fmla="*/ 703 h 782"/>
                <a:gd name="T58" fmla="*/ 544 w 782"/>
                <a:gd name="T59" fmla="*/ 753 h 782"/>
                <a:gd name="T60" fmla="*/ 589 w 782"/>
                <a:gd name="T61" fmla="*/ 638 h 782"/>
                <a:gd name="T62" fmla="*/ 638 w 782"/>
                <a:gd name="T63" fmla="*/ 590 h 782"/>
                <a:gd name="T64" fmla="*/ 753 w 782"/>
                <a:gd name="T65" fmla="*/ 544 h 782"/>
                <a:gd name="T66" fmla="*/ 686 w 782"/>
                <a:gd name="T67" fmla="*/ 505 h 782"/>
                <a:gd name="T68" fmla="*/ 781 w 782"/>
                <a:gd name="T69" fmla="*/ 439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2">
                  <a:moveTo>
                    <a:pt x="390" y="610"/>
                  </a:moveTo>
                  <a:lnTo>
                    <a:pt x="390" y="610"/>
                  </a:lnTo>
                  <a:cubicBezTo>
                    <a:pt x="269" y="610"/>
                    <a:pt x="171" y="512"/>
                    <a:pt x="171" y="390"/>
                  </a:cubicBezTo>
                  <a:lnTo>
                    <a:pt x="171" y="390"/>
                  </a:lnTo>
                  <a:cubicBezTo>
                    <a:pt x="171" y="269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1" y="171"/>
                    <a:pt x="610" y="269"/>
                    <a:pt x="610" y="390"/>
                  </a:cubicBezTo>
                  <a:lnTo>
                    <a:pt x="610" y="390"/>
                  </a:lnTo>
                  <a:cubicBezTo>
                    <a:pt x="610" y="512"/>
                    <a:pt x="511" y="610"/>
                    <a:pt x="390" y="610"/>
                  </a:cubicBezTo>
                  <a:close/>
                  <a:moveTo>
                    <a:pt x="781" y="439"/>
                  </a:moveTo>
                  <a:lnTo>
                    <a:pt x="781" y="342"/>
                  </a:lnTo>
                  <a:lnTo>
                    <a:pt x="703" y="342"/>
                  </a:lnTo>
                  <a:lnTo>
                    <a:pt x="703" y="342"/>
                  </a:lnTo>
                  <a:cubicBezTo>
                    <a:pt x="700" y="319"/>
                    <a:pt x="694" y="297"/>
                    <a:pt x="686" y="276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1"/>
                  </a:lnTo>
                  <a:lnTo>
                    <a:pt x="638" y="191"/>
                  </a:lnTo>
                  <a:cubicBezTo>
                    <a:pt x="623" y="174"/>
                    <a:pt x="607" y="158"/>
                    <a:pt x="589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6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1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6"/>
                  </a:lnTo>
                  <a:lnTo>
                    <a:pt x="95" y="276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9"/>
                  </a:lnTo>
                  <a:lnTo>
                    <a:pt x="77" y="439"/>
                  </a:lnTo>
                  <a:lnTo>
                    <a:pt x="77" y="439"/>
                  </a:lnTo>
                  <a:cubicBezTo>
                    <a:pt x="81" y="462"/>
                    <a:pt x="87" y="484"/>
                    <a:pt x="95" y="505"/>
                  </a:cubicBezTo>
                  <a:lnTo>
                    <a:pt x="28" y="544"/>
                  </a:lnTo>
                  <a:lnTo>
                    <a:pt x="77" y="628"/>
                  </a:lnTo>
                  <a:lnTo>
                    <a:pt x="144" y="590"/>
                  </a:lnTo>
                  <a:lnTo>
                    <a:pt x="144" y="590"/>
                  </a:lnTo>
                  <a:cubicBezTo>
                    <a:pt x="158" y="607"/>
                    <a:pt x="174" y="623"/>
                    <a:pt x="191" y="638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6" y="686"/>
                  </a:lnTo>
                  <a:lnTo>
                    <a:pt x="276" y="686"/>
                  </a:lnTo>
                  <a:cubicBezTo>
                    <a:pt x="297" y="694"/>
                    <a:pt x="319" y="700"/>
                    <a:pt x="342" y="703"/>
                  </a:cubicBezTo>
                  <a:lnTo>
                    <a:pt x="342" y="781"/>
                  </a:lnTo>
                  <a:lnTo>
                    <a:pt x="439" y="781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700"/>
                    <a:pt x="484" y="694"/>
                    <a:pt x="505" y="686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89" y="638"/>
                  </a:lnTo>
                  <a:lnTo>
                    <a:pt x="589" y="638"/>
                  </a:lnTo>
                  <a:cubicBezTo>
                    <a:pt x="607" y="623"/>
                    <a:pt x="623" y="607"/>
                    <a:pt x="638" y="590"/>
                  </a:cubicBezTo>
                  <a:lnTo>
                    <a:pt x="704" y="628"/>
                  </a:lnTo>
                  <a:lnTo>
                    <a:pt x="753" y="544"/>
                  </a:lnTo>
                  <a:lnTo>
                    <a:pt x="686" y="505"/>
                  </a:lnTo>
                  <a:lnTo>
                    <a:pt x="686" y="505"/>
                  </a:lnTo>
                  <a:cubicBezTo>
                    <a:pt x="694" y="484"/>
                    <a:pt x="700" y="462"/>
                    <a:pt x="703" y="439"/>
                  </a:cubicBezTo>
                  <a:lnTo>
                    <a:pt x="781" y="43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B8C9C7A-A148-B54F-8539-10E12B52A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839788"/>
              <a:ext cx="590550" cy="590550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2B386E05-DCDA-294C-A813-5637FA932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0" y="1465263"/>
              <a:ext cx="1274763" cy="1274762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7D8A5BDE-3A08-5E4F-B232-33068D6FD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538" y="1430338"/>
              <a:ext cx="447675" cy="447675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AB6D385B-9755-964D-B4B0-24580783F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463550"/>
              <a:ext cx="350837" cy="350838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31FAFC21-FC2D-304B-BD8B-781C47068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0463" y="4319588"/>
              <a:ext cx="514350" cy="515937"/>
            </a:xfrm>
            <a:custGeom>
              <a:avLst/>
              <a:gdLst>
                <a:gd name="T0" fmla="*/ 559 w 1430"/>
                <a:gd name="T1" fmla="*/ 542 h 1431"/>
                <a:gd name="T2" fmla="*/ 888 w 1430"/>
                <a:gd name="T3" fmla="*/ 559 h 1431"/>
                <a:gd name="T4" fmla="*/ 871 w 1430"/>
                <a:gd name="T5" fmla="*/ 888 h 1431"/>
                <a:gd name="T6" fmla="*/ 542 w 1430"/>
                <a:gd name="T7" fmla="*/ 871 h 1431"/>
                <a:gd name="T8" fmla="*/ 254 w 1430"/>
                <a:gd name="T9" fmla="*/ 364 h 1431"/>
                <a:gd name="T10" fmla="*/ 206 w 1430"/>
                <a:gd name="T11" fmla="*/ 437 h 1431"/>
                <a:gd name="T12" fmla="*/ 74 w 1430"/>
                <a:gd name="T13" fmla="*/ 394 h 1431"/>
                <a:gd name="T14" fmla="*/ 14 w 1430"/>
                <a:gd name="T15" fmla="*/ 578 h 1431"/>
                <a:gd name="T16" fmla="*/ 29 w 1430"/>
                <a:gd name="T17" fmla="*/ 606 h 1431"/>
                <a:gd name="T18" fmla="*/ 140 w 1430"/>
                <a:gd name="T19" fmla="*/ 642 h 1431"/>
                <a:gd name="T20" fmla="*/ 21 w 1430"/>
                <a:gd name="T21" fmla="*/ 753 h 1431"/>
                <a:gd name="T22" fmla="*/ 4 w 1430"/>
                <a:gd name="T23" fmla="*/ 778 h 1431"/>
                <a:gd name="T24" fmla="*/ 44 w 1430"/>
                <a:gd name="T25" fmla="*/ 968 h 1431"/>
                <a:gd name="T26" fmla="*/ 181 w 1430"/>
                <a:gd name="T27" fmla="*/ 939 h 1431"/>
                <a:gd name="T28" fmla="*/ 220 w 1430"/>
                <a:gd name="T29" fmla="*/ 1016 h 1431"/>
                <a:gd name="T30" fmla="*/ 117 w 1430"/>
                <a:gd name="T31" fmla="*/ 1109 h 1431"/>
                <a:gd name="T32" fmla="*/ 246 w 1430"/>
                <a:gd name="T33" fmla="*/ 1253 h 1431"/>
                <a:gd name="T34" fmla="*/ 277 w 1430"/>
                <a:gd name="T35" fmla="*/ 1254 h 1431"/>
                <a:gd name="T36" fmla="*/ 365 w 1430"/>
                <a:gd name="T37" fmla="*/ 1175 h 1431"/>
                <a:gd name="T38" fmla="*/ 400 w 1430"/>
                <a:gd name="T39" fmla="*/ 1334 h 1431"/>
                <a:gd name="T40" fmla="*/ 415 w 1430"/>
                <a:gd name="T41" fmla="*/ 1362 h 1431"/>
                <a:gd name="T42" fmla="*/ 599 w 1430"/>
                <a:gd name="T43" fmla="*/ 1422 h 1431"/>
                <a:gd name="T44" fmla="*/ 642 w 1430"/>
                <a:gd name="T45" fmla="*/ 1289 h 1431"/>
                <a:gd name="T46" fmla="*/ 728 w 1430"/>
                <a:gd name="T47" fmla="*/ 1294 h 1431"/>
                <a:gd name="T48" fmla="*/ 757 w 1430"/>
                <a:gd name="T49" fmla="*/ 1430 h 1431"/>
                <a:gd name="T50" fmla="*/ 946 w 1430"/>
                <a:gd name="T51" fmla="*/ 1389 h 1431"/>
                <a:gd name="T52" fmla="*/ 963 w 1430"/>
                <a:gd name="T53" fmla="*/ 1364 h 1431"/>
                <a:gd name="T54" fmla="*/ 939 w 1430"/>
                <a:gd name="T55" fmla="*/ 1249 h 1431"/>
                <a:gd name="T56" fmla="*/ 1094 w 1430"/>
                <a:gd name="T57" fmla="*/ 1296 h 1431"/>
                <a:gd name="T58" fmla="*/ 1125 w 1430"/>
                <a:gd name="T59" fmla="*/ 1298 h 1431"/>
                <a:gd name="T60" fmla="*/ 1269 w 1430"/>
                <a:gd name="T61" fmla="*/ 1169 h 1431"/>
                <a:gd name="T62" fmla="*/ 1176 w 1430"/>
                <a:gd name="T63" fmla="*/ 1065 h 1431"/>
                <a:gd name="T64" fmla="*/ 1223 w 1430"/>
                <a:gd name="T65" fmla="*/ 993 h 1431"/>
                <a:gd name="T66" fmla="*/ 1355 w 1430"/>
                <a:gd name="T67" fmla="*/ 1036 h 1431"/>
                <a:gd name="T68" fmla="*/ 1415 w 1430"/>
                <a:gd name="T69" fmla="*/ 851 h 1431"/>
                <a:gd name="T70" fmla="*/ 1400 w 1430"/>
                <a:gd name="T71" fmla="*/ 824 h 1431"/>
                <a:gd name="T72" fmla="*/ 1289 w 1430"/>
                <a:gd name="T73" fmla="*/ 788 h 1431"/>
                <a:gd name="T74" fmla="*/ 1408 w 1430"/>
                <a:gd name="T75" fmla="*/ 677 h 1431"/>
                <a:gd name="T76" fmla="*/ 1425 w 1430"/>
                <a:gd name="T77" fmla="*/ 651 h 1431"/>
                <a:gd name="T78" fmla="*/ 1385 w 1430"/>
                <a:gd name="T79" fmla="*/ 461 h 1431"/>
                <a:gd name="T80" fmla="*/ 1248 w 1430"/>
                <a:gd name="T81" fmla="*/ 491 h 1431"/>
                <a:gd name="T82" fmla="*/ 1209 w 1430"/>
                <a:gd name="T83" fmla="*/ 414 h 1431"/>
                <a:gd name="T84" fmla="*/ 1312 w 1430"/>
                <a:gd name="T85" fmla="*/ 320 h 1431"/>
                <a:gd name="T86" fmla="*/ 1183 w 1430"/>
                <a:gd name="T87" fmla="*/ 177 h 1431"/>
                <a:gd name="T88" fmla="*/ 1152 w 1430"/>
                <a:gd name="T89" fmla="*/ 175 h 1431"/>
                <a:gd name="T90" fmla="*/ 1065 w 1430"/>
                <a:gd name="T91" fmla="*/ 254 h 1431"/>
                <a:gd name="T92" fmla="*/ 1029 w 1430"/>
                <a:gd name="T93" fmla="*/ 96 h 1431"/>
                <a:gd name="T94" fmla="*/ 1015 w 1430"/>
                <a:gd name="T95" fmla="*/ 68 h 1431"/>
                <a:gd name="T96" fmla="*/ 830 w 1430"/>
                <a:gd name="T97" fmla="*/ 8 h 1431"/>
                <a:gd name="T98" fmla="*/ 787 w 1430"/>
                <a:gd name="T99" fmla="*/ 140 h 1431"/>
                <a:gd name="T100" fmla="*/ 701 w 1430"/>
                <a:gd name="T101" fmla="*/ 135 h 1431"/>
                <a:gd name="T102" fmla="*/ 672 w 1430"/>
                <a:gd name="T103" fmla="*/ 0 h 1431"/>
                <a:gd name="T104" fmla="*/ 483 w 1430"/>
                <a:gd name="T105" fmla="*/ 40 h 1431"/>
                <a:gd name="T106" fmla="*/ 466 w 1430"/>
                <a:gd name="T107" fmla="*/ 66 h 1431"/>
                <a:gd name="T108" fmla="*/ 491 w 1430"/>
                <a:gd name="T109" fmla="*/ 181 h 1431"/>
                <a:gd name="T110" fmla="*/ 335 w 1430"/>
                <a:gd name="T111" fmla="*/ 133 h 1431"/>
                <a:gd name="T112" fmla="*/ 304 w 1430"/>
                <a:gd name="T113" fmla="*/ 131 h 1431"/>
                <a:gd name="T114" fmla="*/ 160 w 1430"/>
                <a:gd name="T115" fmla="*/ 261 h 1431"/>
                <a:gd name="T116" fmla="*/ 254 w 1430"/>
                <a:gd name="T117" fmla="*/ 364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lnTo>
                    <a:pt x="888" y="559"/>
                  </a:lnTo>
                  <a:cubicBezTo>
                    <a:pt x="974" y="654"/>
                    <a:pt x="966" y="802"/>
                    <a:pt x="871" y="888"/>
                  </a:cubicBezTo>
                  <a:lnTo>
                    <a:pt x="871" y="888"/>
                  </a:lnTo>
                  <a:cubicBezTo>
                    <a:pt x="775" y="973"/>
                    <a:pt x="628" y="966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136B003A-A664-794E-81CE-B574F9D59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8638" y="3414713"/>
              <a:ext cx="515937" cy="515937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457CE3FA-531D-4F4C-BAF9-6C212CD71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775" y="2740025"/>
              <a:ext cx="515938" cy="515938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047DE592-BF95-9240-8463-A70C2D722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2700" y="2576513"/>
              <a:ext cx="328613" cy="32861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id="{00296884-C777-DE46-A6AB-8BE2A9595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8100" y="2076450"/>
              <a:ext cx="1184275" cy="1184275"/>
            </a:xfrm>
            <a:custGeom>
              <a:avLst/>
              <a:gdLst>
                <a:gd name="T0" fmla="*/ 1645 w 3290"/>
                <a:gd name="T1" fmla="*/ 2350 h 3291"/>
                <a:gd name="T2" fmla="*/ 1645 w 3290"/>
                <a:gd name="T3" fmla="*/ 2350 h 3291"/>
                <a:gd name="T4" fmla="*/ 940 w 3290"/>
                <a:gd name="T5" fmla="*/ 1645 h 3291"/>
                <a:gd name="T6" fmla="*/ 940 w 3290"/>
                <a:gd name="T7" fmla="*/ 1645 h 3291"/>
                <a:gd name="T8" fmla="*/ 1645 w 3290"/>
                <a:gd name="T9" fmla="*/ 940 h 3291"/>
                <a:gd name="T10" fmla="*/ 1645 w 3290"/>
                <a:gd name="T11" fmla="*/ 940 h 3291"/>
                <a:gd name="T12" fmla="*/ 2349 w 3290"/>
                <a:gd name="T13" fmla="*/ 1645 h 3291"/>
                <a:gd name="T14" fmla="*/ 2349 w 3290"/>
                <a:gd name="T15" fmla="*/ 1645 h 3291"/>
                <a:gd name="T16" fmla="*/ 1645 w 3290"/>
                <a:gd name="T17" fmla="*/ 2350 h 3291"/>
                <a:gd name="T18" fmla="*/ 3289 w 3290"/>
                <a:gd name="T19" fmla="*/ 1880 h 3291"/>
                <a:gd name="T20" fmla="*/ 3289 w 3290"/>
                <a:gd name="T21" fmla="*/ 1410 h 3291"/>
                <a:gd name="T22" fmla="*/ 2795 w 3290"/>
                <a:gd name="T23" fmla="*/ 1410 h 3291"/>
                <a:gd name="T24" fmla="*/ 2795 w 3290"/>
                <a:gd name="T25" fmla="*/ 1410 h 3291"/>
                <a:gd name="T26" fmla="*/ 2633 w 3290"/>
                <a:gd name="T27" fmla="*/ 1012 h 3291"/>
                <a:gd name="T28" fmla="*/ 2985 w 3290"/>
                <a:gd name="T29" fmla="*/ 660 h 3291"/>
                <a:gd name="T30" fmla="*/ 2652 w 3290"/>
                <a:gd name="T31" fmla="*/ 328 h 3291"/>
                <a:gd name="T32" fmla="*/ 2307 w 3290"/>
                <a:gd name="T33" fmla="*/ 675 h 3291"/>
                <a:gd name="T34" fmla="*/ 2307 w 3290"/>
                <a:gd name="T35" fmla="*/ 675 h 3291"/>
                <a:gd name="T36" fmla="*/ 1880 w 3290"/>
                <a:gd name="T37" fmla="*/ 494 h 3291"/>
                <a:gd name="T38" fmla="*/ 1880 w 3290"/>
                <a:gd name="T39" fmla="*/ 0 h 3291"/>
                <a:gd name="T40" fmla="*/ 1410 w 3290"/>
                <a:gd name="T41" fmla="*/ 0 h 3291"/>
                <a:gd name="T42" fmla="*/ 1410 w 3290"/>
                <a:gd name="T43" fmla="*/ 494 h 3291"/>
                <a:gd name="T44" fmla="*/ 1410 w 3290"/>
                <a:gd name="T45" fmla="*/ 494 h 3291"/>
                <a:gd name="T46" fmla="*/ 998 w 3290"/>
                <a:gd name="T47" fmla="*/ 666 h 3291"/>
                <a:gd name="T48" fmla="*/ 660 w 3290"/>
                <a:gd name="T49" fmla="*/ 328 h 3291"/>
                <a:gd name="T50" fmla="*/ 327 w 3290"/>
                <a:gd name="T51" fmla="*/ 660 h 3291"/>
                <a:gd name="T52" fmla="*/ 665 w 3290"/>
                <a:gd name="T53" fmla="*/ 998 h 3291"/>
                <a:gd name="T54" fmla="*/ 665 w 3290"/>
                <a:gd name="T55" fmla="*/ 998 h 3291"/>
                <a:gd name="T56" fmla="*/ 494 w 3290"/>
                <a:gd name="T57" fmla="*/ 1410 h 3291"/>
                <a:gd name="T58" fmla="*/ 0 w 3290"/>
                <a:gd name="T59" fmla="*/ 1410 h 3291"/>
                <a:gd name="T60" fmla="*/ 0 w 3290"/>
                <a:gd name="T61" fmla="*/ 1880 h 3291"/>
                <a:gd name="T62" fmla="*/ 494 w 3290"/>
                <a:gd name="T63" fmla="*/ 1880 h 3291"/>
                <a:gd name="T64" fmla="*/ 494 w 3290"/>
                <a:gd name="T65" fmla="*/ 1880 h 3291"/>
                <a:gd name="T66" fmla="*/ 675 w 3290"/>
                <a:gd name="T67" fmla="*/ 2307 h 3291"/>
                <a:gd name="T68" fmla="*/ 327 w 3290"/>
                <a:gd name="T69" fmla="*/ 2653 h 3291"/>
                <a:gd name="T70" fmla="*/ 660 w 3290"/>
                <a:gd name="T71" fmla="*/ 2986 h 3291"/>
                <a:gd name="T72" fmla="*/ 1012 w 3290"/>
                <a:gd name="T73" fmla="*/ 2634 h 3291"/>
                <a:gd name="T74" fmla="*/ 1012 w 3290"/>
                <a:gd name="T75" fmla="*/ 2634 h 3291"/>
                <a:gd name="T76" fmla="*/ 1410 w 3290"/>
                <a:gd name="T77" fmla="*/ 2796 h 3291"/>
                <a:gd name="T78" fmla="*/ 1410 w 3290"/>
                <a:gd name="T79" fmla="*/ 3290 h 3291"/>
                <a:gd name="T80" fmla="*/ 1880 w 3290"/>
                <a:gd name="T81" fmla="*/ 3290 h 3291"/>
                <a:gd name="T82" fmla="*/ 1880 w 3290"/>
                <a:gd name="T83" fmla="*/ 2796 h 3291"/>
                <a:gd name="T84" fmla="*/ 1880 w 3290"/>
                <a:gd name="T85" fmla="*/ 2796 h 3291"/>
                <a:gd name="T86" fmla="*/ 2293 w 3290"/>
                <a:gd name="T87" fmla="*/ 2625 h 3291"/>
                <a:gd name="T88" fmla="*/ 2653 w 3290"/>
                <a:gd name="T89" fmla="*/ 2986 h 3291"/>
                <a:gd name="T90" fmla="*/ 2985 w 3290"/>
                <a:gd name="T91" fmla="*/ 2653 h 3291"/>
                <a:gd name="T92" fmla="*/ 2624 w 3290"/>
                <a:gd name="T93" fmla="*/ 2292 h 3291"/>
                <a:gd name="T94" fmla="*/ 2624 w 3290"/>
                <a:gd name="T95" fmla="*/ 2292 h 3291"/>
                <a:gd name="T96" fmla="*/ 2795 w 3290"/>
                <a:gd name="T97" fmla="*/ 1880 h 3291"/>
                <a:gd name="T98" fmla="*/ 3289 w 3290"/>
                <a:gd name="T99" fmla="*/ 1880 h 3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1">
                  <a:moveTo>
                    <a:pt x="1645" y="2350"/>
                  </a:moveTo>
                  <a:lnTo>
                    <a:pt x="1645" y="2350"/>
                  </a:lnTo>
                  <a:cubicBezTo>
                    <a:pt x="1256" y="2349"/>
                    <a:pt x="941" y="2034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1"/>
                    <a:pt x="1645" y="940"/>
                  </a:cubicBezTo>
                  <a:lnTo>
                    <a:pt x="1645" y="940"/>
                  </a:lnTo>
                  <a:cubicBezTo>
                    <a:pt x="2034" y="941"/>
                    <a:pt x="2348" y="1256"/>
                    <a:pt x="2349" y="1645"/>
                  </a:cubicBezTo>
                  <a:lnTo>
                    <a:pt x="2349" y="1645"/>
                  </a:lnTo>
                  <a:cubicBezTo>
                    <a:pt x="2348" y="2035"/>
                    <a:pt x="2034" y="2349"/>
                    <a:pt x="1645" y="2350"/>
                  </a:cubicBezTo>
                  <a:close/>
                  <a:moveTo>
                    <a:pt x="3289" y="1880"/>
                  </a:moveTo>
                  <a:lnTo>
                    <a:pt x="3289" y="1410"/>
                  </a:lnTo>
                  <a:lnTo>
                    <a:pt x="2795" y="1410"/>
                  </a:lnTo>
                  <a:lnTo>
                    <a:pt x="2795" y="1410"/>
                  </a:lnTo>
                  <a:cubicBezTo>
                    <a:pt x="2766" y="1266"/>
                    <a:pt x="2710" y="1132"/>
                    <a:pt x="2633" y="1012"/>
                  </a:cubicBezTo>
                  <a:lnTo>
                    <a:pt x="2985" y="660"/>
                  </a:lnTo>
                  <a:lnTo>
                    <a:pt x="2652" y="328"/>
                  </a:lnTo>
                  <a:lnTo>
                    <a:pt x="2307" y="675"/>
                  </a:lnTo>
                  <a:lnTo>
                    <a:pt x="2307" y="675"/>
                  </a:lnTo>
                  <a:cubicBezTo>
                    <a:pt x="2180" y="588"/>
                    <a:pt x="2035" y="526"/>
                    <a:pt x="1880" y="494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4"/>
                  </a:lnTo>
                  <a:lnTo>
                    <a:pt x="1410" y="494"/>
                  </a:lnTo>
                  <a:cubicBezTo>
                    <a:pt x="1260" y="525"/>
                    <a:pt x="1121" y="584"/>
                    <a:pt x="998" y="666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4" y="1121"/>
                    <a:pt x="524" y="1261"/>
                    <a:pt x="494" y="1410"/>
                  </a:cubicBezTo>
                  <a:lnTo>
                    <a:pt x="0" y="1410"/>
                  </a:lnTo>
                  <a:lnTo>
                    <a:pt x="0" y="1880"/>
                  </a:lnTo>
                  <a:lnTo>
                    <a:pt x="494" y="1880"/>
                  </a:lnTo>
                  <a:lnTo>
                    <a:pt x="494" y="1880"/>
                  </a:lnTo>
                  <a:cubicBezTo>
                    <a:pt x="525" y="2036"/>
                    <a:pt x="588" y="2180"/>
                    <a:pt x="675" y="2307"/>
                  </a:cubicBezTo>
                  <a:lnTo>
                    <a:pt x="327" y="2653"/>
                  </a:lnTo>
                  <a:lnTo>
                    <a:pt x="660" y="2986"/>
                  </a:lnTo>
                  <a:lnTo>
                    <a:pt x="1012" y="2634"/>
                  </a:lnTo>
                  <a:lnTo>
                    <a:pt x="1012" y="2634"/>
                  </a:lnTo>
                  <a:cubicBezTo>
                    <a:pt x="1132" y="2711"/>
                    <a:pt x="1266" y="2767"/>
                    <a:pt x="1410" y="2796"/>
                  </a:cubicBezTo>
                  <a:lnTo>
                    <a:pt x="1410" y="3290"/>
                  </a:lnTo>
                  <a:lnTo>
                    <a:pt x="1880" y="3290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6"/>
                    <a:pt x="2169" y="2707"/>
                    <a:pt x="2293" y="2625"/>
                  </a:cubicBezTo>
                  <a:lnTo>
                    <a:pt x="2653" y="2986"/>
                  </a:lnTo>
                  <a:lnTo>
                    <a:pt x="2985" y="2653"/>
                  </a:lnTo>
                  <a:lnTo>
                    <a:pt x="2624" y="2292"/>
                  </a:lnTo>
                  <a:lnTo>
                    <a:pt x="2624" y="2292"/>
                  </a:lnTo>
                  <a:cubicBezTo>
                    <a:pt x="2706" y="2170"/>
                    <a:pt x="2765" y="2030"/>
                    <a:pt x="2795" y="1880"/>
                  </a:cubicBezTo>
                  <a:lnTo>
                    <a:pt x="3289" y="188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D789F398-152A-834D-B067-1B7AFD9C6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3150" y="3178175"/>
              <a:ext cx="1184275" cy="1184275"/>
            </a:xfrm>
            <a:custGeom>
              <a:avLst/>
              <a:gdLst>
                <a:gd name="T0" fmla="*/ 1645 w 3290"/>
                <a:gd name="T1" fmla="*/ 2348 h 3290"/>
                <a:gd name="T2" fmla="*/ 1645 w 3290"/>
                <a:gd name="T3" fmla="*/ 2348 h 3290"/>
                <a:gd name="T4" fmla="*/ 940 w 3290"/>
                <a:gd name="T5" fmla="*/ 1645 h 3290"/>
                <a:gd name="T6" fmla="*/ 940 w 3290"/>
                <a:gd name="T7" fmla="*/ 1645 h 3290"/>
                <a:gd name="T8" fmla="*/ 1645 w 3290"/>
                <a:gd name="T9" fmla="*/ 940 h 3290"/>
                <a:gd name="T10" fmla="*/ 1645 w 3290"/>
                <a:gd name="T11" fmla="*/ 940 h 3290"/>
                <a:gd name="T12" fmla="*/ 2350 w 3290"/>
                <a:gd name="T13" fmla="*/ 1645 h 3290"/>
                <a:gd name="T14" fmla="*/ 2350 w 3290"/>
                <a:gd name="T15" fmla="*/ 1645 h 3290"/>
                <a:gd name="T16" fmla="*/ 1645 w 3290"/>
                <a:gd name="T17" fmla="*/ 2348 h 3290"/>
                <a:gd name="T18" fmla="*/ 3289 w 3290"/>
                <a:gd name="T19" fmla="*/ 1879 h 3290"/>
                <a:gd name="T20" fmla="*/ 3289 w 3290"/>
                <a:gd name="T21" fmla="*/ 1410 h 3290"/>
                <a:gd name="T22" fmla="*/ 2796 w 3290"/>
                <a:gd name="T23" fmla="*/ 1410 h 3290"/>
                <a:gd name="T24" fmla="*/ 2796 w 3290"/>
                <a:gd name="T25" fmla="*/ 1410 h 3290"/>
                <a:gd name="T26" fmla="*/ 2634 w 3290"/>
                <a:gd name="T27" fmla="*/ 1012 h 3290"/>
                <a:gd name="T28" fmla="*/ 2986 w 3290"/>
                <a:gd name="T29" fmla="*/ 660 h 3290"/>
                <a:gd name="T30" fmla="*/ 2654 w 3290"/>
                <a:gd name="T31" fmla="*/ 328 h 3290"/>
                <a:gd name="T32" fmla="*/ 2306 w 3290"/>
                <a:gd name="T33" fmla="*/ 674 h 3290"/>
                <a:gd name="T34" fmla="*/ 2306 w 3290"/>
                <a:gd name="T35" fmla="*/ 674 h 3290"/>
                <a:gd name="T36" fmla="*/ 1880 w 3290"/>
                <a:gd name="T37" fmla="*/ 493 h 3290"/>
                <a:gd name="T38" fmla="*/ 1880 w 3290"/>
                <a:gd name="T39" fmla="*/ 0 h 3290"/>
                <a:gd name="T40" fmla="*/ 1410 w 3290"/>
                <a:gd name="T41" fmla="*/ 0 h 3290"/>
                <a:gd name="T42" fmla="*/ 1410 w 3290"/>
                <a:gd name="T43" fmla="*/ 493 h 3290"/>
                <a:gd name="T44" fmla="*/ 1410 w 3290"/>
                <a:gd name="T45" fmla="*/ 493 h 3290"/>
                <a:gd name="T46" fmla="*/ 997 w 3290"/>
                <a:gd name="T47" fmla="*/ 665 h 3290"/>
                <a:gd name="T48" fmla="*/ 660 w 3290"/>
                <a:gd name="T49" fmla="*/ 328 h 3290"/>
                <a:gd name="T50" fmla="*/ 327 w 3290"/>
                <a:gd name="T51" fmla="*/ 660 h 3290"/>
                <a:gd name="T52" fmla="*/ 665 w 3290"/>
                <a:gd name="T53" fmla="*/ 998 h 3290"/>
                <a:gd name="T54" fmla="*/ 665 w 3290"/>
                <a:gd name="T55" fmla="*/ 998 h 3290"/>
                <a:gd name="T56" fmla="*/ 493 w 3290"/>
                <a:gd name="T57" fmla="*/ 1410 h 3290"/>
                <a:gd name="T58" fmla="*/ 0 w 3290"/>
                <a:gd name="T59" fmla="*/ 1410 h 3290"/>
                <a:gd name="T60" fmla="*/ 0 w 3290"/>
                <a:gd name="T61" fmla="*/ 1879 h 3290"/>
                <a:gd name="T62" fmla="*/ 494 w 3290"/>
                <a:gd name="T63" fmla="*/ 1879 h 3290"/>
                <a:gd name="T64" fmla="*/ 494 w 3290"/>
                <a:gd name="T65" fmla="*/ 1879 h 3290"/>
                <a:gd name="T66" fmla="*/ 674 w 3290"/>
                <a:gd name="T67" fmla="*/ 2306 h 3290"/>
                <a:gd name="T68" fmla="*/ 327 w 3290"/>
                <a:gd name="T69" fmla="*/ 2653 h 3290"/>
                <a:gd name="T70" fmla="*/ 660 w 3290"/>
                <a:gd name="T71" fmla="*/ 2985 h 3290"/>
                <a:gd name="T72" fmla="*/ 1012 w 3290"/>
                <a:gd name="T73" fmla="*/ 2633 h 3290"/>
                <a:gd name="T74" fmla="*/ 1012 w 3290"/>
                <a:gd name="T75" fmla="*/ 2633 h 3290"/>
                <a:gd name="T76" fmla="*/ 1410 w 3290"/>
                <a:gd name="T77" fmla="*/ 2796 h 3290"/>
                <a:gd name="T78" fmla="*/ 1410 w 3290"/>
                <a:gd name="T79" fmla="*/ 3289 h 3290"/>
                <a:gd name="T80" fmla="*/ 1880 w 3290"/>
                <a:gd name="T81" fmla="*/ 3289 h 3290"/>
                <a:gd name="T82" fmla="*/ 1880 w 3290"/>
                <a:gd name="T83" fmla="*/ 2796 h 3290"/>
                <a:gd name="T84" fmla="*/ 1880 w 3290"/>
                <a:gd name="T85" fmla="*/ 2796 h 3290"/>
                <a:gd name="T86" fmla="*/ 2292 w 3290"/>
                <a:gd name="T87" fmla="*/ 2624 h 3290"/>
                <a:gd name="T88" fmla="*/ 2654 w 3290"/>
                <a:gd name="T89" fmla="*/ 2985 h 3290"/>
                <a:gd name="T90" fmla="*/ 2986 w 3290"/>
                <a:gd name="T91" fmla="*/ 2653 h 3290"/>
                <a:gd name="T92" fmla="*/ 2625 w 3290"/>
                <a:gd name="T93" fmla="*/ 2292 h 3290"/>
                <a:gd name="T94" fmla="*/ 2625 w 3290"/>
                <a:gd name="T95" fmla="*/ 2292 h 3290"/>
                <a:gd name="T96" fmla="*/ 2796 w 3290"/>
                <a:gd name="T97" fmla="*/ 1879 h 3290"/>
                <a:gd name="T98" fmla="*/ 3289 w 3290"/>
                <a:gd name="T99" fmla="*/ 1879 h 3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0">
                  <a:moveTo>
                    <a:pt x="1645" y="2348"/>
                  </a:moveTo>
                  <a:lnTo>
                    <a:pt x="1645" y="2348"/>
                  </a:lnTo>
                  <a:cubicBezTo>
                    <a:pt x="1256" y="2348"/>
                    <a:pt x="941" y="2033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0"/>
                    <a:pt x="1645" y="940"/>
                  </a:cubicBezTo>
                  <a:lnTo>
                    <a:pt x="1645" y="940"/>
                  </a:lnTo>
                  <a:cubicBezTo>
                    <a:pt x="2034" y="940"/>
                    <a:pt x="2349" y="1256"/>
                    <a:pt x="2350" y="1645"/>
                  </a:cubicBezTo>
                  <a:lnTo>
                    <a:pt x="2350" y="1645"/>
                  </a:lnTo>
                  <a:cubicBezTo>
                    <a:pt x="2349" y="2033"/>
                    <a:pt x="2034" y="2348"/>
                    <a:pt x="1645" y="2348"/>
                  </a:cubicBezTo>
                  <a:close/>
                  <a:moveTo>
                    <a:pt x="3289" y="1879"/>
                  </a:moveTo>
                  <a:lnTo>
                    <a:pt x="3289" y="1410"/>
                  </a:lnTo>
                  <a:lnTo>
                    <a:pt x="2796" y="1410"/>
                  </a:lnTo>
                  <a:lnTo>
                    <a:pt x="2796" y="1410"/>
                  </a:lnTo>
                  <a:cubicBezTo>
                    <a:pt x="2767" y="1266"/>
                    <a:pt x="2710" y="1132"/>
                    <a:pt x="2634" y="1012"/>
                  </a:cubicBezTo>
                  <a:lnTo>
                    <a:pt x="2986" y="660"/>
                  </a:lnTo>
                  <a:lnTo>
                    <a:pt x="2654" y="328"/>
                  </a:lnTo>
                  <a:lnTo>
                    <a:pt x="2306" y="674"/>
                  </a:lnTo>
                  <a:lnTo>
                    <a:pt x="2306" y="674"/>
                  </a:lnTo>
                  <a:cubicBezTo>
                    <a:pt x="2180" y="588"/>
                    <a:pt x="2035" y="525"/>
                    <a:pt x="1880" y="493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3"/>
                  </a:lnTo>
                  <a:lnTo>
                    <a:pt x="1410" y="493"/>
                  </a:lnTo>
                  <a:cubicBezTo>
                    <a:pt x="1260" y="524"/>
                    <a:pt x="1121" y="583"/>
                    <a:pt x="997" y="665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3" y="1121"/>
                    <a:pt x="524" y="1260"/>
                    <a:pt x="493" y="1410"/>
                  </a:cubicBezTo>
                  <a:lnTo>
                    <a:pt x="0" y="1410"/>
                  </a:lnTo>
                  <a:lnTo>
                    <a:pt x="0" y="1879"/>
                  </a:lnTo>
                  <a:lnTo>
                    <a:pt x="494" y="1879"/>
                  </a:lnTo>
                  <a:lnTo>
                    <a:pt x="494" y="1879"/>
                  </a:lnTo>
                  <a:cubicBezTo>
                    <a:pt x="526" y="2034"/>
                    <a:pt x="588" y="2179"/>
                    <a:pt x="674" y="2306"/>
                  </a:cubicBezTo>
                  <a:lnTo>
                    <a:pt x="327" y="2653"/>
                  </a:lnTo>
                  <a:lnTo>
                    <a:pt x="660" y="2985"/>
                  </a:lnTo>
                  <a:lnTo>
                    <a:pt x="1012" y="2633"/>
                  </a:lnTo>
                  <a:lnTo>
                    <a:pt x="1012" y="2633"/>
                  </a:lnTo>
                  <a:cubicBezTo>
                    <a:pt x="1132" y="2709"/>
                    <a:pt x="1266" y="2766"/>
                    <a:pt x="1410" y="2796"/>
                  </a:cubicBezTo>
                  <a:lnTo>
                    <a:pt x="1410" y="3289"/>
                  </a:lnTo>
                  <a:lnTo>
                    <a:pt x="1880" y="3289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5"/>
                    <a:pt x="2169" y="2706"/>
                    <a:pt x="2292" y="2624"/>
                  </a:cubicBezTo>
                  <a:lnTo>
                    <a:pt x="2654" y="2985"/>
                  </a:lnTo>
                  <a:lnTo>
                    <a:pt x="2986" y="2653"/>
                  </a:lnTo>
                  <a:lnTo>
                    <a:pt x="2625" y="2292"/>
                  </a:lnTo>
                  <a:lnTo>
                    <a:pt x="2625" y="2292"/>
                  </a:lnTo>
                  <a:cubicBezTo>
                    <a:pt x="2706" y="2168"/>
                    <a:pt x="2766" y="2029"/>
                    <a:pt x="2796" y="1879"/>
                  </a:cubicBezTo>
                  <a:lnTo>
                    <a:pt x="3289" y="1879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62981FC2-AD6A-4248-855E-53C174480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5513" y="1287463"/>
              <a:ext cx="542925" cy="542925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3D502D8-6B29-6842-B164-635AB9B79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0400" y="739775"/>
              <a:ext cx="690563" cy="690563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BDEBDF01-7DD7-6849-87ED-FE49832AD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7288" y="2111375"/>
              <a:ext cx="403225" cy="403225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118D839D-5549-6E40-99A6-A991D3984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9238" y="508000"/>
              <a:ext cx="403225" cy="4032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8420203D-F379-2C4B-9CFC-713F0BC6E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0813" y="1828800"/>
              <a:ext cx="300037" cy="300038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E3F0FD1E-642D-CA40-9DC7-72FE5CA5F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5250" y="2673350"/>
              <a:ext cx="236538" cy="236538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A11687A1-A052-4245-8C2A-C2758314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0275" y="4972050"/>
              <a:ext cx="292100" cy="292100"/>
            </a:xfrm>
            <a:custGeom>
              <a:avLst/>
              <a:gdLst>
                <a:gd name="T0" fmla="*/ 584 w 810"/>
                <a:gd name="T1" fmla="*/ 404 h 810"/>
                <a:gd name="T2" fmla="*/ 403 w 810"/>
                <a:gd name="T3" fmla="*/ 586 h 810"/>
                <a:gd name="T4" fmla="*/ 221 w 810"/>
                <a:gd name="T5" fmla="*/ 404 h 810"/>
                <a:gd name="T6" fmla="*/ 403 w 810"/>
                <a:gd name="T7" fmla="*/ 223 h 810"/>
                <a:gd name="T8" fmla="*/ 796 w 810"/>
                <a:gd name="T9" fmla="*/ 494 h 810"/>
                <a:gd name="T10" fmla="*/ 809 w 810"/>
                <a:gd name="T11" fmla="*/ 481 h 810"/>
                <a:gd name="T12" fmla="*/ 809 w 810"/>
                <a:gd name="T13" fmla="*/ 319 h 810"/>
                <a:gd name="T14" fmla="*/ 694 w 810"/>
                <a:gd name="T15" fmla="*/ 319 h 810"/>
                <a:gd name="T16" fmla="*/ 670 w 810"/>
                <a:gd name="T17" fmla="*/ 260 h 810"/>
                <a:gd name="T18" fmla="*/ 751 w 810"/>
                <a:gd name="T19" fmla="*/ 179 h 810"/>
                <a:gd name="T20" fmla="*/ 636 w 810"/>
                <a:gd name="T21" fmla="*/ 64 h 810"/>
                <a:gd name="T22" fmla="*/ 618 w 810"/>
                <a:gd name="T23" fmla="*/ 64 h 810"/>
                <a:gd name="T24" fmla="*/ 546 w 810"/>
                <a:gd name="T25" fmla="*/ 136 h 810"/>
                <a:gd name="T26" fmla="*/ 490 w 810"/>
                <a:gd name="T27" fmla="*/ 13 h 810"/>
                <a:gd name="T28" fmla="*/ 477 w 810"/>
                <a:gd name="T29" fmla="*/ 0 h 810"/>
                <a:gd name="T30" fmla="*/ 314 w 810"/>
                <a:gd name="T31" fmla="*/ 0 h 810"/>
                <a:gd name="T32" fmla="*/ 314 w 810"/>
                <a:gd name="T33" fmla="*/ 113 h 810"/>
                <a:gd name="T34" fmla="*/ 262 w 810"/>
                <a:gd name="T35" fmla="*/ 135 h 810"/>
                <a:gd name="T36" fmla="*/ 182 w 810"/>
                <a:gd name="T37" fmla="*/ 55 h 810"/>
                <a:gd name="T38" fmla="*/ 67 w 810"/>
                <a:gd name="T39" fmla="*/ 170 h 810"/>
                <a:gd name="T40" fmla="*/ 67 w 810"/>
                <a:gd name="T41" fmla="*/ 188 h 810"/>
                <a:gd name="T42" fmla="*/ 136 w 810"/>
                <a:gd name="T43" fmla="*/ 257 h 810"/>
                <a:gd name="T44" fmla="*/ 13 w 810"/>
                <a:gd name="T45" fmla="*/ 314 h 810"/>
                <a:gd name="T46" fmla="*/ 0 w 810"/>
                <a:gd name="T47" fmla="*/ 327 h 810"/>
                <a:gd name="T48" fmla="*/ 0 w 810"/>
                <a:gd name="T49" fmla="*/ 490 h 810"/>
                <a:gd name="T50" fmla="*/ 111 w 810"/>
                <a:gd name="T51" fmla="*/ 490 h 810"/>
                <a:gd name="T52" fmla="*/ 136 w 810"/>
                <a:gd name="T53" fmla="*/ 552 h 810"/>
                <a:gd name="T54" fmla="*/ 58 w 810"/>
                <a:gd name="T55" fmla="*/ 630 h 810"/>
                <a:gd name="T56" fmla="*/ 173 w 810"/>
                <a:gd name="T57" fmla="*/ 745 h 810"/>
                <a:gd name="T58" fmla="*/ 191 w 810"/>
                <a:gd name="T59" fmla="*/ 745 h 810"/>
                <a:gd name="T60" fmla="*/ 262 w 810"/>
                <a:gd name="T61" fmla="*/ 674 h 810"/>
                <a:gd name="T62" fmla="*/ 319 w 810"/>
                <a:gd name="T63" fmla="*/ 796 h 810"/>
                <a:gd name="T64" fmla="*/ 332 w 810"/>
                <a:gd name="T65" fmla="*/ 809 h 810"/>
                <a:gd name="T66" fmla="*/ 494 w 810"/>
                <a:gd name="T67" fmla="*/ 809 h 810"/>
                <a:gd name="T68" fmla="*/ 494 w 810"/>
                <a:gd name="T69" fmla="*/ 694 h 810"/>
                <a:gd name="T70" fmla="*/ 546 w 810"/>
                <a:gd name="T71" fmla="*/ 673 h 810"/>
                <a:gd name="T72" fmla="*/ 627 w 810"/>
                <a:gd name="T73" fmla="*/ 754 h 810"/>
                <a:gd name="T74" fmla="*/ 742 w 810"/>
                <a:gd name="T75" fmla="*/ 639 h 810"/>
                <a:gd name="T76" fmla="*/ 742 w 810"/>
                <a:gd name="T77" fmla="*/ 621 h 810"/>
                <a:gd name="T78" fmla="*/ 670 w 810"/>
                <a:gd name="T79" fmla="*/ 549 h 810"/>
                <a:gd name="T80" fmla="*/ 796 w 810"/>
                <a:gd name="T81" fmla="*/ 494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10" h="810">
                  <a:moveTo>
                    <a:pt x="584" y="404"/>
                  </a:moveTo>
                  <a:lnTo>
                    <a:pt x="584" y="404"/>
                  </a:lnTo>
                  <a:cubicBezTo>
                    <a:pt x="584" y="505"/>
                    <a:pt x="502" y="586"/>
                    <a:pt x="403" y="586"/>
                  </a:cubicBezTo>
                  <a:lnTo>
                    <a:pt x="403" y="586"/>
                  </a:lnTo>
                  <a:cubicBezTo>
                    <a:pt x="302" y="586"/>
                    <a:pt x="221" y="505"/>
                    <a:pt x="221" y="404"/>
                  </a:cubicBezTo>
                  <a:lnTo>
                    <a:pt x="221" y="404"/>
                  </a:lnTo>
                  <a:cubicBezTo>
                    <a:pt x="221" y="304"/>
                    <a:pt x="302" y="223"/>
                    <a:pt x="403" y="223"/>
                  </a:cubicBezTo>
                  <a:lnTo>
                    <a:pt x="403" y="223"/>
                  </a:lnTo>
                  <a:cubicBezTo>
                    <a:pt x="502" y="223"/>
                    <a:pt x="584" y="304"/>
                    <a:pt x="584" y="404"/>
                  </a:cubicBezTo>
                  <a:close/>
                  <a:moveTo>
                    <a:pt x="796" y="494"/>
                  </a:moveTo>
                  <a:lnTo>
                    <a:pt x="809" y="494"/>
                  </a:lnTo>
                  <a:lnTo>
                    <a:pt x="809" y="481"/>
                  </a:lnTo>
                  <a:lnTo>
                    <a:pt x="809" y="332"/>
                  </a:lnTo>
                  <a:lnTo>
                    <a:pt x="809" y="319"/>
                  </a:lnTo>
                  <a:lnTo>
                    <a:pt x="796" y="319"/>
                  </a:lnTo>
                  <a:lnTo>
                    <a:pt x="694" y="319"/>
                  </a:lnTo>
                  <a:lnTo>
                    <a:pt x="694" y="319"/>
                  </a:lnTo>
                  <a:cubicBezTo>
                    <a:pt x="688" y="299"/>
                    <a:pt x="680" y="279"/>
                    <a:pt x="670" y="260"/>
                  </a:cubicBezTo>
                  <a:lnTo>
                    <a:pt x="742" y="188"/>
                  </a:lnTo>
                  <a:lnTo>
                    <a:pt x="751" y="179"/>
                  </a:lnTo>
                  <a:lnTo>
                    <a:pt x="742" y="170"/>
                  </a:lnTo>
                  <a:lnTo>
                    <a:pt x="636" y="64"/>
                  </a:lnTo>
                  <a:lnTo>
                    <a:pt x="627" y="55"/>
                  </a:lnTo>
                  <a:lnTo>
                    <a:pt x="618" y="64"/>
                  </a:lnTo>
                  <a:lnTo>
                    <a:pt x="546" y="136"/>
                  </a:lnTo>
                  <a:lnTo>
                    <a:pt x="546" y="136"/>
                  </a:lnTo>
                  <a:cubicBezTo>
                    <a:pt x="528" y="126"/>
                    <a:pt x="509" y="119"/>
                    <a:pt x="490" y="113"/>
                  </a:cubicBezTo>
                  <a:lnTo>
                    <a:pt x="490" y="13"/>
                  </a:lnTo>
                  <a:lnTo>
                    <a:pt x="490" y="0"/>
                  </a:lnTo>
                  <a:lnTo>
                    <a:pt x="477" y="0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14" y="13"/>
                  </a:lnTo>
                  <a:lnTo>
                    <a:pt x="314" y="113"/>
                  </a:lnTo>
                  <a:lnTo>
                    <a:pt x="314" y="113"/>
                  </a:lnTo>
                  <a:cubicBezTo>
                    <a:pt x="296" y="119"/>
                    <a:pt x="279" y="126"/>
                    <a:pt x="262" y="135"/>
                  </a:cubicBezTo>
                  <a:lnTo>
                    <a:pt x="191" y="64"/>
                  </a:lnTo>
                  <a:lnTo>
                    <a:pt x="182" y="55"/>
                  </a:lnTo>
                  <a:lnTo>
                    <a:pt x="173" y="64"/>
                  </a:lnTo>
                  <a:lnTo>
                    <a:pt x="67" y="170"/>
                  </a:lnTo>
                  <a:lnTo>
                    <a:pt x="58" y="179"/>
                  </a:lnTo>
                  <a:lnTo>
                    <a:pt x="67" y="188"/>
                  </a:lnTo>
                  <a:lnTo>
                    <a:pt x="136" y="257"/>
                  </a:lnTo>
                  <a:lnTo>
                    <a:pt x="136" y="257"/>
                  </a:lnTo>
                  <a:cubicBezTo>
                    <a:pt x="126" y="276"/>
                    <a:pt x="118" y="294"/>
                    <a:pt x="112" y="314"/>
                  </a:cubicBezTo>
                  <a:lnTo>
                    <a:pt x="13" y="314"/>
                  </a:lnTo>
                  <a:lnTo>
                    <a:pt x="0" y="314"/>
                  </a:lnTo>
                  <a:lnTo>
                    <a:pt x="0" y="327"/>
                  </a:lnTo>
                  <a:lnTo>
                    <a:pt x="0" y="477"/>
                  </a:lnTo>
                  <a:lnTo>
                    <a:pt x="0" y="490"/>
                  </a:lnTo>
                  <a:lnTo>
                    <a:pt x="13" y="490"/>
                  </a:lnTo>
                  <a:lnTo>
                    <a:pt x="111" y="490"/>
                  </a:lnTo>
                  <a:lnTo>
                    <a:pt x="111" y="490"/>
                  </a:lnTo>
                  <a:cubicBezTo>
                    <a:pt x="117" y="511"/>
                    <a:pt x="125" y="532"/>
                    <a:pt x="136" y="552"/>
                  </a:cubicBezTo>
                  <a:lnTo>
                    <a:pt x="67" y="621"/>
                  </a:lnTo>
                  <a:lnTo>
                    <a:pt x="58" y="630"/>
                  </a:lnTo>
                  <a:lnTo>
                    <a:pt x="67" y="639"/>
                  </a:lnTo>
                  <a:lnTo>
                    <a:pt x="173" y="745"/>
                  </a:lnTo>
                  <a:lnTo>
                    <a:pt x="182" y="754"/>
                  </a:lnTo>
                  <a:lnTo>
                    <a:pt x="191" y="745"/>
                  </a:lnTo>
                  <a:lnTo>
                    <a:pt x="262" y="674"/>
                  </a:lnTo>
                  <a:lnTo>
                    <a:pt x="262" y="674"/>
                  </a:lnTo>
                  <a:cubicBezTo>
                    <a:pt x="280" y="684"/>
                    <a:pt x="299" y="692"/>
                    <a:pt x="319" y="697"/>
                  </a:cubicBezTo>
                  <a:lnTo>
                    <a:pt x="319" y="796"/>
                  </a:lnTo>
                  <a:lnTo>
                    <a:pt x="319" y="809"/>
                  </a:lnTo>
                  <a:lnTo>
                    <a:pt x="332" y="809"/>
                  </a:lnTo>
                  <a:lnTo>
                    <a:pt x="481" y="809"/>
                  </a:lnTo>
                  <a:lnTo>
                    <a:pt x="494" y="809"/>
                  </a:lnTo>
                  <a:lnTo>
                    <a:pt x="494" y="796"/>
                  </a:lnTo>
                  <a:lnTo>
                    <a:pt x="494" y="694"/>
                  </a:lnTo>
                  <a:lnTo>
                    <a:pt x="494" y="694"/>
                  </a:lnTo>
                  <a:cubicBezTo>
                    <a:pt x="512" y="688"/>
                    <a:pt x="529" y="682"/>
                    <a:pt x="546" y="673"/>
                  </a:cubicBezTo>
                  <a:lnTo>
                    <a:pt x="618" y="745"/>
                  </a:lnTo>
                  <a:lnTo>
                    <a:pt x="627" y="754"/>
                  </a:lnTo>
                  <a:lnTo>
                    <a:pt x="636" y="745"/>
                  </a:lnTo>
                  <a:lnTo>
                    <a:pt x="742" y="639"/>
                  </a:lnTo>
                  <a:lnTo>
                    <a:pt x="751" y="630"/>
                  </a:lnTo>
                  <a:lnTo>
                    <a:pt x="742" y="621"/>
                  </a:lnTo>
                  <a:lnTo>
                    <a:pt x="670" y="549"/>
                  </a:lnTo>
                  <a:lnTo>
                    <a:pt x="670" y="549"/>
                  </a:lnTo>
                  <a:cubicBezTo>
                    <a:pt x="680" y="532"/>
                    <a:pt x="687" y="513"/>
                    <a:pt x="693" y="494"/>
                  </a:cubicBezTo>
                  <a:lnTo>
                    <a:pt x="796" y="49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8EB223F3-8A5B-6C49-92B0-C0C2ACCD6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325" y="4244975"/>
              <a:ext cx="661988" cy="661988"/>
            </a:xfrm>
            <a:custGeom>
              <a:avLst/>
              <a:gdLst>
                <a:gd name="T0" fmla="*/ 1328 w 1841"/>
                <a:gd name="T1" fmla="*/ 920 h 1841"/>
                <a:gd name="T2" fmla="*/ 915 w 1841"/>
                <a:gd name="T3" fmla="*/ 1333 h 1841"/>
                <a:gd name="T4" fmla="*/ 502 w 1841"/>
                <a:gd name="T5" fmla="*/ 920 h 1841"/>
                <a:gd name="T6" fmla="*/ 915 w 1841"/>
                <a:gd name="T7" fmla="*/ 507 h 1841"/>
                <a:gd name="T8" fmla="*/ 1810 w 1841"/>
                <a:gd name="T9" fmla="*/ 1124 h 1841"/>
                <a:gd name="T10" fmla="*/ 1840 w 1841"/>
                <a:gd name="T11" fmla="*/ 1095 h 1841"/>
                <a:gd name="T12" fmla="*/ 1840 w 1841"/>
                <a:gd name="T13" fmla="*/ 725 h 1841"/>
                <a:gd name="T14" fmla="*/ 1579 w 1841"/>
                <a:gd name="T15" fmla="*/ 725 h 1841"/>
                <a:gd name="T16" fmla="*/ 1523 w 1841"/>
                <a:gd name="T17" fmla="*/ 590 h 1841"/>
                <a:gd name="T18" fmla="*/ 1708 w 1841"/>
                <a:gd name="T19" fmla="*/ 407 h 1841"/>
                <a:gd name="T20" fmla="*/ 1446 w 1841"/>
                <a:gd name="T21" fmla="*/ 145 h 1841"/>
                <a:gd name="T22" fmla="*/ 1405 w 1841"/>
                <a:gd name="T23" fmla="*/ 145 h 1841"/>
                <a:gd name="T24" fmla="*/ 1241 w 1841"/>
                <a:gd name="T25" fmla="*/ 309 h 1841"/>
                <a:gd name="T26" fmla="*/ 1114 w 1841"/>
                <a:gd name="T27" fmla="*/ 29 h 1841"/>
                <a:gd name="T28" fmla="*/ 1085 w 1841"/>
                <a:gd name="T29" fmla="*/ 0 h 1841"/>
                <a:gd name="T30" fmla="*/ 716 w 1841"/>
                <a:gd name="T31" fmla="*/ 0 h 1841"/>
                <a:gd name="T32" fmla="*/ 716 w 1841"/>
                <a:gd name="T33" fmla="*/ 257 h 1841"/>
                <a:gd name="T34" fmla="*/ 596 w 1841"/>
                <a:gd name="T35" fmla="*/ 306 h 1841"/>
                <a:gd name="T36" fmla="*/ 414 w 1841"/>
                <a:gd name="T37" fmla="*/ 125 h 1841"/>
                <a:gd name="T38" fmla="*/ 153 w 1841"/>
                <a:gd name="T39" fmla="*/ 386 h 1841"/>
                <a:gd name="T40" fmla="*/ 153 w 1841"/>
                <a:gd name="T41" fmla="*/ 427 h 1841"/>
                <a:gd name="T42" fmla="*/ 310 w 1841"/>
                <a:gd name="T43" fmla="*/ 585 h 1841"/>
                <a:gd name="T44" fmla="*/ 30 w 1841"/>
                <a:gd name="T45" fmla="*/ 716 h 1841"/>
                <a:gd name="T46" fmla="*/ 0 w 1841"/>
                <a:gd name="T47" fmla="*/ 744 h 1841"/>
                <a:gd name="T48" fmla="*/ 0 w 1841"/>
                <a:gd name="T49" fmla="*/ 1114 h 1841"/>
                <a:gd name="T50" fmla="*/ 251 w 1841"/>
                <a:gd name="T51" fmla="*/ 1114 h 1841"/>
                <a:gd name="T52" fmla="*/ 310 w 1841"/>
                <a:gd name="T53" fmla="*/ 1255 h 1841"/>
                <a:gd name="T54" fmla="*/ 132 w 1841"/>
                <a:gd name="T55" fmla="*/ 1433 h 1841"/>
                <a:gd name="T56" fmla="*/ 394 w 1841"/>
                <a:gd name="T57" fmla="*/ 1694 h 1841"/>
                <a:gd name="T58" fmla="*/ 435 w 1841"/>
                <a:gd name="T59" fmla="*/ 1694 h 1841"/>
                <a:gd name="T60" fmla="*/ 596 w 1841"/>
                <a:gd name="T61" fmla="*/ 1533 h 1841"/>
                <a:gd name="T62" fmla="*/ 726 w 1841"/>
                <a:gd name="T63" fmla="*/ 1811 h 1841"/>
                <a:gd name="T64" fmla="*/ 755 w 1841"/>
                <a:gd name="T65" fmla="*/ 1840 h 1841"/>
                <a:gd name="T66" fmla="*/ 1124 w 1841"/>
                <a:gd name="T67" fmla="*/ 1840 h 1841"/>
                <a:gd name="T68" fmla="*/ 1124 w 1841"/>
                <a:gd name="T69" fmla="*/ 1580 h 1841"/>
                <a:gd name="T70" fmla="*/ 1241 w 1841"/>
                <a:gd name="T71" fmla="*/ 1530 h 1841"/>
                <a:gd name="T72" fmla="*/ 1426 w 1841"/>
                <a:gd name="T73" fmla="*/ 1715 h 1841"/>
                <a:gd name="T74" fmla="*/ 1687 w 1841"/>
                <a:gd name="T75" fmla="*/ 1453 h 1841"/>
                <a:gd name="T76" fmla="*/ 1687 w 1841"/>
                <a:gd name="T77" fmla="*/ 1412 h 1841"/>
                <a:gd name="T78" fmla="*/ 1523 w 1841"/>
                <a:gd name="T79" fmla="*/ 1249 h 1841"/>
                <a:gd name="T80" fmla="*/ 1810 w 1841"/>
                <a:gd name="T81" fmla="*/ 1124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41" h="1841">
                  <a:moveTo>
                    <a:pt x="1328" y="920"/>
                  </a:moveTo>
                  <a:lnTo>
                    <a:pt x="1328" y="920"/>
                  </a:lnTo>
                  <a:cubicBezTo>
                    <a:pt x="1328" y="1147"/>
                    <a:pt x="1143" y="1333"/>
                    <a:pt x="915" y="1333"/>
                  </a:cubicBezTo>
                  <a:lnTo>
                    <a:pt x="915" y="1333"/>
                  </a:lnTo>
                  <a:cubicBezTo>
                    <a:pt x="688" y="1333"/>
                    <a:pt x="502" y="1147"/>
                    <a:pt x="502" y="920"/>
                  </a:cubicBezTo>
                  <a:lnTo>
                    <a:pt x="502" y="920"/>
                  </a:lnTo>
                  <a:cubicBezTo>
                    <a:pt x="502" y="692"/>
                    <a:pt x="688" y="507"/>
                    <a:pt x="915" y="507"/>
                  </a:cubicBezTo>
                  <a:lnTo>
                    <a:pt x="915" y="507"/>
                  </a:lnTo>
                  <a:cubicBezTo>
                    <a:pt x="1143" y="507"/>
                    <a:pt x="1328" y="692"/>
                    <a:pt x="1328" y="920"/>
                  </a:cubicBezTo>
                  <a:close/>
                  <a:moveTo>
                    <a:pt x="1810" y="1124"/>
                  </a:moveTo>
                  <a:lnTo>
                    <a:pt x="1840" y="1124"/>
                  </a:lnTo>
                  <a:lnTo>
                    <a:pt x="1840" y="1095"/>
                  </a:lnTo>
                  <a:lnTo>
                    <a:pt x="1840" y="754"/>
                  </a:lnTo>
                  <a:lnTo>
                    <a:pt x="1840" y="725"/>
                  </a:lnTo>
                  <a:lnTo>
                    <a:pt x="1810" y="725"/>
                  </a:lnTo>
                  <a:lnTo>
                    <a:pt x="1579" y="725"/>
                  </a:lnTo>
                  <a:lnTo>
                    <a:pt x="1579" y="725"/>
                  </a:lnTo>
                  <a:cubicBezTo>
                    <a:pt x="1565" y="679"/>
                    <a:pt x="1547" y="633"/>
                    <a:pt x="1523" y="590"/>
                  </a:cubicBezTo>
                  <a:lnTo>
                    <a:pt x="1687" y="427"/>
                  </a:lnTo>
                  <a:lnTo>
                    <a:pt x="1708" y="407"/>
                  </a:lnTo>
                  <a:lnTo>
                    <a:pt x="1687" y="386"/>
                  </a:lnTo>
                  <a:lnTo>
                    <a:pt x="1446" y="145"/>
                  </a:lnTo>
                  <a:lnTo>
                    <a:pt x="1426" y="125"/>
                  </a:lnTo>
                  <a:lnTo>
                    <a:pt x="1405" y="145"/>
                  </a:lnTo>
                  <a:lnTo>
                    <a:pt x="1241" y="309"/>
                  </a:lnTo>
                  <a:lnTo>
                    <a:pt x="1241" y="309"/>
                  </a:lnTo>
                  <a:cubicBezTo>
                    <a:pt x="1200" y="287"/>
                    <a:pt x="1158" y="270"/>
                    <a:pt x="1114" y="257"/>
                  </a:cubicBezTo>
                  <a:lnTo>
                    <a:pt x="1114" y="29"/>
                  </a:lnTo>
                  <a:lnTo>
                    <a:pt x="1114" y="0"/>
                  </a:lnTo>
                  <a:lnTo>
                    <a:pt x="1085" y="0"/>
                  </a:lnTo>
                  <a:lnTo>
                    <a:pt x="745" y="0"/>
                  </a:lnTo>
                  <a:lnTo>
                    <a:pt x="716" y="0"/>
                  </a:lnTo>
                  <a:lnTo>
                    <a:pt x="716" y="29"/>
                  </a:lnTo>
                  <a:lnTo>
                    <a:pt x="716" y="257"/>
                  </a:lnTo>
                  <a:lnTo>
                    <a:pt x="716" y="257"/>
                  </a:lnTo>
                  <a:cubicBezTo>
                    <a:pt x="674" y="269"/>
                    <a:pt x="634" y="286"/>
                    <a:pt x="596" y="306"/>
                  </a:cubicBezTo>
                  <a:lnTo>
                    <a:pt x="435" y="145"/>
                  </a:lnTo>
                  <a:lnTo>
                    <a:pt x="414" y="125"/>
                  </a:lnTo>
                  <a:lnTo>
                    <a:pt x="394" y="145"/>
                  </a:lnTo>
                  <a:lnTo>
                    <a:pt x="153" y="386"/>
                  </a:lnTo>
                  <a:lnTo>
                    <a:pt x="132" y="407"/>
                  </a:lnTo>
                  <a:lnTo>
                    <a:pt x="153" y="427"/>
                  </a:lnTo>
                  <a:lnTo>
                    <a:pt x="310" y="585"/>
                  </a:lnTo>
                  <a:lnTo>
                    <a:pt x="310" y="585"/>
                  </a:lnTo>
                  <a:cubicBezTo>
                    <a:pt x="287" y="627"/>
                    <a:pt x="268" y="670"/>
                    <a:pt x="254" y="716"/>
                  </a:cubicBezTo>
                  <a:lnTo>
                    <a:pt x="30" y="716"/>
                  </a:lnTo>
                  <a:lnTo>
                    <a:pt x="0" y="716"/>
                  </a:lnTo>
                  <a:lnTo>
                    <a:pt x="0" y="744"/>
                  </a:lnTo>
                  <a:lnTo>
                    <a:pt x="0" y="1085"/>
                  </a:lnTo>
                  <a:lnTo>
                    <a:pt x="0" y="1114"/>
                  </a:lnTo>
                  <a:lnTo>
                    <a:pt x="30" y="1114"/>
                  </a:lnTo>
                  <a:lnTo>
                    <a:pt x="251" y="1114"/>
                  </a:lnTo>
                  <a:lnTo>
                    <a:pt x="251" y="1114"/>
                  </a:lnTo>
                  <a:cubicBezTo>
                    <a:pt x="266" y="1163"/>
                    <a:pt x="286" y="1210"/>
                    <a:pt x="310" y="1255"/>
                  </a:cubicBezTo>
                  <a:lnTo>
                    <a:pt x="153" y="1412"/>
                  </a:lnTo>
                  <a:lnTo>
                    <a:pt x="132" y="1433"/>
                  </a:lnTo>
                  <a:lnTo>
                    <a:pt x="153" y="1453"/>
                  </a:lnTo>
                  <a:lnTo>
                    <a:pt x="394" y="1694"/>
                  </a:lnTo>
                  <a:lnTo>
                    <a:pt x="414" y="1715"/>
                  </a:lnTo>
                  <a:lnTo>
                    <a:pt x="435" y="1694"/>
                  </a:lnTo>
                  <a:lnTo>
                    <a:pt x="596" y="1533"/>
                  </a:lnTo>
                  <a:lnTo>
                    <a:pt x="596" y="1533"/>
                  </a:lnTo>
                  <a:cubicBezTo>
                    <a:pt x="637" y="1555"/>
                    <a:pt x="681" y="1572"/>
                    <a:pt x="726" y="1586"/>
                  </a:cubicBezTo>
                  <a:lnTo>
                    <a:pt x="726" y="1811"/>
                  </a:lnTo>
                  <a:lnTo>
                    <a:pt x="726" y="1840"/>
                  </a:lnTo>
                  <a:lnTo>
                    <a:pt x="755" y="1840"/>
                  </a:lnTo>
                  <a:lnTo>
                    <a:pt x="1095" y="1840"/>
                  </a:lnTo>
                  <a:lnTo>
                    <a:pt x="1124" y="1840"/>
                  </a:lnTo>
                  <a:lnTo>
                    <a:pt x="1124" y="1811"/>
                  </a:lnTo>
                  <a:lnTo>
                    <a:pt x="1124" y="1580"/>
                  </a:lnTo>
                  <a:lnTo>
                    <a:pt x="1124" y="1580"/>
                  </a:lnTo>
                  <a:cubicBezTo>
                    <a:pt x="1164" y="1567"/>
                    <a:pt x="1203" y="1550"/>
                    <a:pt x="1241" y="1530"/>
                  </a:cubicBezTo>
                  <a:lnTo>
                    <a:pt x="1405" y="1694"/>
                  </a:lnTo>
                  <a:lnTo>
                    <a:pt x="1426" y="1715"/>
                  </a:lnTo>
                  <a:lnTo>
                    <a:pt x="1446" y="1694"/>
                  </a:lnTo>
                  <a:lnTo>
                    <a:pt x="1687" y="1453"/>
                  </a:lnTo>
                  <a:lnTo>
                    <a:pt x="1708" y="1433"/>
                  </a:lnTo>
                  <a:lnTo>
                    <a:pt x="1687" y="1412"/>
                  </a:lnTo>
                  <a:lnTo>
                    <a:pt x="1523" y="1249"/>
                  </a:lnTo>
                  <a:lnTo>
                    <a:pt x="1523" y="1249"/>
                  </a:lnTo>
                  <a:cubicBezTo>
                    <a:pt x="1545" y="1209"/>
                    <a:pt x="1562" y="1167"/>
                    <a:pt x="1576" y="1124"/>
                  </a:cubicBezTo>
                  <a:lnTo>
                    <a:pt x="1810" y="112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id="{0C4C60A9-47EA-ED49-BBF7-65EA5575A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4732338"/>
              <a:ext cx="330200" cy="330200"/>
            </a:xfrm>
            <a:custGeom>
              <a:avLst/>
              <a:gdLst>
                <a:gd name="T0" fmla="*/ 662 w 918"/>
                <a:gd name="T1" fmla="*/ 458 h 917"/>
                <a:gd name="T2" fmla="*/ 456 w 918"/>
                <a:gd name="T3" fmla="*/ 664 h 917"/>
                <a:gd name="T4" fmla="*/ 251 w 918"/>
                <a:gd name="T5" fmla="*/ 458 h 917"/>
                <a:gd name="T6" fmla="*/ 456 w 918"/>
                <a:gd name="T7" fmla="*/ 253 h 917"/>
                <a:gd name="T8" fmla="*/ 902 w 918"/>
                <a:gd name="T9" fmla="*/ 560 h 917"/>
                <a:gd name="T10" fmla="*/ 917 w 918"/>
                <a:gd name="T11" fmla="*/ 545 h 917"/>
                <a:gd name="T12" fmla="*/ 917 w 918"/>
                <a:gd name="T13" fmla="*/ 361 h 917"/>
                <a:gd name="T14" fmla="*/ 787 w 918"/>
                <a:gd name="T15" fmla="*/ 361 h 917"/>
                <a:gd name="T16" fmla="*/ 759 w 918"/>
                <a:gd name="T17" fmla="*/ 294 h 917"/>
                <a:gd name="T18" fmla="*/ 851 w 918"/>
                <a:gd name="T19" fmla="*/ 203 h 917"/>
                <a:gd name="T20" fmla="*/ 721 w 918"/>
                <a:gd name="T21" fmla="*/ 72 h 917"/>
                <a:gd name="T22" fmla="*/ 700 w 918"/>
                <a:gd name="T23" fmla="*/ 72 h 917"/>
                <a:gd name="T24" fmla="*/ 619 w 918"/>
                <a:gd name="T25" fmla="*/ 155 h 917"/>
                <a:gd name="T26" fmla="*/ 555 w 918"/>
                <a:gd name="T27" fmla="*/ 15 h 917"/>
                <a:gd name="T28" fmla="*/ 541 w 918"/>
                <a:gd name="T29" fmla="*/ 0 h 917"/>
                <a:gd name="T30" fmla="*/ 357 w 918"/>
                <a:gd name="T31" fmla="*/ 0 h 917"/>
                <a:gd name="T32" fmla="*/ 357 w 918"/>
                <a:gd name="T33" fmla="*/ 128 h 917"/>
                <a:gd name="T34" fmla="*/ 297 w 918"/>
                <a:gd name="T35" fmla="*/ 153 h 917"/>
                <a:gd name="T36" fmla="*/ 206 w 918"/>
                <a:gd name="T37" fmla="*/ 62 h 917"/>
                <a:gd name="T38" fmla="*/ 77 w 918"/>
                <a:gd name="T39" fmla="*/ 192 h 917"/>
                <a:gd name="T40" fmla="*/ 77 w 918"/>
                <a:gd name="T41" fmla="*/ 213 h 917"/>
                <a:gd name="T42" fmla="*/ 155 w 918"/>
                <a:gd name="T43" fmla="*/ 291 h 917"/>
                <a:gd name="T44" fmla="*/ 15 w 918"/>
                <a:gd name="T45" fmla="*/ 357 h 917"/>
                <a:gd name="T46" fmla="*/ 0 w 918"/>
                <a:gd name="T47" fmla="*/ 371 h 917"/>
                <a:gd name="T48" fmla="*/ 0 w 918"/>
                <a:gd name="T49" fmla="*/ 555 h 917"/>
                <a:gd name="T50" fmla="*/ 125 w 918"/>
                <a:gd name="T51" fmla="*/ 555 h 917"/>
                <a:gd name="T52" fmla="*/ 155 w 918"/>
                <a:gd name="T53" fmla="*/ 625 h 917"/>
                <a:gd name="T54" fmla="*/ 66 w 918"/>
                <a:gd name="T55" fmla="*/ 714 h 917"/>
                <a:gd name="T56" fmla="*/ 196 w 918"/>
                <a:gd name="T57" fmla="*/ 844 h 917"/>
                <a:gd name="T58" fmla="*/ 217 w 918"/>
                <a:gd name="T59" fmla="*/ 844 h 917"/>
                <a:gd name="T60" fmla="*/ 297 w 918"/>
                <a:gd name="T61" fmla="*/ 764 h 917"/>
                <a:gd name="T62" fmla="*/ 362 w 918"/>
                <a:gd name="T63" fmla="*/ 902 h 917"/>
                <a:gd name="T64" fmla="*/ 376 w 918"/>
                <a:gd name="T65" fmla="*/ 916 h 917"/>
                <a:gd name="T66" fmla="*/ 560 w 918"/>
                <a:gd name="T67" fmla="*/ 916 h 917"/>
                <a:gd name="T68" fmla="*/ 560 w 918"/>
                <a:gd name="T69" fmla="*/ 786 h 917"/>
                <a:gd name="T70" fmla="*/ 619 w 918"/>
                <a:gd name="T71" fmla="*/ 762 h 917"/>
                <a:gd name="T72" fmla="*/ 710 w 918"/>
                <a:gd name="T73" fmla="*/ 854 h 917"/>
                <a:gd name="T74" fmla="*/ 841 w 918"/>
                <a:gd name="T75" fmla="*/ 724 h 917"/>
                <a:gd name="T76" fmla="*/ 841 w 918"/>
                <a:gd name="T77" fmla="*/ 703 h 917"/>
                <a:gd name="T78" fmla="*/ 759 w 918"/>
                <a:gd name="T79" fmla="*/ 622 h 917"/>
                <a:gd name="T80" fmla="*/ 902 w 918"/>
                <a:gd name="T81" fmla="*/ 56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18" h="917">
                  <a:moveTo>
                    <a:pt x="662" y="458"/>
                  </a:moveTo>
                  <a:lnTo>
                    <a:pt x="662" y="458"/>
                  </a:lnTo>
                  <a:cubicBezTo>
                    <a:pt x="662" y="572"/>
                    <a:pt x="569" y="664"/>
                    <a:pt x="456" y="664"/>
                  </a:cubicBezTo>
                  <a:lnTo>
                    <a:pt x="456" y="664"/>
                  </a:lnTo>
                  <a:cubicBezTo>
                    <a:pt x="343" y="664"/>
                    <a:pt x="251" y="572"/>
                    <a:pt x="251" y="458"/>
                  </a:cubicBezTo>
                  <a:lnTo>
                    <a:pt x="251" y="458"/>
                  </a:lnTo>
                  <a:cubicBezTo>
                    <a:pt x="251" y="345"/>
                    <a:pt x="343" y="253"/>
                    <a:pt x="456" y="253"/>
                  </a:cubicBezTo>
                  <a:lnTo>
                    <a:pt x="456" y="253"/>
                  </a:lnTo>
                  <a:cubicBezTo>
                    <a:pt x="569" y="253"/>
                    <a:pt x="662" y="345"/>
                    <a:pt x="662" y="458"/>
                  </a:cubicBezTo>
                  <a:close/>
                  <a:moveTo>
                    <a:pt x="902" y="560"/>
                  </a:moveTo>
                  <a:lnTo>
                    <a:pt x="917" y="560"/>
                  </a:lnTo>
                  <a:lnTo>
                    <a:pt x="917" y="545"/>
                  </a:lnTo>
                  <a:lnTo>
                    <a:pt x="917" y="376"/>
                  </a:lnTo>
                  <a:lnTo>
                    <a:pt x="917" y="361"/>
                  </a:lnTo>
                  <a:lnTo>
                    <a:pt x="902" y="361"/>
                  </a:lnTo>
                  <a:lnTo>
                    <a:pt x="787" y="361"/>
                  </a:lnTo>
                  <a:lnTo>
                    <a:pt x="787" y="361"/>
                  </a:lnTo>
                  <a:cubicBezTo>
                    <a:pt x="780" y="338"/>
                    <a:pt x="771" y="316"/>
                    <a:pt x="759" y="294"/>
                  </a:cubicBezTo>
                  <a:lnTo>
                    <a:pt x="841" y="213"/>
                  </a:lnTo>
                  <a:lnTo>
                    <a:pt x="851" y="203"/>
                  </a:lnTo>
                  <a:lnTo>
                    <a:pt x="841" y="192"/>
                  </a:lnTo>
                  <a:lnTo>
                    <a:pt x="721" y="72"/>
                  </a:lnTo>
                  <a:lnTo>
                    <a:pt x="710" y="62"/>
                  </a:lnTo>
                  <a:lnTo>
                    <a:pt x="700" y="72"/>
                  </a:lnTo>
                  <a:lnTo>
                    <a:pt x="619" y="155"/>
                  </a:lnTo>
                  <a:lnTo>
                    <a:pt x="619" y="155"/>
                  </a:lnTo>
                  <a:cubicBezTo>
                    <a:pt x="598" y="144"/>
                    <a:pt x="577" y="135"/>
                    <a:pt x="555" y="128"/>
                  </a:cubicBezTo>
                  <a:lnTo>
                    <a:pt x="555" y="15"/>
                  </a:lnTo>
                  <a:lnTo>
                    <a:pt x="555" y="0"/>
                  </a:lnTo>
                  <a:lnTo>
                    <a:pt x="541" y="0"/>
                  </a:lnTo>
                  <a:lnTo>
                    <a:pt x="372" y="0"/>
                  </a:lnTo>
                  <a:lnTo>
                    <a:pt x="357" y="0"/>
                  </a:lnTo>
                  <a:lnTo>
                    <a:pt x="357" y="15"/>
                  </a:lnTo>
                  <a:lnTo>
                    <a:pt x="357" y="128"/>
                  </a:lnTo>
                  <a:lnTo>
                    <a:pt x="357" y="128"/>
                  </a:lnTo>
                  <a:cubicBezTo>
                    <a:pt x="336" y="135"/>
                    <a:pt x="316" y="143"/>
                    <a:pt x="297" y="153"/>
                  </a:cubicBezTo>
                  <a:lnTo>
                    <a:pt x="217" y="72"/>
                  </a:lnTo>
                  <a:lnTo>
                    <a:pt x="206" y="62"/>
                  </a:lnTo>
                  <a:lnTo>
                    <a:pt x="196" y="72"/>
                  </a:lnTo>
                  <a:lnTo>
                    <a:pt x="77" y="192"/>
                  </a:lnTo>
                  <a:lnTo>
                    <a:pt x="66" y="203"/>
                  </a:lnTo>
                  <a:lnTo>
                    <a:pt x="77" y="213"/>
                  </a:lnTo>
                  <a:lnTo>
                    <a:pt x="155" y="291"/>
                  </a:lnTo>
                  <a:lnTo>
                    <a:pt x="155" y="291"/>
                  </a:lnTo>
                  <a:cubicBezTo>
                    <a:pt x="143" y="312"/>
                    <a:pt x="134" y="334"/>
                    <a:pt x="127" y="357"/>
                  </a:cubicBezTo>
                  <a:lnTo>
                    <a:pt x="15" y="357"/>
                  </a:lnTo>
                  <a:lnTo>
                    <a:pt x="0" y="357"/>
                  </a:lnTo>
                  <a:lnTo>
                    <a:pt x="0" y="371"/>
                  </a:lnTo>
                  <a:lnTo>
                    <a:pt x="0" y="540"/>
                  </a:lnTo>
                  <a:lnTo>
                    <a:pt x="0" y="555"/>
                  </a:lnTo>
                  <a:lnTo>
                    <a:pt x="15" y="555"/>
                  </a:lnTo>
                  <a:lnTo>
                    <a:pt x="125" y="555"/>
                  </a:lnTo>
                  <a:lnTo>
                    <a:pt x="125" y="555"/>
                  </a:lnTo>
                  <a:cubicBezTo>
                    <a:pt x="132" y="579"/>
                    <a:pt x="142" y="603"/>
                    <a:pt x="155" y="625"/>
                  </a:cubicBezTo>
                  <a:lnTo>
                    <a:pt x="77" y="703"/>
                  </a:lnTo>
                  <a:lnTo>
                    <a:pt x="66" y="714"/>
                  </a:lnTo>
                  <a:lnTo>
                    <a:pt x="77" y="724"/>
                  </a:lnTo>
                  <a:lnTo>
                    <a:pt x="196" y="844"/>
                  </a:lnTo>
                  <a:lnTo>
                    <a:pt x="206" y="854"/>
                  </a:lnTo>
                  <a:lnTo>
                    <a:pt x="217" y="844"/>
                  </a:lnTo>
                  <a:lnTo>
                    <a:pt x="297" y="764"/>
                  </a:lnTo>
                  <a:lnTo>
                    <a:pt x="297" y="764"/>
                  </a:lnTo>
                  <a:cubicBezTo>
                    <a:pt x="317" y="775"/>
                    <a:pt x="339" y="783"/>
                    <a:pt x="362" y="790"/>
                  </a:cubicBezTo>
                  <a:lnTo>
                    <a:pt x="362" y="902"/>
                  </a:lnTo>
                  <a:lnTo>
                    <a:pt x="362" y="916"/>
                  </a:lnTo>
                  <a:lnTo>
                    <a:pt x="376" y="916"/>
                  </a:lnTo>
                  <a:lnTo>
                    <a:pt x="546" y="916"/>
                  </a:lnTo>
                  <a:lnTo>
                    <a:pt x="560" y="916"/>
                  </a:lnTo>
                  <a:lnTo>
                    <a:pt x="560" y="902"/>
                  </a:lnTo>
                  <a:lnTo>
                    <a:pt x="560" y="786"/>
                  </a:lnTo>
                  <a:lnTo>
                    <a:pt x="560" y="786"/>
                  </a:lnTo>
                  <a:cubicBezTo>
                    <a:pt x="580" y="780"/>
                    <a:pt x="600" y="772"/>
                    <a:pt x="619" y="762"/>
                  </a:cubicBezTo>
                  <a:lnTo>
                    <a:pt x="700" y="844"/>
                  </a:lnTo>
                  <a:lnTo>
                    <a:pt x="710" y="854"/>
                  </a:lnTo>
                  <a:lnTo>
                    <a:pt x="721" y="844"/>
                  </a:lnTo>
                  <a:lnTo>
                    <a:pt x="841" y="724"/>
                  </a:lnTo>
                  <a:lnTo>
                    <a:pt x="851" y="714"/>
                  </a:lnTo>
                  <a:lnTo>
                    <a:pt x="841" y="703"/>
                  </a:lnTo>
                  <a:lnTo>
                    <a:pt x="759" y="622"/>
                  </a:lnTo>
                  <a:lnTo>
                    <a:pt x="759" y="622"/>
                  </a:lnTo>
                  <a:cubicBezTo>
                    <a:pt x="770" y="602"/>
                    <a:pt x="779" y="581"/>
                    <a:pt x="786" y="560"/>
                  </a:cubicBezTo>
                  <a:lnTo>
                    <a:pt x="902" y="56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475A9358-6F22-EA4B-8E13-60E4CCC9E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8113" y="4943475"/>
              <a:ext cx="350837" cy="350838"/>
            </a:xfrm>
            <a:custGeom>
              <a:avLst/>
              <a:gdLst>
                <a:gd name="T0" fmla="*/ 702 w 974"/>
                <a:gd name="T1" fmla="*/ 486 h 973"/>
                <a:gd name="T2" fmla="*/ 484 w 974"/>
                <a:gd name="T3" fmla="*/ 705 h 973"/>
                <a:gd name="T4" fmla="*/ 265 w 974"/>
                <a:gd name="T5" fmla="*/ 486 h 973"/>
                <a:gd name="T6" fmla="*/ 484 w 974"/>
                <a:gd name="T7" fmla="*/ 268 h 973"/>
                <a:gd name="T8" fmla="*/ 957 w 974"/>
                <a:gd name="T9" fmla="*/ 594 h 973"/>
                <a:gd name="T10" fmla="*/ 973 w 974"/>
                <a:gd name="T11" fmla="*/ 579 h 973"/>
                <a:gd name="T12" fmla="*/ 973 w 974"/>
                <a:gd name="T13" fmla="*/ 383 h 973"/>
                <a:gd name="T14" fmla="*/ 835 w 974"/>
                <a:gd name="T15" fmla="*/ 383 h 973"/>
                <a:gd name="T16" fmla="*/ 806 w 974"/>
                <a:gd name="T17" fmla="*/ 312 h 973"/>
                <a:gd name="T18" fmla="*/ 903 w 974"/>
                <a:gd name="T19" fmla="*/ 215 h 973"/>
                <a:gd name="T20" fmla="*/ 765 w 974"/>
                <a:gd name="T21" fmla="*/ 77 h 973"/>
                <a:gd name="T22" fmla="*/ 743 w 974"/>
                <a:gd name="T23" fmla="*/ 77 h 973"/>
                <a:gd name="T24" fmla="*/ 656 w 974"/>
                <a:gd name="T25" fmla="*/ 164 h 973"/>
                <a:gd name="T26" fmla="*/ 589 w 974"/>
                <a:gd name="T27" fmla="*/ 15 h 973"/>
                <a:gd name="T28" fmla="*/ 573 w 974"/>
                <a:gd name="T29" fmla="*/ 0 h 973"/>
                <a:gd name="T30" fmla="*/ 379 w 974"/>
                <a:gd name="T31" fmla="*/ 0 h 973"/>
                <a:gd name="T32" fmla="*/ 379 w 974"/>
                <a:gd name="T33" fmla="*/ 136 h 973"/>
                <a:gd name="T34" fmla="*/ 315 w 974"/>
                <a:gd name="T35" fmla="*/ 162 h 973"/>
                <a:gd name="T36" fmla="*/ 219 w 974"/>
                <a:gd name="T37" fmla="*/ 66 h 973"/>
                <a:gd name="T38" fmla="*/ 81 w 974"/>
                <a:gd name="T39" fmla="*/ 204 h 973"/>
                <a:gd name="T40" fmla="*/ 81 w 974"/>
                <a:gd name="T41" fmla="*/ 226 h 973"/>
                <a:gd name="T42" fmla="*/ 164 w 974"/>
                <a:gd name="T43" fmla="*/ 309 h 973"/>
                <a:gd name="T44" fmla="*/ 15 w 974"/>
                <a:gd name="T45" fmla="*/ 378 h 973"/>
                <a:gd name="T46" fmla="*/ 0 w 974"/>
                <a:gd name="T47" fmla="*/ 394 h 973"/>
                <a:gd name="T48" fmla="*/ 0 w 974"/>
                <a:gd name="T49" fmla="*/ 589 h 973"/>
                <a:gd name="T50" fmla="*/ 133 w 974"/>
                <a:gd name="T51" fmla="*/ 589 h 973"/>
                <a:gd name="T52" fmla="*/ 164 w 974"/>
                <a:gd name="T53" fmla="*/ 664 h 973"/>
                <a:gd name="T54" fmla="*/ 70 w 974"/>
                <a:gd name="T55" fmla="*/ 758 h 973"/>
                <a:gd name="T56" fmla="*/ 208 w 974"/>
                <a:gd name="T57" fmla="*/ 896 h 973"/>
                <a:gd name="T58" fmla="*/ 229 w 974"/>
                <a:gd name="T59" fmla="*/ 896 h 973"/>
                <a:gd name="T60" fmla="*/ 315 w 974"/>
                <a:gd name="T61" fmla="*/ 811 h 973"/>
                <a:gd name="T62" fmla="*/ 383 w 974"/>
                <a:gd name="T63" fmla="*/ 957 h 973"/>
                <a:gd name="T64" fmla="*/ 399 w 974"/>
                <a:gd name="T65" fmla="*/ 972 h 973"/>
                <a:gd name="T66" fmla="*/ 594 w 974"/>
                <a:gd name="T67" fmla="*/ 972 h 973"/>
                <a:gd name="T68" fmla="*/ 594 w 974"/>
                <a:gd name="T69" fmla="*/ 835 h 973"/>
                <a:gd name="T70" fmla="*/ 656 w 974"/>
                <a:gd name="T71" fmla="*/ 809 h 973"/>
                <a:gd name="T72" fmla="*/ 754 w 974"/>
                <a:gd name="T73" fmla="*/ 907 h 973"/>
                <a:gd name="T74" fmla="*/ 892 w 974"/>
                <a:gd name="T75" fmla="*/ 769 h 973"/>
                <a:gd name="T76" fmla="*/ 892 w 974"/>
                <a:gd name="T77" fmla="*/ 747 h 973"/>
                <a:gd name="T78" fmla="*/ 806 w 974"/>
                <a:gd name="T79" fmla="*/ 660 h 973"/>
                <a:gd name="T80" fmla="*/ 957 w 974"/>
                <a:gd name="T81" fmla="*/ 594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4" h="973">
                  <a:moveTo>
                    <a:pt x="702" y="486"/>
                  </a:moveTo>
                  <a:lnTo>
                    <a:pt x="702" y="486"/>
                  </a:lnTo>
                  <a:cubicBezTo>
                    <a:pt x="702" y="607"/>
                    <a:pt x="604" y="705"/>
                    <a:pt x="484" y="705"/>
                  </a:cubicBezTo>
                  <a:lnTo>
                    <a:pt x="484" y="705"/>
                  </a:lnTo>
                  <a:cubicBezTo>
                    <a:pt x="363" y="705"/>
                    <a:pt x="265" y="607"/>
                    <a:pt x="265" y="486"/>
                  </a:cubicBezTo>
                  <a:lnTo>
                    <a:pt x="265" y="486"/>
                  </a:lnTo>
                  <a:cubicBezTo>
                    <a:pt x="265" y="366"/>
                    <a:pt x="363" y="268"/>
                    <a:pt x="484" y="268"/>
                  </a:cubicBezTo>
                  <a:lnTo>
                    <a:pt x="484" y="268"/>
                  </a:lnTo>
                  <a:cubicBezTo>
                    <a:pt x="604" y="268"/>
                    <a:pt x="702" y="366"/>
                    <a:pt x="702" y="486"/>
                  </a:cubicBezTo>
                  <a:close/>
                  <a:moveTo>
                    <a:pt x="957" y="594"/>
                  </a:moveTo>
                  <a:lnTo>
                    <a:pt x="973" y="594"/>
                  </a:lnTo>
                  <a:lnTo>
                    <a:pt x="973" y="579"/>
                  </a:lnTo>
                  <a:lnTo>
                    <a:pt x="973" y="399"/>
                  </a:lnTo>
                  <a:lnTo>
                    <a:pt x="973" y="383"/>
                  </a:lnTo>
                  <a:lnTo>
                    <a:pt x="957" y="383"/>
                  </a:lnTo>
                  <a:lnTo>
                    <a:pt x="835" y="383"/>
                  </a:lnTo>
                  <a:lnTo>
                    <a:pt x="835" y="383"/>
                  </a:lnTo>
                  <a:cubicBezTo>
                    <a:pt x="828" y="359"/>
                    <a:pt x="818" y="335"/>
                    <a:pt x="806" y="312"/>
                  </a:cubicBezTo>
                  <a:lnTo>
                    <a:pt x="892" y="226"/>
                  </a:lnTo>
                  <a:lnTo>
                    <a:pt x="903" y="215"/>
                  </a:lnTo>
                  <a:lnTo>
                    <a:pt x="892" y="204"/>
                  </a:lnTo>
                  <a:lnTo>
                    <a:pt x="765" y="77"/>
                  </a:lnTo>
                  <a:lnTo>
                    <a:pt x="754" y="66"/>
                  </a:lnTo>
                  <a:lnTo>
                    <a:pt x="743" y="77"/>
                  </a:lnTo>
                  <a:lnTo>
                    <a:pt x="656" y="164"/>
                  </a:lnTo>
                  <a:lnTo>
                    <a:pt x="656" y="164"/>
                  </a:lnTo>
                  <a:cubicBezTo>
                    <a:pt x="635" y="152"/>
                    <a:pt x="612" y="143"/>
                    <a:pt x="589" y="136"/>
                  </a:cubicBezTo>
                  <a:lnTo>
                    <a:pt x="589" y="15"/>
                  </a:lnTo>
                  <a:lnTo>
                    <a:pt x="589" y="0"/>
                  </a:lnTo>
                  <a:lnTo>
                    <a:pt x="573" y="0"/>
                  </a:lnTo>
                  <a:lnTo>
                    <a:pt x="394" y="0"/>
                  </a:lnTo>
                  <a:lnTo>
                    <a:pt x="379" y="0"/>
                  </a:lnTo>
                  <a:lnTo>
                    <a:pt x="379" y="15"/>
                  </a:lnTo>
                  <a:lnTo>
                    <a:pt x="379" y="136"/>
                  </a:lnTo>
                  <a:lnTo>
                    <a:pt x="379" y="136"/>
                  </a:lnTo>
                  <a:cubicBezTo>
                    <a:pt x="356" y="143"/>
                    <a:pt x="335" y="151"/>
                    <a:pt x="315" y="162"/>
                  </a:cubicBezTo>
                  <a:lnTo>
                    <a:pt x="229" y="77"/>
                  </a:lnTo>
                  <a:lnTo>
                    <a:pt x="219" y="66"/>
                  </a:lnTo>
                  <a:lnTo>
                    <a:pt x="208" y="77"/>
                  </a:lnTo>
                  <a:lnTo>
                    <a:pt x="81" y="204"/>
                  </a:lnTo>
                  <a:lnTo>
                    <a:pt x="70" y="215"/>
                  </a:lnTo>
                  <a:lnTo>
                    <a:pt x="81" y="226"/>
                  </a:lnTo>
                  <a:lnTo>
                    <a:pt x="164" y="309"/>
                  </a:lnTo>
                  <a:lnTo>
                    <a:pt x="164" y="309"/>
                  </a:lnTo>
                  <a:cubicBezTo>
                    <a:pt x="151" y="331"/>
                    <a:pt x="141" y="355"/>
                    <a:pt x="134" y="378"/>
                  </a:cubicBezTo>
                  <a:lnTo>
                    <a:pt x="15" y="378"/>
                  </a:lnTo>
                  <a:lnTo>
                    <a:pt x="0" y="378"/>
                  </a:lnTo>
                  <a:lnTo>
                    <a:pt x="0" y="394"/>
                  </a:lnTo>
                  <a:lnTo>
                    <a:pt x="0" y="574"/>
                  </a:lnTo>
                  <a:lnTo>
                    <a:pt x="0" y="589"/>
                  </a:lnTo>
                  <a:lnTo>
                    <a:pt x="15" y="589"/>
                  </a:lnTo>
                  <a:lnTo>
                    <a:pt x="133" y="589"/>
                  </a:lnTo>
                  <a:lnTo>
                    <a:pt x="133" y="589"/>
                  </a:lnTo>
                  <a:cubicBezTo>
                    <a:pt x="140" y="615"/>
                    <a:pt x="151" y="640"/>
                    <a:pt x="164" y="664"/>
                  </a:cubicBezTo>
                  <a:lnTo>
                    <a:pt x="81" y="747"/>
                  </a:lnTo>
                  <a:lnTo>
                    <a:pt x="70" y="758"/>
                  </a:lnTo>
                  <a:lnTo>
                    <a:pt x="81" y="769"/>
                  </a:lnTo>
                  <a:lnTo>
                    <a:pt x="208" y="896"/>
                  </a:lnTo>
                  <a:lnTo>
                    <a:pt x="219" y="907"/>
                  </a:lnTo>
                  <a:lnTo>
                    <a:pt x="229" y="896"/>
                  </a:lnTo>
                  <a:lnTo>
                    <a:pt x="315" y="811"/>
                  </a:lnTo>
                  <a:lnTo>
                    <a:pt x="315" y="811"/>
                  </a:lnTo>
                  <a:cubicBezTo>
                    <a:pt x="336" y="822"/>
                    <a:pt x="360" y="832"/>
                    <a:pt x="383" y="838"/>
                  </a:cubicBezTo>
                  <a:lnTo>
                    <a:pt x="383" y="957"/>
                  </a:lnTo>
                  <a:lnTo>
                    <a:pt x="383" y="972"/>
                  </a:lnTo>
                  <a:lnTo>
                    <a:pt x="399" y="972"/>
                  </a:lnTo>
                  <a:lnTo>
                    <a:pt x="579" y="972"/>
                  </a:lnTo>
                  <a:lnTo>
                    <a:pt x="594" y="972"/>
                  </a:lnTo>
                  <a:lnTo>
                    <a:pt x="594" y="957"/>
                  </a:lnTo>
                  <a:lnTo>
                    <a:pt x="594" y="835"/>
                  </a:lnTo>
                  <a:lnTo>
                    <a:pt x="594" y="835"/>
                  </a:lnTo>
                  <a:cubicBezTo>
                    <a:pt x="616" y="829"/>
                    <a:pt x="636" y="820"/>
                    <a:pt x="656" y="809"/>
                  </a:cubicBezTo>
                  <a:lnTo>
                    <a:pt x="743" y="896"/>
                  </a:lnTo>
                  <a:lnTo>
                    <a:pt x="754" y="907"/>
                  </a:lnTo>
                  <a:lnTo>
                    <a:pt x="765" y="896"/>
                  </a:lnTo>
                  <a:lnTo>
                    <a:pt x="892" y="769"/>
                  </a:lnTo>
                  <a:lnTo>
                    <a:pt x="903" y="758"/>
                  </a:lnTo>
                  <a:lnTo>
                    <a:pt x="892" y="747"/>
                  </a:lnTo>
                  <a:lnTo>
                    <a:pt x="806" y="660"/>
                  </a:lnTo>
                  <a:lnTo>
                    <a:pt x="806" y="660"/>
                  </a:lnTo>
                  <a:cubicBezTo>
                    <a:pt x="817" y="639"/>
                    <a:pt x="826" y="617"/>
                    <a:pt x="833" y="594"/>
                  </a:cubicBezTo>
                  <a:lnTo>
                    <a:pt x="957" y="5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99EA1777-AAC0-AF44-A057-3AAEB66D2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0113" y="3197225"/>
              <a:ext cx="476250" cy="476250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38C2A72-F414-4042-9302-05868FDB2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975" y="508000"/>
              <a:ext cx="1569678" cy="1569678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502172E-9D24-0D4F-BE9C-F150A9675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7825" y="1828800"/>
              <a:ext cx="1349015" cy="1349015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F482D16F-F096-BF4A-8150-5B0697E44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13" y="2792413"/>
              <a:ext cx="631465" cy="631465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B8DF2AF3-1BDE-3D45-9765-6DE97D77D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013" y="4162425"/>
              <a:ext cx="580665" cy="580665"/>
            </a:xfrm>
            <a:custGeom>
              <a:avLst/>
              <a:gdLst>
                <a:gd name="connsiteX0" fmla="*/ 284871 w 580665"/>
                <a:gd name="connsiteY0" fmla="*/ 208894 h 580665"/>
                <a:gd name="connsiteX1" fmla="*/ 371418 w 580665"/>
                <a:gd name="connsiteY1" fmla="*/ 286628 h 580665"/>
                <a:gd name="connsiteX2" fmla="*/ 294208 w 580665"/>
                <a:gd name="connsiteY2" fmla="*/ 373359 h 580665"/>
                <a:gd name="connsiteX3" fmla="*/ 207660 w 580665"/>
                <a:gd name="connsiteY3" fmla="*/ 295625 h 580665"/>
                <a:gd name="connsiteX4" fmla="*/ 284871 w 580665"/>
                <a:gd name="connsiteY4" fmla="*/ 208894 h 580665"/>
                <a:gd name="connsiteX5" fmla="*/ 281327 w 580665"/>
                <a:gd name="connsiteY5" fmla="*/ 128236 h 580665"/>
                <a:gd name="connsiteX6" fmla="*/ 128236 w 580665"/>
                <a:gd name="connsiteY6" fmla="*/ 299698 h 580665"/>
                <a:gd name="connsiteX7" fmla="*/ 299698 w 580665"/>
                <a:gd name="connsiteY7" fmla="*/ 452069 h 580665"/>
                <a:gd name="connsiteX8" fmla="*/ 452789 w 580665"/>
                <a:gd name="connsiteY8" fmla="*/ 280967 h 580665"/>
                <a:gd name="connsiteX9" fmla="*/ 281327 w 580665"/>
                <a:gd name="connsiteY9" fmla="*/ 128236 h 580665"/>
                <a:gd name="connsiteX10" fmla="*/ 310144 w 580665"/>
                <a:gd name="connsiteY10" fmla="*/ 0 h 580665"/>
                <a:gd name="connsiteX11" fmla="*/ 313386 w 580665"/>
                <a:gd name="connsiteY11" fmla="*/ 56914 h 580665"/>
                <a:gd name="connsiteX12" fmla="*/ 362375 w 580665"/>
                <a:gd name="connsiteY12" fmla="*/ 67360 h 580665"/>
                <a:gd name="connsiteX13" fmla="*/ 387951 w 580665"/>
                <a:gd name="connsiteY13" fmla="*/ 16209 h 580665"/>
                <a:gd name="connsiteX14" fmla="*/ 452789 w 580665"/>
                <a:gd name="connsiteY14" fmla="*/ 48989 h 580665"/>
                <a:gd name="connsiteX15" fmla="*/ 426854 w 580665"/>
                <a:gd name="connsiteY15" fmla="*/ 99779 h 580665"/>
                <a:gd name="connsiteX16" fmla="*/ 464316 w 580665"/>
                <a:gd name="connsiteY16" fmla="*/ 132919 h 580665"/>
                <a:gd name="connsiteX17" fmla="*/ 511864 w 580665"/>
                <a:gd name="connsiteY17" fmla="*/ 101580 h 580665"/>
                <a:gd name="connsiteX18" fmla="*/ 551488 w 580665"/>
                <a:gd name="connsiteY18" fmla="*/ 162096 h 580665"/>
                <a:gd name="connsiteX19" fmla="*/ 503939 w 580665"/>
                <a:gd name="connsiteY19" fmla="*/ 193435 h 580665"/>
                <a:gd name="connsiteX20" fmla="*/ 519429 w 580665"/>
                <a:gd name="connsiteY20" fmla="*/ 240983 h 580665"/>
                <a:gd name="connsiteX21" fmla="*/ 576703 w 580665"/>
                <a:gd name="connsiteY21" fmla="*/ 238102 h 580665"/>
                <a:gd name="connsiteX22" fmla="*/ 580665 w 580665"/>
                <a:gd name="connsiteY22" fmla="*/ 309784 h 580665"/>
                <a:gd name="connsiteX23" fmla="*/ 523391 w 580665"/>
                <a:gd name="connsiteY23" fmla="*/ 313026 h 580665"/>
                <a:gd name="connsiteX24" fmla="*/ 513665 w 580665"/>
                <a:gd name="connsiteY24" fmla="*/ 362375 h 580665"/>
                <a:gd name="connsiteX25" fmla="*/ 564455 w 580665"/>
                <a:gd name="connsiteY25" fmla="*/ 387951 h 580665"/>
                <a:gd name="connsiteX26" fmla="*/ 532036 w 580665"/>
                <a:gd name="connsiteY26" fmla="*/ 452429 h 580665"/>
                <a:gd name="connsiteX27" fmla="*/ 480886 w 580665"/>
                <a:gd name="connsiteY27" fmla="*/ 426493 h 580665"/>
                <a:gd name="connsiteX28" fmla="*/ 447386 w 580665"/>
                <a:gd name="connsiteY28" fmla="*/ 464316 h 580665"/>
                <a:gd name="connsiteX29" fmla="*/ 478724 w 580665"/>
                <a:gd name="connsiteY29" fmla="*/ 511864 h 580665"/>
                <a:gd name="connsiteX30" fmla="*/ 418569 w 580665"/>
                <a:gd name="connsiteY30" fmla="*/ 551488 h 580665"/>
                <a:gd name="connsiteX31" fmla="*/ 387230 w 580665"/>
                <a:gd name="connsiteY31" fmla="*/ 503579 h 580665"/>
                <a:gd name="connsiteX32" fmla="*/ 339322 w 580665"/>
                <a:gd name="connsiteY32" fmla="*/ 519429 h 580665"/>
                <a:gd name="connsiteX33" fmla="*/ 342924 w 580665"/>
                <a:gd name="connsiteY33" fmla="*/ 576342 h 580665"/>
                <a:gd name="connsiteX34" fmla="*/ 270521 w 580665"/>
                <a:gd name="connsiteY34" fmla="*/ 580665 h 580665"/>
                <a:gd name="connsiteX35" fmla="*/ 267639 w 580665"/>
                <a:gd name="connsiteY35" fmla="*/ 523391 h 580665"/>
                <a:gd name="connsiteX36" fmla="*/ 218290 w 580665"/>
                <a:gd name="connsiteY36" fmla="*/ 513305 h 580665"/>
                <a:gd name="connsiteX37" fmla="*/ 192714 w 580665"/>
                <a:gd name="connsiteY37" fmla="*/ 564095 h 580665"/>
                <a:gd name="connsiteX38" fmla="*/ 128236 w 580665"/>
                <a:gd name="connsiteY38" fmla="*/ 531676 h 580665"/>
                <a:gd name="connsiteX39" fmla="*/ 153811 w 580665"/>
                <a:gd name="connsiteY39" fmla="*/ 480886 h 580665"/>
                <a:gd name="connsiteX40" fmla="*/ 116349 w 580665"/>
                <a:gd name="connsiteY40" fmla="*/ 447386 h 580665"/>
                <a:gd name="connsiteX41" fmla="*/ 68801 w 580665"/>
                <a:gd name="connsiteY41" fmla="*/ 478724 h 580665"/>
                <a:gd name="connsiteX42" fmla="*/ 29177 w 580665"/>
                <a:gd name="connsiteY42" fmla="*/ 418209 h 580665"/>
                <a:gd name="connsiteX43" fmla="*/ 76725 w 580665"/>
                <a:gd name="connsiteY43" fmla="*/ 387230 h 580665"/>
                <a:gd name="connsiteX44" fmla="*/ 61596 w 580665"/>
                <a:gd name="connsiteY44" fmla="*/ 339322 h 580665"/>
                <a:gd name="connsiteX45" fmla="*/ 4322 w 580665"/>
                <a:gd name="connsiteY45" fmla="*/ 342564 h 580665"/>
                <a:gd name="connsiteX46" fmla="*/ 0 w 580665"/>
                <a:gd name="connsiteY46" fmla="*/ 270521 h 580665"/>
                <a:gd name="connsiteX47" fmla="*/ 57274 w 580665"/>
                <a:gd name="connsiteY47" fmla="*/ 267279 h 580665"/>
                <a:gd name="connsiteX48" fmla="*/ 67360 w 580665"/>
                <a:gd name="connsiteY48" fmla="*/ 218290 h 580665"/>
                <a:gd name="connsiteX49" fmla="*/ 16209 w 580665"/>
                <a:gd name="connsiteY49" fmla="*/ 192354 h 580665"/>
                <a:gd name="connsiteX50" fmla="*/ 48989 w 580665"/>
                <a:gd name="connsiteY50" fmla="*/ 127876 h 580665"/>
                <a:gd name="connsiteX51" fmla="*/ 99779 w 580665"/>
                <a:gd name="connsiteY51" fmla="*/ 153811 h 580665"/>
                <a:gd name="connsiteX52" fmla="*/ 133279 w 580665"/>
                <a:gd name="connsiteY52" fmla="*/ 116349 h 580665"/>
                <a:gd name="connsiteX53" fmla="*/ 101940 w 580665"/>
                <a:gd name="connsiteY53" fmla="*/ 68801 h 580665"/>
                <a:gd name="connsiteX54" fmla="*/ 162456 w 580665"/>
                <a:gd name="connsiteY54" fmla="*/ 28817 h 580665"/>
                <a:gd name="connsiteX55" fmla="*/ 193795 w 580665"/>
                <a:gd name="connsiteY55" fmla="*/ 76725 h 580665"/>
                <a:gd name="connsiteX56" fmla="*/ 241344 w 580665"/>
                <a:gd name="connsiteY56" fmla="*/ 60876 h 580665"/>
                <a:gd name="connsiteX57" fmla="*/ 238102 w 580665"/>
                <a:gd name="connsiteY57" fmla="*/ 3962 h 5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80665" h="580665">
                  <a:moveTo>
                    <a:pt x="284871" y="208894"/>
                  </a:moveTo>
                  <a:cubicBezTo>
                    <a:pt x="330120" y="206375"/>
                    <a:pt x="368904" y="240924"/>
                    <a:pt x="371418" y="286628"/>
                  </a:cubicBezTo>
                  <a:cubicBezTo>
                    <a:pt x="374291" y="331973"/>
                    <a:pt x="339457" y="370840"/>
                    <a:pt x="294208" y="373359"/>
                  </a:cubicBezTo>
                  <a:cubicBezTo>
                    <a:pt x="248959" y="375878"/>
                    <a:pt x="210174" y="341330"/>
                    <a:pt x="207660" y="295625"/>
                  </a:cubicBezTo>
                  <a:cubicBezTo>
                    <a:pt x="204787" y="250281"/>
                    <a:pt x="239622" y="211414"/>
                    <a:pt x="284871" y="208894"/>
                  </a:cubicBezTo>
                  <a:close/>
                  <a:moveTo>
                    <a:pt x="281327" y="128236"/>
                  </a:moveTo>
                  <a:cubicBezTo>
                    <a:pt x="191634" y="133279"/>
                    <a:pt x="123193" y="209645"/>
                    <a:pt x="128236" y="299698"/>
                  </a:cubicBezTo>
                  <a:cubicBezTo>
                    <a:pt x="133279" y="389031"/>
                    <a:pt x="210005" y="457472"/>
                    <a:pt x="299698" y="452069"/>
                  </a:cubicBezTo>
                  <a:cubicBezTo>
                    <a:pt x="389031" y="447026"/>
                    <a:pt x="457472" y="370660"/>
                    <a:pt x="452789" y="280967"/>
                  </a:cubicBezTo>
                  <a:cubicBezTo>
                    <a:pt x="447386" y="191273"/>
                    <a:pt x="370660" y="123193"/>
                    <a:pt x="281327" y="128236"/>
                  </a:cubicBezTo>
                  <a:close/>
                  <a:moveTo>
                    <a:pt x="310144" y="0"/>
                  </a:moveTo>
                  <a:lnTo>
                    <a:pt x="313386" y="56914"/>
                  </a:lnTo>
                  <a:cubicBezTo>
                    <a:pt x="330316" y="58715"/>
                    <a:pt x="346526" y="61957"/>
                    <a:pt x="362375" y="67360"/>
                  </a:cubicBezTo>
                  <a:lnTo>
                    <a:pt x="387951" y="16209"/>
                  </a:lnTo>
                  <a:lnTo>
                    <a:pt x="452789" y="48989"/>
                  </a:lnTo>
                  <a:lnTo>
                    <a:pt x="426854" y="99779"/>
                  </a:lnTo>
                  <a:cubicBezTo>
                    <a:pt x="440542" y="109145"/>
                    <a:pt x="453149" y="120671"/>
                    <a:pt x="464316" y="132919"/>
                  </a:cubicBezTo>
                  <a:lnTo>
                    <a:pt x="511864" y="101580"/>
                  </a:lnTo>
                  <a:lnTo>
                    <a:pt x="551488" y="162096"/>
                  </a:lnTo>
                  <a:lnTo>
                    <a:pt x="503939" y="193435"/>
                  </a:lnTo>
                  <a:cubicBezTo>
                    <a:pt x="510784" y="208564"/>
                    <a:pt x="515827" y="224413"/>
                    <a:pt x="519429" y="240983"/>
                  </a:cubicBezTo>
                  <a:lnTo>
                    <a:pt x="576703" y="238102"/>
                  </a:lnTo>
                  <a:lnTo>
                    <a:pt x="580665" y="309784"/>
                  </a:lnTo>
                  <a:lnTo>
                    <a:pt x="523391" y="313026"/>
                  </a:lnTo>
                  <a:cubicBezTo>
                    <a:pt x="521950" y="329956"/>
                    <a:pt x="518708" y="346526"/>
                    <a:pt x="513665" y="362375"/>
                  </a:cubicBezTo>
                  <a:lnTo>
                    <a:pt x="564455" y="387951"/>
                  </a:lnTo>
                  <a:lnTo>
                    <a:pt x="532036" y="452429"/>
                  </a:lnTo>
                  <a:lnTo>
                    <a:pt x="480886" y="426493"/>
                  </a:lnTo>
                  <a:cubicBezTo>
                    <a:pt x="471160" y="440542"/>
                    <a:pt x="459993" y="452789"/>
                    <a:pt x="447386" y="464316"/>
                  </a:cubicBezTo>
                  <a:lnTo>
                    <a:pt x="478724" y="511864"/>
                  </a:lnTo>
                  <a:lnTo>
                    <a:pt x="418569" y="551488"/>
                  </a:lnTo>
                  <a:lnTo>
                    <a:pt x="387230" y="503579"/>
                  </a:lnTo>
                  <a:cubicBezTo>
                    <a:pt x="372101" y="510423"/>
                    <a:pt x="356252" y="515827"/>
                    <a:pt x="339322" y="519429"/>
                  </a:cubicBezTo>
                  <a:lnTo>
                    <a:pt x="342924" y="576342"/>
                  </a:lnTo>
                  <a:lnTo>
                    <a:pt x="270521" y="580665"/>
                  </a:lnTo>
                  <a:lnTo>
                    <a:pt x="267639" y="523391"/>
                  </a:lnTo>
                  <a:cubicBezTo>
                    <a:pt x="250709" y="521590"/>
                    <a:pt x="234139" y="518348"/>
                    <a:pt x="218290" y="513305"/>
                  </a:cubicBezTo>
                  <a:lnTo>
                    <a:pt x="192714" y="564095"/>
                  </a:lnTo>
                  <a:lnTo>
                    <a:pt x="128236" y="531676"/>
                  </a:lnTo>
                  <a:lnTo>
                    <a:pt x="153811" y="480886"/>
                  </a:lnTo>
                  <a:cubicBezTo>
                    <a:pt x="140123" y="471160"/>
                    <a:pt x="127515" y="459993"/>
                    <a:pt x="116349" y="447386"/>
                  </a:cubicBezTo>
                  <a:lnTo>
                    <a:pt x="68801" y="478724"/>
                  </a:lnTo>
                  <a:lnTo>
                    <a:pt x="29177" y="418209"/>
                  </a:lnTo>
                  <a:lnTo>
                    <a:pt x="76725" y="387230"/>
                  </a:lnTo>
                  <a:cubicBezTo>
                    <a:pt x="70241" y="371741"/>
                    <a:pt x="64838" y="355892"/>
                    <a:pt x="61596" y="339322"/>
                  </a:cubicBezTo>
                  <a:lnTo>
                    <a:pt x="4322" y="342564"/>
                  </a:lnTo>
                  <a:lnTo>
                    <a:pt x="0" y="270521"/>
                  </a:lnTo>
                  <a:lnTo>
                    <a:pt x="57274" y="267279"/>
                  </a:lnTo>
                  <a:cubicBezTo>
                    <a:pt x="59075" y="250349"/>
                    <a:pt x="62317" y="233779"/>
                    <a:pt x="67360" y="218290"/>
                  </a:cubicBezTo>
                  <a:lnTo>
                    <a:pt x="16209" y="192354"/>
                  </a:lnTo>
                  <a:lnTo>
                    <a:pt x="48989" y="127876"/>
                  </a:lnTo>
                  <a:lnTo>
                    <a:pt x="99779" y="153811"/>
                  </a:lnTo>
                  <a:cubicBezTo>
                    <a:pt x="109865" y="140123"/>
                    <a:pt x="121032" y="127515"/>
                    <a:pt x="133279" y="116349"/>
                  </a:cubicBezTo>
                  <a:lnTo>
                    <a:pt x="101940" y="68801"/>
                  </a:lnTo>
                  <a:lnTo>
                    <a:pt x="162456" y="28817"/>
                  </a:lnTo>
                  <a:lnTo>
                    <a:pt x="193795" y="76725"/>
                  </a:lnTo>
                  <a:cubicBezTo>
                    <a:pt x="208564" y="69881"/>
                    <a:pt x="224774" y="64478"/>
                    <a:pt x="241344" y="60876"/>
                  </a:cubicBezTo>
                  <a:lnTo>
                    <a:pt x="238102" y="396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8C47DB7-CC94-1A4A-9719-EBFE3A686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125" y="4068763"/>
              <a:ext cx="239354" cy="23935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7E717057-907F-FD42-8854-583649A5D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5027612"/>
              <a:ext cx="267929" cy="267928"/>
            </a:xfrm>
            <a:custGeom>
              <a:avLst/>
              <a:gdLst>
                <a:gd name="connsiteX0" fmla="*/ 132582 w 267929"/>
                <a:gd name="connsiteY0" fmla="*/ 96700 h 267928"/>
                <a:gd name="connsiteX1" fmla="*/ 173175 w 267929"/>
                <a:gd name="connsiteY1" fmla="*/ 132582 h 267928"/>
                <a:gd name="connsiteX2" fmla="*/ 136931 w 267929"/>
                <a:gd name="connsiteY2" fmla="*/ 173175 h 267928"/>
                <a:gd name="connsiteX3" fmla="*/ 96700 w 267929"/>
                <a:gd name="connsiteY3" fmla="*/ 136931 h 267928"/>
                <a:gd name="connsiteX4" fmla="*/ 132582 w 267929"/>
                <a:gd name="connsiteY4" fmla="*/ 96700 h 267928"/>
                <a:gd name="connsiteX5" fmla="*/ 129655 w 267929"/>
                <a:gd name="connsiteY5" fmla="*/ 59260 h 267928"/>
                <a:gd name="connsiteX6" fmla="*/ 59260 w 267929"/>
                <a:gd name="connsiteY6" fmla="*/ 138274 h 267928"/>
                <a:gd name="connsiteX7" fmla="*/ 138275 w 267929"/>
                <a:gd name="connsiteY7" fmla="*/ 208668 h 267928"/>
                <a:gd name="connsiteX8" fmla="*/ 208669 w 267929"/>
                <a:gd name="connsiteY8" fmla="*/ 129654 h 267928"/>
                <a:gd name="connsiteX9" fmla="*/ 129655 w 267929"/>
                <a:gd name="connsiteY9" fmla="*/ 59260 h 267928"/>
                <a:gd name="connsiteX10" fmla="*/ 143303 w 267929"/>
                <a:gd name="connsiteY10" fmla="*/ 0 h 267928"/>
                <a:gd name="connsiteX11" fmla="*/ 144739 w 267929"/>
                <a:gd name="connsiteY11" fmla="*/ 26577 h 267928"/>
                <a:gd name="connsiteX12" fmla="*/ 167007 w 267929"/>
                <a:gd name="connsiteY12" fmla="*/ 31246 h 267928"/>
                <a:gd name="connsiteX13" fmla="*/ 179218 w 267929"/>
                <a:gd name="connsiteY13" fmla="*/ 7542 h 267928"/>
                <a:gd name="connsiteX14" fmla="*/ 209028 w 267929"/>
                <a:gd name="connsiteY14" fmla="*/ 22626 h 267928"/>
                <a:gd name="connsiteX15" fmla="*/ 196817 w 267929"/>
                <a:gd name="connsiteY15" fmla="*/ 45971 h 267928"/>
                <a:gd name="connsiteX16" fmla="*/ 214056 w 267929"/>
                <a:gd name="connsiteY16" fmla="*/ 61415 h 267928"/>
                <a:gd name="connsiteX17" fmla="*/ 236324 w 267929"/>
                <a:gd name="connsiteY17" fmla="*/ 47049 h 267928"/>
                <a:gd name="connsiteX18" fmla="*/ 254281 w 267929"/>
                <a:gd name="connsiteY18" fmla="*/ 75063 h 267928"/>
                <a:gd name="connsiteX19" fmla="*/ 232373 w 267929"/>
                <a:gd name="connsiteY19" fmla="*/ 89429 h 267928"/>
                <a:gd name="connsiteX20" fmla="*/ 239556 w 267929"/>
                <a:gd name="connsiteY20" fmla="*/ 111338 h 267928"/>
                <a:gd name="connsiteX21" fmla="*/ 266133 w 267929"/>
                <a:gd name="connsiteY21" fmla="*/ 109901 h 267928"/>
                <a:gd name="connsiteX22" fmla="*/ 267929 w 267929"/>
                <a:gd name="connsiteY22" fmla="*/ 143302 h 267928"/>
                <a:gd name="connsiteX23" fmla="*/ 241711 w 267929"/>
                <a:gd name="connsiteY23" fmla="*/ 144739 h 267928"/>
                <a:gd name="connsiteX24" fmla="*/ 237042 w 267929"/>
                <a:gd name="connsiteY24" fmla="*/ 167006 h 267928"/>
                <a:gd name="connsiteX25" fmla="*/ 260387 w 267929"/>
                <a:gd name="connsiteY25" fmla="*/ 179217 h 267928"/>
                <a:gd name="connsiteX26" fmla="*/ 245302 w 267929"/>
                <a:gd name="connsiteY26" fmla="*/ 208668 h 267928"/>
                <a:gd name="connsiteX27" fmla="*/ 221957 w 267929"/>
                <a:gd name="connsiteY27" fmla="*/ 196816 h 267928"/>
                <a:gd name="connsiteX28" fmla="*/ 206514 w 267929"/>
                <a:gd name="connsiteY28" fmla="*/ 214055 h 267928"/>
                <a:gd name="connsiteX29" fmla="*/ 220880 w 267929"/>
                <a:gd name="connsiteY29" fmla="*/ 235964 h 267928"/>
                <a:gd name="connsiteX30" fmla="*/ 193225 w 267929"/>
                <a:gd name="connsiteY30" fmla="*/ 254639 h 267928"/>
                <a:gd name="connsiteX31" fmla="*/ 178859 w 267929"/>
                <a:gd name="connsiteY31" fmla="*/ 232372 h 267928"/>
                <a:gd name="connsiteX32" fmla="*/ 156591 w 267929"/>
                <a:gd name="connsiteY32" fmla="*/ 239555 h 267928"/>
                <a:gd name="connsiteX33" fmla="*/ 158028 w 267929"/>
                <a:gd name="connsiteY33" fmla="*/ 266132 h 267928"/>
                <a:gd name="connsiteX34" fmla="*/ 124986 w 267929"/>
                <a:gd name="connsiteY34" fmla="*/ 267928 h 267928"/>
                <a:gd name="connsiteX35" fmla="*/ 123549 w 267929"/>
                <a:gd name="connsiteY35" fmla="*/ 241710 h 267928"/>
                <a:gd name="connsiteX36" fmla="*/ 100563 w 267929"/>
                <a:gd name="connsiteY36" fmla="*/ 237041 h 267928"/>
                <a:gd name="connsiteX37" fmla="*/ 89070 w 267929"/>
                <a:gd name="connsiteY37" fmla="*/ 260386 h 267928"/>
                <a:gd name="connsiteX38" fmla="*/ 59260 w 267929"/>
                <a:gd name="connsiteY38" fmla="*/ 245301 h 267928"/>
                <a:gd name="connsiteX39" fmla="*/ 71112 w 267929"/>
                <a:gd name="connsiteY39" fmla="*/ 221957 h 267928"/>
                <a:gd name="connsiteX40" fmla="*/ 53873 w 267929"/>
                <a:gd name="connsiteY40" fmla="*/ 206513 h 267928"/>
                <a:gd name="connsiteX41" fmla="*/ 31605 w 267929"/>
                <a:gd name="connsiteY41" fmla="*/ 220879 h 267928"/>
                <a:gd name="connsiteX42" fmla="*/ 13648 w 267929"/>
                <a:gd name="connsiteY42" fmla="*/ 193224 h 267928"/>
                <a:gd name="connsiteX43" fmla="*/ 35556 w 267929"/>
                <a:gd name="connsiteY43" fmla="*/ 178499 h 267928"/>
                <a:gd name="connsiteX44" fmla="*/ 28373 w 267929"/>
                <a:gd name="connsiteY44" fmla="*/ 156591 h 267928"/>
                <a:gd name="connsiteX45" fmla="*/ 2155 w 267929"/>
                <a:gd name="connsiteY45" fmla="*/ 158027 h 267928"/>
                <a:gd name="connsiteX46" fmla="*/ 0 w 267929"/>
                <a:gd name="connsiteY46" fmla="*/ 124985 h 267928"/>
                <a:gd name="connsiteX47" fmla="*/ 26577 w 267929"/>
                <a:gd name="connsiteY47" fmla="*/ 123549 h 267928"/>
                <a:gd name="connsiteX48" fmla="*/ 31246 w 267929"/>
                <a:gd name="connsiteY48" fmla="*/ 100563 h 267928"/>
                <a:gd name="connsiteX49" fmla="*/ 7542 w 267929"/>
                <a:gd name="connsiteY49" fmla="*/ 89070 h 267928"/>
                <a:gd name="connsiteX50" fmla="*/ 22626 w 267929"/>
                <a:gd name="connsiteY50" fmla="*/ 59260 h 267928"/>
                <a:gd name="connsiteX51" fmla="*/ 45971 w 267929"/>
                <a:gd name="connsiteY51" fmla="*/ 71112 h 267928"/>
                <a:gd name="connsiteX52" fmla="*/ 61415 w 267929"/>
                <a:gd name="connsiteY52" fmla="*/ 53513 h 267928"/>
                <a:gd name="connsiteX53" fmla="*/ 47049 w 267929"/>
                <a:gd name="connsiteY53" fmla="*/ 31605 h 267928"/>
                <a:gd name="connsiteX54" fmla="*/ 75063 w 267929"/>
                <a:gd name="connsiteY54" fmla="*/ 13648 h 267928"/>
                <a:gd name="connsiteX55" fmla="*/ 89429 w 267929"/>
                <a:gd name="connsiteY55" fmla="*/ 35556 h 267928"/>
                <a:gd name="connsiteX56" fmla="*/ 111338 w 267929"/>
                <a:gd name="connsiteY56" fmla="*/ 28373 h 267928"/>
                <a:gd name="connsiteX57" fmla="*/ 109901 w 267929"/>
                <a:gd name="connsiteY57" fmla="*/ 2155 h 267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67929" h="267928">
                  <a:moveTo>
                    <a:pt x="132582" y="96700"/>
                  </a:moveTo>
                  <a:cubicBezTo>
                    <a:pt x="153604" y="95250"/>
                    <a:pt x="171726" y="111560"/>
                    <a:pt x="173175" y="132582"/>
                  </a:cubicBezTo>
                  <a:cubicBezTo>
                    <a:pt x="174263" y="153604"/>
                    <a:pt x="157953" y="171726"/>
                    <a:pt x="136931" y="173175"/>
                  </a:cubicBezTo>
                  <a:cubicBezTo>
                    <a:pt x="115909" y="174263"/>
                    <a:pt x="97425" y="157953"/>
                    <a:pt x="96700" y="136931"/>
                  </a:cubicBezTo>
                  <a:cubicBezTo>
                    <a:pt x="95250" y="115909"/>
                    <a:pt x="111560" y="97425"/>
                    <a:pt x="132582" y="96700"/>
                  </a:cubicBezTo>
                  <a:close/>
                  <a:moveTo>
                    <a:pt x="129655" y="59260"/>
                  </a:moveTo>
                  <a:cubicBezTo>
                    <a:pt x="88352" y="61415"/>
                    <a:pt x="56746" y="96971"/>
                    <a:pt x="59260" y="138274"/>
                  </a:cubicBezTo>
                  <a:cubicBezTo>
                    <a:pt x="61415" y="179577"/>
                    <a:pt x="96972" y="211182"/>
                    <a:pt x="138275" y="208668"/>
                  </a:cubicBezTo>
                  <a:cubicBezTo>
                    <a:pt x="179577" y="206513"/>
                    <a:pt x="211183" y="170957"/>
                    <a:pt x="208669" y="129654"/>
                  </a:cubicBezTo>
                  <a:cubicBezTo>
                    <a:pt x="206514" y="88351"/>
                    <a:pt x="171317" y="56746"/>
                    <a:pt x="129655" y="59260"/>
                  </a:cubicBezTo>
                  <a:close/>
                  <a:moveTo>
                    <a:pt x="143303" y="0"/>
                  </a:moveTo>
                  <a:lnTo>
                    <a:pt x="144739" y="26577"/>
                  </a:lnTo>
                  <a:cubicBezTo>
                    <a:pt x="152282" y="27295"/>
                    <a:pt x="159824" y="28732"/>
                    <a:pt x="167007" y="31246"/>
                  </a:cubicBezTo>
                  <a:lnTo>
                    <a:pt x="179218" y="7542"/>
                  </a:lnTo>
                  <a:lnTo>
                    <a:pt x="209028" y="22626"/>
                  </a:lnTo>
                  <a:lnTo>
                    <a:pt x="196817" y="45971"/>
                  </a:lnTo>
                  <a:cubicBezTo>
                    <a:pt x="203281" y="50640"/>
                    <a:pt x="209028" y="55668"/>
                    <a:pt x="214056" y="61415"/>
                  </a:cubicBezTo>
                  <a:lnTo>
                    <a:pt x="236324" y="47049"/>
                  </a:lnTo>
                  <a:lnTo>
                    <a:pt x="254281" y="75063"/>
                  </a:lnTo>
                  <a:lnTo>
                    <a:pt x="232373" y="89429"/>
                  </a:lnTo>
                  <a:cubicBezTo>
                    <a:pt x="235605" y="96253"/>
                    <a:pt x="238119" y="103795"/>
                    <a:pt x="239556" y="111338"/>
                  </a:cubicBezTo>
                  <a:lnTo>
                    <a:pt x="266133" y="109901"/>
                  </a:lnTo>
                  <a:lnTo>
                    <a:pt x="267929" y="143302"/>
                  </a:lnTo>
                  <a:lnTo>
                    <a:pt x="241711" y="144739"/>
                  </a:lnTo>
                  <a:cubicBezTo>
                    <a:pt x="240633" y="152281"/>
                    <a:pt x="239197" y="159823"/>
                    <a:pt x="237042" y="167006"/>
                  </a:cubicBezTo>
                  <a:lnTo>
                    <a:pt x="260387" y="179217"/>
                  </a:lnTo>
                  <a:lnTo>
                    <a:pt x="245302" y="208668"/>
                  </a:lnTo>
                  <a:lnTo>
                    <a:pt x="221957" y="196816"/>
                  </a:lnTo>
                  <a:cubicBezTo>
                    <a:pt x="217288" y="203281"/>
                    <a:pt x="212260" y="209027"/>
                    <a:pt x="206514" y="214055"/>
                  </a:cubicBezTo>
                  <a:lnTo>
                    <a:pt x="220880" y="235964"/>
                  </a:lnTo>
                  <a:lnTo>
                    <a:pt x="193225" y="254639"/>
                  </a:lnTo>
                  <a:lnTo>
                    <a:pt x="178859" y="232372"/>
                  </a:lnTo>
                  <a:cubicBezTo>
                    <a:pt x="171676" y="235604"/>
                    <a:pt x="164493" y="238118"/>
                    <a:pt x="156591" y="239555"/>
                  </a:cubicBezTo>
                  <a:lnTo>
                    <a:pt x="158028" y="266132"/>
                  </a:lnTo>
                  <a:lnTo>
                    <a:pt x="124986" y="267928"/>
                  </a:lnTo>
                  <a:lnTo>
                    <a:pt x="123549" y="241710"/>
                  </a:lnTo>
                  <a:cubicBezTo>
                    <a:pt x="115648" y="240632"/>
                    <a:pt x="108106" y="239196"/>
                    <a:pt x="100563" y="237041"/>
                  </a:cubicBezTo>
                  <a:lnTo>
                    <a:pt x="89070" y="260386"/>
                  </a:lnTo>
                  <a:lnTo>
                    <a:pt x="59260" y="245301"/>
                  </a:lnTo>
                  <a:lnTo>
                    <a:pt x="71112" y="221957"/>
                  </a:lnTo>
                  <a:cubicBezTo>
                    <a:pt x="64647" y="217288"/>
                    <a:pt x="58901" y="212259"/>
                    <a:pt x="53873" y="206513"/>
                  </a:cubicBezTo>
                  <a:lnTo>
                    <a:pt x="31605" y="220879"/>
                  </a:lnTo>
                  <a:lnTo>
                    <a:pt x="13648" y="193224"/>
                  </a:lnTo>
                  <a:lnTo>
                    <a:pt x="35556" y="178499"/>
                  </a:lnTo>
                  <a:cubicBezTo>
                    <a:pt x="32324" y="171675"/>
                    <a:pt x="30169" y="164492"/>
                    <a:pt x="28373" y="156591"/>
                  </a:cubicBezTo>
                  <a:lnTo>
                    <a:pt x="2155" y="158027"/>
                  </a:lnTo>
                  <a:lnTo>
                    <a:pt x="0" y="124985"/>
                  </a:lnTo>
                  <a:lnTo>
                    <a:pt x="26577" y="123549"/>
                  </a:lnTo>
                  <a:cubicBezTo>
                    <a:pt x="27295" y="115647"/>
                    <a:pt x="28732" y="108105"/>
                    <a:pt x="31246" y="100563"/>
                  </a:cubicBezTo>
                  <a:lnTo>
                    <a:pt x="7542" y="89070"/>
                  </a:lnTo>
                  <a:lnTo>
                    <a:pt x="22626" y="59260"/>
                  </a:lnTo>
                  <a:lnTo>
                    <a:pt x="45971" y="71112"/>
                  </a:lnTo>
                  <a:cubicBezTo>
                    <a:pt x="50640" y="64647"/>
                    <a:pt x="55669" y="58901"/>
                    <a:pt x="61415" y="53513"/>
                  </a:cubicBezTo>
                  <a:lnTo>
                    <a:pt x="47049" y="31605"/>
                  </a:lnTo>
                  <a:lnTo>
                    <a:pt x="75063" y="13648"/>
                  </a:lnTo>
                  <a:lnTo>
                    <a:pt x="89429" y="35556"/>
                  </a:lnTo>
                  <a:cubicBezTo>
                    <a:pt x="96254" y="32323"/>
                    <a:pt x="103796" y="29809"/>
                    <a:pt x="111338" y="28373"/>
                  </a:cubicBezTo>
                  <a:lnTo>
                    <a:pt x="109901" y="21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A10DDA3C-AEBE-A646-8FFE-C64BE6D00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5" y="4676776"/>
              <a:ext cx="221890" cy="22188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AB085862-7722-894E-93D5-F0F43A4BF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7" y="3892550"/>
              <a:ext cx="293328" cy="294915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699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B50C8-464F-41E6-9048-94184765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D67A5-D288-4D59-853F-9BAC1A7C7B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E398A-03CB-48D8-ABCE-8DD0D6FD7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168233-6E30-4F1F-9141-9F5F9EEA3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4294D7-DFA1-4C72-9686-F34E30B64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984556-E018-42AD-89DA-7ED1C86C6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235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B6771-0F72-4AF5-8115-5E471B1E9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69526F-D29C-40F7-B673-3D23D85A8E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862C18-B351-4121-83E7-3A1DD3D976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5176C8-BB08-4CDA-9224-3CFFA55EA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11B122-BAFB-475F-BEF8-518B399F0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24502D-85A6-4CCC-A465-36E44B490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1062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DD416-74BA-4125-8FB5-DEEB090B0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FAC86A-E887-4C02-A51E-CEA05F30B1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8BA54-C802-48F0-B645-2B6B78A24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2A087D-7F88-4A1F-8CE5-E119F72D0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82F0D-7F7D-4B5E-BD9E-3837E6187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919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5BBAB8-0192-44B3-962F-8E82B76F0A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DD18C3-A30E-47E2-865D-D6FF4AF4F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2357C-BEAA-40D4-9B9D-8E3DC4641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3262A-3102-45BC-9892-4778D180C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221DC-5DFC-4BB5-B9D1-01C848651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6863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35C83-A4B7-4A94-B844-32156BEDE3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41B78E-734A-4824-BF7A-60B17932E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C1ABCC-BA9D-40C3-9143-5EF6FE9E4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9E748-857C-437C-9D3B-A48722597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0E15F-DFD8-4620-841D-124041B0D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40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303FC-A7E5-48DD-BBB9-CC6FE1134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AAD8A-D955-460A-B281-ACEA3D23EC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FF4C3C-59BF-4D8D-BF75-9946255DF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4597-040A-47E1-971B-E28027BA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BCB4F-ABA1-45AF-9F15-9D990F08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759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15FB1-4927-466B-8AC6-1817BA9A3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3F9E-A217-4DC9-91AE-C316D26BB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E70176-6356-494C-B006-20A5D7AF2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E251CF-BDB4-47B6-9F58-A0DEE8F4B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810849-EC49-48D3-8E55-263CCF2B2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876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6A1E7-EA08-4A60-8C71-4C7886EEC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27586-EC51-4E5F-940D-BE9C1291DB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BFDF8C-92CE-4478-8FA1-2443BE16DC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3360D-06D2-426D-B2D4-6DBC3D2B4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D213B-5C28-4229-B1EE-1BA4D7A32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436AF-3F63-4231-BC72-F4FE55551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7752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2CFB3-04EF-4295-8ECD-CE0FDFF4E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6A6EE-DEE7-4CD1-BBED-E3EF684511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797AB-C2DD-4EFE-8EFE-B468C8FE1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8C013A-0933-4A9D-89C2-7F196C8743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D859C0-8142-43A8-9C15-C5D6A2E6DF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39FFC0-0C44-498E-AC48-C3DB5A44F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201C689-527E-4EA2-9F18-0BDAE47B2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963AC-97B2-45C1-85A0-62C47120F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05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E4AAB-4F74-4362-A104-9181AF68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8C606D-B4CB-4CCC-AAC8-5BD7BA908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42C71C-C4FF-48FF-9159-C982D374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0BBD44-4B55-4902-AC63-E43074A86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62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B8A27194-A417-874A-A906-C90C6DC521A1}"/>
              </a:ext>
            </a:extLst>
          </p:cNvPr>
          <p:cNvGrpSpPr/>
          <p:nvPr userDrawn="1"/>
        </p:nvGrpSpPr>
        <p:grpSpPr>
          <a:xfrm>
            <a:off x="2151828" y="4021346"/>
            <a:ext cx="7471847" cy="3084048"/>
            <a:chOff x="2151828" y="4006356"/>
            <a:chExt cx="7471847" cy="3084048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20A728F7-BC08-0848-A5EB-B320AF6AC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0075" y="4725218"/>
              <a:ext cx="1128340" cy="1128339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6DB2FDBB-EE53-7E48-A125-DBFBA3234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2588" y="5853558"/>
              <a:ext cx="855354" cy="855354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DE66A4A-5A28-B541-96A4-566C7FA7E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227" y="4006356"/>
              <a:ext cx="670330" cy="670332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EA0D77EE-2F5C-C24A-9523-3315EAD74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6330" y="5580573"/>
              <a:ext cx="1037345" cy="1037344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D703B2A2-7447-2C4C-A93C-08E4BADF4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6716" y="4534128"/>
              <a:ext cx="1319430" cy="1319430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C17762A6-6A1F-AA4E-91D1-FA3A74B9D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4199" y="4091285"/>
              <a:ext cx="770425" cy="7704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A93A6F3-51A9-A146-9E4E-C42D3EDBF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4582" y="4091285"/>
              <a:ext cx="2999119" cy="2999119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3240647F-0F17-2240-8761-24728475BAA9}"/>
                </a:ext>
              </a:extLst>
            </p:cNvPr>
            <p:cNvSpPr/>
            <p:nvPr userDrawn="1"/>
          </p:nvSpPr>
          <p:spPr>
            <a:xfrm>
              <a:off x="2151828" y="5920288"/>
              <a:ext cx="2349456" cy="937712"/>
            </a:xfrm>
            <a:custGeom>
              <a:avLst/>
              <a:gdLst>
                <a:gd name="connsiteX0" fmla="*/ 1104661 w 2349456"/>
                <a:gd name="connsiteY0" fmla="*/ 0 h 937712"/>
                <a:gd name="connsiteX1" fmla="*/ 1112223 w 2349456"/>
                <a:gd name="connsiteY1" fmla="*/ 36445 h 937712"/>
                <a:gd name="connsiteX2" fmla="*/ 1153470 w 2349456"/>
                <a:gd name="connsiteY2" fmla="*/ 231049 h 937712"/>
                <a:gd name="connsiteX3" fmla="*/ 1300584 w 2349456"/>
                <a:gd name="connsiteY3" fmla="*/ 238613 h 937712"/>
                <a:gd name="connsiteX4" fmla="*/ 1361768 w 2349456"/>
                <a:gd name="connsiteY4" fmla="*/ 48823 h 937712"/>
                <a:gd name="connsiteX5" fmla="*/ 1373454 w 2349456"/>
                <a:gd name="connsiteY5" fmla="*/ 13753 h 937712"/>
                <a:gd name="connsiteX6" fmla="*/ 1409202 w 2349456"/>
                <a:gd name="connsiteY6" fmla="*/ 24755 h 937712"/>
                <a:gd name="connsiteX7" fmla="*/ 1686932 w 2349456"/>
                <a:gd name="connsiteY7" fmla="*/ 114837 h 937712"/>
                <a:gd name="connsiteX8" fmla="*/ 1722679 w 2349456"/>
                <a:gd name="connsiteY8" fmla="*/ 126527 h 937712"/>
                <a:gd name="connsiteX9" fmla="*/ 1710992 w 2349456"/>
                <a:gd name="connsiteY9" fmla="*/ 162284 h 937712"/>
                <a:gd name="connsiteX10" fmla="*/ 1649122 w 2349456"/>
                <a:gd name="connsiteY10" fmla="*/ 352074 h 937712"/>
                <a:gd name="connsiteX11" fmla="*/ 1772863 w 2349456"/>
                <a:gd name="connsiteY11" fmla="*/ 432528 h 937712"/>
                <a:gd name="connsiteX12" fmla="*/ 1921352 w 2349456"/>
                <a:gd name="connsiteY12" fmla="*/ 298438 h 937712"/>
                <a:gd name="connsiteX13" fmla="*/ 1948850 w 2349456"/>
                <a:gd name="connsiteY13" fmla="*/ 272995 h 937712"/>
                <a:gd name="connsiteX14" fmla="*/ 1974286 w 2349456"/>
                <a:gd name="connsiteY14" fmla="*/ 301188 h 937712"/>
                <a:gd name="connsiteX15" fmla="*/ 2169522 w 2349456"/>
                <a:gd name="connsiteY15" fmla="*/ 518484 h 937712"/>
                <a:gd name="connsiteX16" fmla="*/ 2194270 w 2349456"/>
                <a:gd name="connsiteY16" fmla="*/ 545990 h 937712"/>
                <a:gd name="connsiteX17" fmla="*/ 2166772 w 2349456"/>
                <a:gd name="connsiteY17" fmla="*/ 571432 h 937712"/>
                <a:gd name="connsiteX18" fmla="*/ 2018283 w 2349456"/>
                <a:gd name="connsiteY18" fmla="*/ 704835 h 937712"/>
                <a:gd name="connsiteX19" fmla="*/ 2085653 w 2349456"/>
                <a:gd name="connsiteY19" fmla="*/ 835488 h 937712"/>
                <a:gd name="connsiteX20" fmla="*/ 2280889 w 2349456"/>
                <a:gd name="connsiteY20" fmla="*/ 793541 h 937712"/>
                <a:gd name="connsiteX21" fmla="*/ 2317324 w 2349456"/>
                <a:gd name="connsiteY21" fmla="*/ 785977 h 937712"/>
                <a:gd name="connsiteX22" fmla="*/ 2324886 w 2349456"/>
                <a:gd name="connsiteY22" fmla="*/ 823110 h 937712"/>
                <a:gd name="connsiteX23" fmla="*/ 2349456 w 2349456"/>
                <a:gd name="connsiteY23" fmla="*/ 937712 h 937712"/>
                <a:gd name="connsiteX24" fmla="*/ 1455625 w 2349456"/>
                <a:gd name="connsiteY24" fmla="*/ 937712 h 937712"/>
                <a:gd name="connsiteX25" fmla="*/ 1411612 w 2349456"/>
                <a:gd name="connsiteY25" fmla="*/ 897858 h 937712"/>
                <a:gd name="connsiteX26" fmla="*/ 910800 w 2349456"/>
                <a:gd name="connsiteY26" fmla="*/ 922818 h 937712"/>
                <a:gd name="connsiteX27" fmla="*/ 897322 w 2349456"/>
                <a:gd name="connsiteY27" fmla="*/ 937712 h 937712"/>
                <a:gd name="connsiteX28" fmla="*/ 0 w 2349456"/>
                <a:gd name="connsiteY28" fmla="*/ 937712 h 937712"/>
                <a:gd name="connsiteX29" fmla="*/ 74860 w 2349456"/>
                <a:gd name="connsiteY29" fmla="*/ 706211 h 937712"/>
                <a:gd name="connsiteX30" fmla="*/ 85859 w 2349456"/>
                <a:gd name="connsiteY30" fmla="*/ 671141 h 937712"/>
                <a:gd name="connsiteX31" fmla="*/ 122294 w 2349456"/>
                <a:gd name="connsiteY31" fmla="*/ 682143 h 937712"/>
                <a:gd name="connsiteX32" fmla="*/ 311343 w 2349456"/>
                <a:gd name="connsiteY32" fmla="*/ 743343 h 937712"/>
                <a:gd name="connsiteX33" fmla="*/ 391775 w 2349456"/>
                <a:gd name="connsiteY33" fmla="*/ 620943 h 937712"/>
                <a:gd name="connsiteX34" fmla="*/ 258410 w 2349456"/>
                <a:gd name="connsiteY34" fmla="*/ 472412 h 937712"/>
                <a:gd name="connsiteX35" fmla="*/ 232974 w 2349456"/>
                <a:gd name="connsiteY35" fmla="*/ 444218 h 937712"/>
                <a:gd name="connsiteX36" fmla="*/ 260472 w 2349456"/>
                <a:gd name="connsiteY36" fmla="*/ 419463 h 937712"/>
                <a:gd name="connsiteX37" fmla="*/ 477706 w 2349456"/>
                <a:gd name="connsiteY37" fmla="*/ 224172 h 937712"/>
                <a:gd name="connsiteX38" fmla="*/ 505892 w 2349456"/>
                <a:gd name="connsiteY38" fmla="*/ 198729 h 937712"/>
                <a:gd name="connsiteX39" fmla="*/ 530640 w 2349456"/>
                <a:gd name="connsiteY39" fmla="*/ 226923 h 937712"/>
                <a:gd name="connsiteX40" fmla="*/ 664005 w 2349456"/>
                <a:gd name="connsiteY40" fmla="*/ 374766 h 937712"/>
                <a:gd name="connsiteX41" fmla="*/ 794621 w 2349456"/>
                <a:gd name="connsiteY41" fmla="*/ 308065 h 937712"/>
                <a:gd name="connsiteX42" fmla="*/ 753374 w 2349456"/>
                <a:gd name="connsiteY42" fmla="*/ 112774 h 937712"/>
                <a:gd name="connsiteX43" fmla="*/ 745124 w 2349456"/>
                <a:gd name="connsiteY43" fmla="*/ 76329 h 937712"/>
                <a:gd name="connsiteX44" fmla="*/ 782247 w 2349456"/>
                <a:gd name="connsiteY44" fmla="*/ 68077 h 937712"/>
                <a:gd name="connsiteX45" fmla="*/ 1067539 w 2349456"/>
                <a:gd name="connsiteY45" fmla="*/ 7564 h 93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49456" h="937712">
                  <a:moveTo>
                    <a:pt x="1104661" y="0"/>
                  </a:moveTo>
                  <a:lnTo>
                    <a:pt x="1112223" y="36445"/>
                  </a:lnTo>
                  <a:lnTo>
                    <a:pt x="1153470" y="231049"/>
                  </a:lnTo>
                  <a:cubicBezTo>
                    <a:pt x="1203654" y="230361"/>
                    <a:pt x="1252463" y="232424"/>
                    <a:pt x="1300584" y="238613"/>
                  </a:cubicBezTo>
                  <a:lnTo>
                    <a:pt x="1361768" y="48823"/>
                  </a:lnTo>
                  <a:lnTo>
                    <a:pt x="1373454" y="13753"/>
                  </a:lnTo>
                  <a:lnTo>
                    <a:pt x="1409202" y="24755"/>
                  </a:lnTo>
                  <a:lnTo>
                    <a:pt x="1686932" y="114837"/>
                  </a:lnTo>
                  <a:lnTo>
                    <a:pt x="1722679" y="126527"/>
                  </a:lnTo>
                  <a:lnTo>
                    <a:pt x="1710992" y="162284"/>
                  </a:lnTo>
                  <a:lnTo>
                    <a:pt x="1649122" y="352074"/>
                  </a:lnTo>
                  <a:cubicBezTo>
                    <a:pt x="1691744" y="375454"/>
                    <a:pt x="1733678" y="402272"/>
                    <a:pt x="1772863" y="432528"/>
                  </a:cubicBezTo>
                  <a:lnTo>
                    <a:pt x="1921352" y="298438"/>
                  </a:lnTo>
                  <a:lnTo>
                    <a:pt x="1948850" y="272995"/>
                  </a:lnTo>
                  <a:lnTo>
                    <a:pt x="1974286" y="301188"/>
                  </a:lnTo>
                  <a:lnTo>
                    <a:pt x="2169522" y="518484"/>
                  </a:lnTo>
                  <a:lnTo>
                    <a:pt x="2194270" y="545990"/>
                  </a:lnTo>
                  <a:lnTo>
                    <a:pt x="2166772" y="571432"/>
                  </a:lnTo>
                  <a:lnTo>
                    <a:pt x="2018283" y="704835"/>
                  </a:lnTo>
                  <a:cubicBezTo>
                    <a:pt x="2044406" y="747469"/>
                    <a:pt x="2066404" y="790791"/>
                    <a:pt x="2085653" y="835488"/>
                  </a:cubicBezTo>
                  <a:lnTo>
                    <a:pt x="2280889" y="793541"/>
                  </a:lnTo>
                  <a:lnTo>
                    <a:pt x="2317324" y="785977"/>
                  </a:lnTo>
                  <a:lnTo>
                    <a:pt x="2324886" y="823110"/>
                  </a:lnTo>
                  <a:lnTo>
                    <a:pt x="2349456" y="937712"/>
                  </a:lnTo>
                  <a:lnTo>
                    <a:pt x="1455625" y="937712"/>
                  </a:lnTo>
                  <a:lnTo>
                    <a:pt x="1411612" y="897858"/>
                  </a:lnTo>
                  <a:cubicBezTo>
                    <a:pt x="1263140" y="788642"/>
                    <a:pt x="1052759" y="794659"/>
                    <a:pt x="910800" y="922818"/>
                  </a:cubicBezTo>
                  <a:lnTo>
                    <a:pt x="897322" y="937712"/>
                  </a:lnTo>
                  <a:lnTo>
                    <a:pt x="0" y="937712"/>
                  </a:lnTo>
                  <a:lnTo>
                    <a:pt x="74860" y="706211"/>
                  </a:lnTo>
                  <a:lnTo>
                    <a:pt x="85859" y="671141"/>
                  </a:lnTo>
                  <a:lnTo>
                    <a:pt x="122294" y="682143"/>
                  </a:lnTo>
                  <a:lnTo>
                    <a:pt x="311343" y="743343"/>
                  </a:lnTo>
                  <a:cubicBezTo>
                    <a:pt x="334717" y="701397"/>
                    <a:pt x="361527" y="660138"/>
                    <a:pt x="391775" y="620943"/>
                  </a:cubicBezTo>
                  <a:lnTo>
                    <a:pt x="258410" y="472412"/>
                  </a:lnTo>
                  <a:lnTo>
                    <a:pt x="232974" y="444218"/>
                  </a:lnTo>
                  <a:lnTo>
                    <a:pt x="260472" y="419463"/>
                  </a:lnTo>
                  <a:lnTo>
                    <a:pt x="477706" y="224172"/>
                  </a:lnTo>
                  <a:lnTo>
                    <a:pt x="505892" y="198729"/>
                  </a:lnTo>
                  <a:lnTo>
                    <a:pt x="530640" y="226923"/>
                  </a:lnTo>
                  <a:lnTo>
                    <a:pt x="664005" y="374766"/>
                  </a:lnTo>
                  <a:cubicBezTo>
                    <a:pt x="706627" y="349323"/>
                    <a:pt x="750624" y="326631"/>
                    <a:pt x="794621" y="308065"/>
                  </a:cubicBezTo>
                  <a:lnTo>
                    <a:pt x="753374" y="112774"/>
                  </a:lnTo>
                  <a:lnTo>
                    <a:pt x="745124" y="76329"/>
                  </a:lnTo>
                  <a:lnTo>
                    <a:pt x="782247" y="68077"/>
                  </a:lnTo>
                  <a:lnTo>
                    <a:pt x="1067539" y="7564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5A8B25D-7031-E74A-A82C-E40DBFFC37B2}"/>
                </a:ext>
              </a:extLst>
            </p:cNvPr>
            <p:cNvSpPr/>
            <p:nvPr userDrawn="1"/>
          </p:nvSpPr>
          <p:spPr>
            <a:xfrm>
              <a:off x="8085452" y="6614883"/>
              <a:ext cx="1463213" cy="243117"/>
            </a:xfrm>
            <a:custGeom>
              <a:avLst/>
              <a:gdLst>
                <a:gd name="connsiteX0" fmla="*/ 174459 w 1463213"/>
                <a:gd name="connsiteY0" fmla="*/ 128601 h 243117"/>
                <a:gd name="connsiteX1" fmla="*/ 249563 w 1463213"/>
                <a:gd name="connsiteY1" fmla="*/ 243117 h 243117"/>
                <a:gd name="connsiteX2" fmla="*/ 0 w 1463213"/>
                <a:gd name="connsiteY2" fmla="*/ 243117 h 243117"/>
                <a:gd name="connsiteX3" fmla="*/ 1177128 w 1463213"/>
                <a:gd name="connsiteY3" fmla="*/ 72210 h 243117"/>
                <a:gd name="connsiteX4" fmla="*/ 1463213 w 1463213"/>
                <a:gd name="connsiteY4" fmla="*/ 215939 h 243117"/>
                <a:gd name="connsiteX5" fmla="*/ 1449500 w 1463213"/>
                <a:gd name="connsiteY5" fmla="*/ 243117 h 243117"/>
                <a:gd name="connsiteX6" fmla="*/ 1090895 w 1463213"/>
                <a:gd name="connsiteY6" fmla="*/ 243117 h 243117"/>
                <a:gd name="connsiteX7" fmla="*/ 830527 w 1463213"/>
                <a:gd name="connsiteY7" fmla="*/ 0 h 243117"/>
                <a:gd name="connsiteX8" fmla="*/ 844400 w 1463213"/>
                <a:gd name="connsiteY8" fmla="*/ 243117 h 243117"/>
                <a:gd name="connsiteX9" fmla="*/ 523523 w 1463213"/>
                <a:gd name="connsiteY9" fmla="*/ 243117 h 243117"/>
                <a:gd name="connsiteX10" fmla="*/ 510058 w 1463213"/>
                <a:gd name="connsiteY10" fmla="*/ 17880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3213" h="243117">
                  <a:moveTo>
                    <a:pt x="174459" y="128601"/>
                  </a:moveTo>
                  <a:lnTo>
                    <a:pt x="249563" y="243117"/>
                  </a:lnTo>
                  <a:lnTo>
                    <a:pt x="0" y="243117"/>
                  </a:lnTo>
                  <a:close/>
                  <a:moveTo>
                    <a:pt x="1177128" y="72210"/>
                  </a:moveTo>
                  <a:lnTo>
                    <a:pt x="1463213" y="215939"/>
                  </a:lnTo>
                  <a:lnTo>
                    <a:pt x="1449500" y="243117"/>
                  </a:lnTo>
                  <a:lnTo>
                    <a:pt x="1090895" y="243117"/>
                  </a:lnTo>
                  <a:close/>
                  <a:moveTo>
                    <a:pt x="830527" y="0"/>
                  </a:moveTo>
                  <a:lnTo>
                    <a:pt x="844400" y="243117"/>
                  </a:lnTo>
                  <a:lnTo>
                    <a:pt x="523523" y="243117"/>
                  </a:lnTo>
                  <a:lnTo>
                    <a:pt x="510058" y="17880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0B3394EB-8860-9F41-8F49-7D721A763762}"/>
                </a:ext>
              </a:extLst>
            </p:cNvPr>
            <p:cNvSpPr/>
            <p:nvPr userDrawn="1"/>
          </p:nvSpPr>
          <p:spPr>
            <a:xfrm>
              <a:off x="7106143" y="6614883"/>
              <a:ext cx="572580" cy="243117"/>
            </a:xfrm>
            <a:custGeom>
              <a:avLst/>
              <a:gdLst>
                <a:gd name="connsiteX0" fmla="*/ 222976 w 572580"/>
                <a:gd name="connsiteY0" fmla="*/ 0 h 243117"/>
                <a:gd name="connsiteX1" fmla="*/ 231923 w 572580"/>
                <a:gd name="connsiteY1" fmla="*/ 0 h 243117"/>
                <a:gd name="connsiteX2" fmla="*/ 337905 w 572580"/>
                <a:gd name="connsiteY2" fmla="*/ 0 h 243117"/>
                <a:gd name="connsiteX3" fmla="*/ 346851 w 572580"/>
                <a:gd name="connsiteY3" fmla="*/ 0 h 243117"/>
                <a:gd name="connsiteX4" fmla="*/ 346851 w 572580"/>
                <a:gd name="connsiteY4" fmla="*/ 8958 h 243117"/>
                <a:gd name="connsiteX5" fmla="*/ 346851 w 572580"/>
                <a:gd name="connsiteY5" fmla="*/ 79927 h 243117"/>
                <a:gd name="connsiteX6" fmla="*/ 386079 w 572580"/>
                <a:gd name="connsiteY6" fmla="*/ 96464 h 243117"/>
                <a:gd name="connsiteX7" fmla="*/ 437693 w 572580"/>
                <a:gd name="connsiteY7" fmla="*/ 45476 h 243117"/>
                <a:gd name="connsiteX8" fmla="*/ 443887 w 572580"/>
                <a:gd name="connsiteY8" fmla="*/ 38586 h 243117"/>
                <a:gd name="connsiteX9" fmla="*/ 450081 w 572580"/>
                <a:gd name="connsiteY9" fmla="*/ 45476 h 243117"/>
                <a:gd name="connsiteX10" fmla="*/ 525094 w 572580"/>
                <a:gd name="connsiteY10" fmla="*/ 119891 h 243117"/>
                <a:gd name="connsiteX11" fmla="*/ 531288 w 572580"/>
                <a:gd name="connsiteY11" fmla="*/ 126781 h 243117"/>
                <a:gd name="connsiteX12" fmla="*/ 525094 w 572580"/>
                <a:gd name="connsiteY12" fmla="*/ 132982 h 243117"/>
                <a:gd name="connsiteX13" fmla="*/ 474168 w 572580"/>
                <a:gd name="connsiteY13" fmla="*/ 183970 h 243117"/>
                <a:gd name="connsiteX14" fmla="*/ 491373 w 572580"/>
                <a:gd name="connsiteY14" fmla="*/ 226001 h 243117"/>
                <a:gd name="connsiteX15" fmla="*/ 563633 w 572580"/>
                <a:gd name="connsiteY15" fmla="*/ 226001 h 243117"/>
                <a:gd name="connsiteX16" fmla="*/ 572580 w 572580"/>
                <a:gd name="connsiteY16" fmla="*/ 226001 h 243117"/>
                <a:gd name="connsiteX17" fmla="*/ 572580 w 572580"/>
                <a:gd name="connsiteY17" fmla="*/ 234269 h 243117"/>
                <a:gd name="connsiteX18" fmla="*/ 572580 w 572580"/>
                <a:gd name="connsiteY18" fmla="*/ 243117 h 243117"/>
                <a:gd name="connsiteX19" fmla="*/ 404845 w 572580"/>
                <a:gd name="connsiteY19" fmla="*/ 243117 h 243117"/>
                <a:gd name="connsiteX20" fmla="*/ 403467 w 572580"/>
                <a:gd name="connsiteY20" fmla="*/ 236272 h 243117"/>
                <a:gd name="connsiteX21" fmla="*/ 284914 w 572580"/>
                <a:gd name="connsiteY21" fmla="*/ 157787 h 243117"/>
                <a:gd name="connsiteX22" fmla="*/ 166361 w 572580"/>
                <a:gd name="connsiteY22" fmla="*/ 236272 h 243117"/>
                <a:gd name="connsiteX23" fmla="*/ 164983 w 572580"/>
                <a:gd name="connsiteY23" fmla="*/ 243117 h 243117"/>
                <a:gd name="connsiteX24" fmla="*/ 0 w 572580"/>
                <a:gd name="connsiteY24" fmla="*/ 243117 h 243117"/>
                <a:gd name="connsiteX25" fmla="*/ 0 w 572580"/>
                <a:gd name="connsiteY25" fmla="*/ 231513 h 243117"/>
                <a:gd name="connsiteX26" fmla="*/ 0 w 572580"/>
                <a:gd name="connsiteY26" fmla="*/ 222556 h 243117"/>
                <a:gd name="connsiteX27" fmla="*/ 8947 w 572580"/>
                <a:gd name="connsiteY27" fmla="*/ 222556 h 243117"/>
                <a:gd name="connsiteX28" fmla="*/ 79143 w 572580"/>
                <a:gd name="connsiteY28" fmla="*/ 222556 h 243117"/>
                <a:gd name="connsiteX29" fmla="*/ 97036 w 572580"/>
                <a:gd name="connsiteY29" fmla="*/ 181903 h 243117"/>
                <a:gd name="connsiteX30" fmla="*/ 48174 w 572580"/>
                <a:gd name="connsiteY30" fmla="*/ 132982 h 243117"/>
                <a:gd name="connsiteX31" fmla="*/ 41292 w 572580"/>
                <a:gd name="connsiteY31" fmla="*/ 126781 h 243117"/>
                <a:gd name="connsiteX32" fmla="*/ 48174 w 572580"/>
                <a:gd name="connsiteY32" fmla="*/ 119891 h 243117"/>
                <a:gd name="connsiteX33" fmla="*/ 122499 w 572580"/>
                <a:gd name="connsiteY33" fmla="*/ 45476 h 243117"/>
                <a:gd name="connsiteX34" fmla="*/ 128693 w 572580"/>
                <a:gd name="connsiteY34" fmla="*/ 38586 h 243117"/>
                <a:gd name="connsiteX35" fmla="*/ 135575 w 572580"/>
                <a:gd name="connsiteY35" fmla="*/ 45476 h 243117"/>
                <a:gd name="connsiteX36" fmla="*/ 185813 w 572580"/>
                <a:gd name="connsiteY36" fmla="*/ 95086 h 243117"/>
                <a:gd name="connsiteX37" fmla="*/ 222976 w 572580"/>
                <a:gd name="connsiteY37" fmla="*/ 79927 h 243117"/>
                <a:gd name="connsiteX38" fmla="*/ 222976 w 572580"/>
                <a:gd name="connsiteY38" fmla="*/ 8958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2580" h="243117">
                  <a:moveTo>
                    <a:pt x="222976" y="0"/>
                  </a:moveTo>
                  <a:lnTo>
                    <a:pt x="231923" y="0"/>
                  </a:lnTo>
                  <a:lnTo>
                    <a:pt x="337905" y="0"/>
                  </a:lnTo>
                  <a:lnTo>
                    <a:pt x="346851" y="0"/>
                  </a:lnTo>
                  <a:lnTo>
                    <a:pt x="346851" y="8958"/>
                  </a:lnTo>
                  <a:lnTo>
                    <a:pt x="346851" y="79927"/>
                  </a:lnTo>
                  <a:cubicBezTo>
                    <a:pt x="360615" y="84061"/>
                    <a:pt x="373691" y="89574"/>
                    <a:pt x="386079" y="96464"/>
                  </a:cubicBezTo>
                  <a:lnTo>
                    <a:pt x="437693" y="45476"/>
                  </a:lnTo>
                  <a:lnTo>
                    <a:pt x="443887" y="38586"/>
                  </a:lnTo>
                  <a:lnTo>
                    <a:pt x="450081" y="45476"/>
                  </a:lnTo>
                  <a:lnTo>
                    <a:pt x="525094" y="119891"/>
                  </a:lnTo>
                  <a:lnTo>
                    <a:pt x="531288" y="126781"/>
                  </a:lnTo>
                  <a:lnTo>
                    <a:pt x="525094" y="132982"/>
                  </a:lnTo>
                  <a:lnTo>
                    <a:pt x="474168" y="183970"/>
                  </a:lnTo>
                  <a:cubicBezTo>
                    <a:pt x="481738" y="197062"/>
                    <a:pt x="487244" y="211531"/>
                    <a:pt x="491373" y="226001"/>
                  </a:cubicBezTo>
                  <a:lnTo>
                    <a:pt x="563633" y="226001"/>
                  </a:lnTo>
                  <a:lnTo>
                    <a:pt x="572580" y="226001"/>
                  </a:lnTo>
                  <a:lnTo>
                    <a:pt x="572580" y="234269"/>
                  </a:lnTo>
                  <a:lnTo>
                    <a:pt x="572580" y="243117"/>
                  </a:lnTo>
                  <a:lnTo>
                    <a:pt x="404845" y="243117"/>
                  </a:lnTo>
                  <a:lnTo>
                    <a:pt x="403467" y="236272"/>
                  </a:lnTo>
                  <a:cubicBezTo>
                    <a:pt x="383885" y="189956"/>
                    <a:pt x="338077" y="157787"/>
                    <a:pt x="284914" y="157787"/>
                  </a:cubicBezTo>
                  <a:cubicBezTo>
                    <a:pt x="231750" y="157787"/>
                    <a:pt x="185942" y="189956"/>
                    <a:pt x="166361" y="236272"/>
                  </a:cubicBezTo>
                  <a:lnTo>
                    <a:pt x="164983" y="243117"/>
                  </a:lnTo>
                  <a:lnTo>
                    <a:pt x="0" y="243117"/>
                  </a:lnTo>
                  <a:lnTo>
                    <a:pt x="0" y="231513"/>
                  </a:lnTo>
                  <a:lnTo>
                    <a:pt x="0" y="222556"/>
                  </a:lnTo>
                  <a:lnTo>
                    <a:pt x="8947" y="222556"/>
                  </a:lnTo>
                  <a:lnTo>
                    <a:pt x="79143" y="222556"/>
                  </a:lnTo>
                  <a:cubicBezTo>
                    <a:pt x="83960" y="208775"/>
                    <a:pt x="89466" y="194995"/>
                    <a:pt x="97036" y="181903"/>
                  </a:cubicBezTo>
                  <a:lnTo>
                    <a:pt x="48174" y="132982"/>
                  </a:lnTo>
                  <a:lnTo>
                    <a:pt x="41292" y="126781"/>
                  </a:lnTo>
                  <a:lnTo>
                    <a:pt x="48174" y="119891"/>
                  </a:lnTo>
                  <a:lnTo>
                    <a:pt x="122499" y="45476"/>
                  </a:lnTo>
                  <a:lnTo>
                    <a:pt x="128693" y="38586"/>
                  </a:lnTo>
                  <a:lnTo>
                    <a:pt x="135575" y="45476"/>
                  </a:lnTo>
                  <a:lnTo>
                    <a:pt x="185813" y="95086"/>
                  </a:lnTo>
                  <a:cubicBezTo>
                    <a:pt x="197513" y="88885"/>
                    <a:pt x="209900" y="83372"/>
                    <a:pt x="222976" y="79927"/>
                  </a:cubicBezTo>
                  <a:lnTo>
                    <a:pt x="222976" y="8958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825595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B88991-552A-4DC1-9DF0-061FFAB26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394343-E6B8-452A-BC4F-E034B8F4E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B0FFB-3DA0-46C4-B922-328153DDA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3007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29154-F38E-43B1-A4D4-75F64FB8C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1EB93-C342-47C5-80C3-9CBA0CB74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3ACB1E-DE51-4CBB-9A36-213262E830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909B42-4805-45A5-A53C-C9C6E9608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771B9-651C-4C1E-8B2D-C5BE8DA5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6A1F1C-CFF6-4132-9464-5D63A9062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2108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CE7BE-1D09-4AC1-A32E-B1BE57289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2BE75B-8AA3-4266-BB60-750DEDA674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A73F9D-BE20-4CCD-BD59-6B72668C86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B3EC-83CC-4CD1-B6B4-AA400CB90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B53B68-8FFF-4BC7-A5CC-32B752EDE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F2EA49-C7AF-4135-9636-17DE58486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52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58E94-4C5D-4AB2-AD12-DA0D08251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20575C-32C2-46CB-AE73-7ECAF25FED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66AF9-0508-4140-A987-580B38056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F9B7E3-C623-42F7-ACB2-151ED1148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4083C-98B8-48B9-99AB-633C1127B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6871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A46BD0-B5A0-4B51-932D-38F2C0C546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79C27E-7B49-4197-B9FC-6CD17ADC06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F8CB7-9C84-48C1-9CBF-B33718344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BB1B6-D4BB-453D-963B-CA5077A90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EBD65A-3ABF-48ED-88FD-8BE70A912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1753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8579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A1BFFE-E4B4-F243-8722-F04EDEC7F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CC61AE-7BCE-CB42-B025-A014ECB07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43E79F-F14E-F644-AAAF-0EF7ED900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6171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tercolor Spla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3475429"/>
      </p:ext>
    </p:extLst>
  </p:cSld>
  <p:clrMapOvr>
    <a:masterClrMapping/>
  </p:clrMapOvr>
  <p:transition advClick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19679"/>
      </p:ext>
    </p:extLst>
  </p:cSld>
  <p:clrMapOvr>
    <a:masterClrMapping/>
  </p:clrMapOvr>
  <p:transition advClick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Brea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8A0123C-EFBF-5E4C-8519-844F7D186E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05600" y="72356"/>
            <a:ext cx="4838700" cy="6728494"/>
          </a:xfrm>
          <a:custGeom>
            <a:avLst/>
            <a:gdLst>
              <a:gd name="connsiteX0" fmla="*/ 2419350 w 4838700"/>
              <a:gd name="connsiteY0" fmla="*/ 0 h 6728494"/>
              <a:gd name="connsiteX1" fmla="*/ 4838700 w 4838700"/>
              <a:gd name="connsiteY1" fmla="*/ 3364247 h 6728494"/>
              <a:gd name="connsiteX2" fmla="*/ 2419350 w 4838700"/>
              <a:gd name="connsiteY2" fmla="*/ 6728494 h 6728494"/>
              <a:gd name="connsiteX3" fmla="*/ 0 w 4838700"/>
              <a:gd name="connsiteY3" fmla="*/ 3364247 h 6728494"/>
              <a:gd name="connsiteX4" fmla="*/ 2419350 w 4838700"/>
              <a:gd name="connsiteY4" fmla="*/ 0 h 6728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700" h="6728494">
                <a:moveTo>
                  <a:pt x="2419350" y="0"/>
                </a:moveTo>
                <a:cubicBezTo>
                  <a:pt x="3755520" y="0"/>
                  <a:pt x="4838700" y="1506225"/>
                  <a:pt x="4838700" y="3364247"/>
                </a:cubicBezTo>
                <a:cubicBezTo>
                  <a:pt x="4838700" y="5222269"/>
                  <a:pt x="3755520" y="6728494"/>
                  <a:pt x="2419350" y="6728494"/>
                </a:cubicBezTo>
                <a:cubicBezTo>
                  <a:pt x="1083180" y="6728494"/>
                  <a:pt x="0" y="5222269"/>
                  <a:pt x="0" y="3364247"/>
                </a:cubicBezTo>
                <a:cubicBezTo>
                  <a:pt x="0" y="1506225"/>
                  <a:pt x="1083180" y="0"/>
                  <a:pt x="241935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127042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al Slid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71CDB1A-E8BD-244A-BD24-528B53D8692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0" y="-185136"/>
            <a:ext cx="2772000" cy="7043136"/>
            <a:chOff x="9418091" y="-179439"/>
            <a:chExt cx="2773910" cy="7043136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53936A8-5E1C-554C-A274-6C6B5E26D2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05676" y="6505853"/>
              <a:ext cx="523008" cy="352147"/>
            </a:xfrm>
            <a:custGeom>
              <a:avLst/>
              <a:gdLst>
                <a:gd name="connsiteX0" fmla="*/ 203721 w 523008"/>
                <a:gd name="connsiteY0" fmla="*/ 0 h 352147"/>
                <a:gd name="connsiteX1" fmla="*/ 211784 w 523008"/>
                <a:gd name="connsiteY1" fmla="*/ 0 h 352147"/>
                <a:gd name="connsiteX2" fmla="*/ 308000 w 523008"/>
                <a:gd name="connsiteY2" fmla="*/ 0 h 352147"/>
                <a:gd name="connsiteX3" fmla="*/ 316600 w 523008"/>
                <a:gd name="connsiteY3" fmla="*/ 0 h 352147"/>
                <a:gd name="connsiteX4" fmla="*/ 316600 w 523008"/>
                <a:gd name="connsiteY4" fmla="*/ 8071 h 352147"/>
                <a:gd name="connsiteX5" fmla="*/ 316600 w 523008"/>
                <a:gd name="connsiteY5" fmla="*/ 73178 h 352147"/>
                <a:gd name="connsiteX6" fmla="*/ 352614 w 523008"/>
                <a:gd name="connsiteY6" fmla="*/ 88245 h 352147"/>
                <a:gd name="connsiteX7" fmla="*/ 399379 w 523008"/>
                <a:gd name="connsiteY7" fmla="*/ 41432 h 352147"/>
                <a:gd name="connsiteX8" fmla="*/ 405291 w 523008"/>
                <a:gd name="connsiteY8" fmla="*/ 35513 h 352147"/>
                <a:gd name="connsiteX9" fmla="*/ 411204 w 523008"/>
                <a:gd name="connsiteY9" fmla="*/ 41432 h 352147"/>
                <a:gd name="connsiteX10" fmla="*/ 479469 w 523008"/>
                <a:gd name="connsiteY10" fmla="*/ 109768 h 352147"/>
                <a:gd name="connsiteX11" fmla="*/ 485382 w 523008"/>
                <a:gd name="connsiteY11" fmla="*/ 115686 h 352147"/>
                <a:gd name="connsiteX12" fmla="*/ 479469 w 523008"/>
                <a:gd name="connsiteY12" fmla="*/ 121605 h 352147"/>
                <a:gd name="connsiteX13" fmla="*/ 433242 w 523008"/>
                <a:gd name="connsiteY13" fmla="*/ 167880 h 352147"/>
                <a:gd name="connsiteX14" fmla="*/ 448830 w 523008"/>
                <a:gd name="connsiteY14" fmla="*/ 206083 h 352147"/>
                <a:gd name="connsiteX15" fmla="*/ 514408 w 523008"/>
                <a:gd name="connsiteY15" fmla="*/ 206083 h 352147"/>
                <a:gd name="connsiteX16" fmla="*/ 523008 w 523008"/>
                <a:gd name="connsiteY16" fmla="*/ 206083 h 352147"/>
                <a:gd name="connsiteX17" fmla="*/ 523008 w 523008"/>
                <a:gd name="connsiteY17" fmla="*/ 214692 h 352147"/>
                <a:gd name="connsiteX18" fmla="*/ 523008 w 523008"/>
                <a:gd name="connsiteY18" fmla="*/ 311546 h 352147"/>
                <a:gd name="connsiteX19" fmla="*/ 523008 w 523008"/>
                <a:gd name="connsiteY19" fmla="*/ 319617 h 352147"/>
                <a:gd name="connsiteX20" fmla="*/ 514408 w 523008"/>
                <a:gd name="connsiteY20" fmla="*/ 319617 h 352147"/>
                <a:gd name="connsiteX21" fmla="*/ 447755 w 523008"/>
                <a:gd name="connsiteY21" fmla="*/ 319617 h 352147"/>
                <a:gd name="connsiteX22" fmla="*/ 434461 w 523008"/>
                <a:gd name="connsiteY22" fmla="*/ 352147 h 352147"/>
                <a:gd name="connsiteX23" fmla="*/ 332155 w 523008"/>
                <a:gd name="connsiteY23" fmla="*/ 352147 h 352147"/>
                <a:gd name="connsiteX24" fmla="*/ 342939 w 523008"/>
                <a:gd name="connsiteY24" fmla="*/ 344839 h 352147"/>
                <a:gd name="connsiteX25" fmla="*/ 377340 w 523008"/>
                <a:gd name="connsiteY25" fmla="*/ 261505 h 352147"/>
                <a:gd name="connsiteX26" fmla="*/ 260160 w 523008"/>
                <a:gd name="connsiteY26" fmla="*/ 144204 h 352147"/>
                <a:gd name="connsiteX27" fmla="*/ 142443 w 523008"/>
                <a:gd name="connsiteY27" fmla="*/ 261505 h 352147"/>
                <a:gd name="connsiteX28" fmla="*/ 176912 w 523008"/>
                <a:gd name="connsiteY28" fmla="*/ 344839 h 352147"/>
                <a:gd name="connsiteX29" fmla="*/ 187742 w 523008"/>
                <a:gd name="connsiteY29" fmla="*/ 352147 h 352147"/>
                <a:gd name="connsiteX30" fmla="*/ 86034 w 523008"/>
                <a:gd name="connsiteY30" fmla="*/ 352147 h 352147"/>
                <a:gd name="connsiteX31" fmla="*/ 71490 w 523008"/>
                <a:gd name="connsiteY31" fmla="*/ 316926 h 352147"/>
                <a:gd name="connsiteX32" fmla="*/ 8063 w 523008"/>
                <a:gd name="connsiteY32" fmla="*/ 316926 h 352147"/>
                <a:gd name="connsiteX33" fmla="*/ 0 w 523008"/>
                <a:gd name="connsiteY33" fmla="*/ 316926 h 352147"/>
                <a:gd name="connsiteX34" fmla="*/ 0 w 523008"/>
                <a:gd name="connsiteY34" fmla="*/ 308855 h 352147"/>
                <a:gd name="connsiteX35" fmla="*/ 0 w 523008"/>
                <a:gd name="connsiteY35" fmla="*/ 212002 h 352147"/>
                <a:gd name="connsiteX36" fmla="*/ 0 w 523008"/>
                <a:gd name="connsiteY36" fmla="*/ 203393 h 352147"/>
                <a:gd name="connsiteX37" fmla="*/ 8063 w 523008"/>
                <a:gd name="connsiteY37" fmla="*/ 203393 h 352147"/>
                <a:gd name="connsiteX38" fmla="*/ 72028 w 523008"/>
                <a:gd name="connsiteY38" fmla="*/ 203393 h 352147"/>
                <a:gd name="connsiteX39" fmla="*/ 88154 w 523008"/>
                <a:gd name="connsiteY39" fmla="*/ 166265 h 352147"/>
                <a:gd name="connsiteX40" fmla="*/ 43539 w 523008"/>
                <a:gd name="connsiteY40" fmla="*/ 121605 h 352147"/>
                <a:gd name="connsiteX41" fmla="*/ 37627 w 523008"/>
                <a:gd name="connsiteY41" fmla="*/ 115686 h 352147"/>
                <a:gd name="connsiteX42" fmla="*/ 43539 w 523008"/>
                <a:gd name="connsiteY42" fmla="*/ 109768 h 352147"/>
                <a:gd name="connsiteX43" fmla="*/ 111804 w 523008"/>
                <a:gd name="connsiteY43" fmla="*/ 41432 h 352147"/>
                <a:gd name="connsiteX44" fmla="*/ 117717 w 523008"/>
                <a:gd name="connsiteY44" fmla="*/ 35513 h 352147"/>
                <a:gd name="connsiteX45" fmla="*/ 123092 w 523008"/>
                <a:gd name="connsiteY45" fmla="*/ 41432 h 352147"/>
                <a:gd name="connsiteX46" fmla="*/ 169319 w 523008"/>
                <a:gd name="connsiteY46" fmla="*/ 87168 h 352147"/>
                <a:gd name="connsiteX47" fmla="*/ 203721 w 523008"/>
                <a:gd name="connsiteY47" fmla="*/ 73178 h 352147"/>
                <a:gd name="connsiteX48" fmla="*/ 203721 w 523008"/>
                <a:gd name="connsiteY48" fmla="*/ 8071 h 352147"/>
                <a:gd name="connsiteX49" fmla="*/ 203721 w 523008"/>
                <a:gd name="connsiteY49" fmla="*/ 0 h 35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23008" h="352147">
                  <a:moveTo>
                    <a:pt x="203721" y="0"/>
                  </a:moveTo>
                  <a:lnTo>
                    <a:pt x="211784" y="0"/>
                  </a:lnTo>
                  <a:lnTo>
                    <a:pt x="308000" y="0"/>
                  </a:lnTo>
                  <a:lnTo>
                    <a:pt x="316600" y="0"/>
                  </a:lnTo>
                  <a:lnTo>
                    <a:pt x="316600" y="8071"/>
                  </a:lnTo>
                  <a:lnTo>
                    <a:pt x="316600" y="73178"/>
                  </a:lnTo>
                  <a:cubicBezTo>
                    <a:pt x="328963" y="76945"/>
                    <a:pt x="341326" y="81788"/>
                    <a:pt x="352614" y="88245"/>
                  </a:cubicBezTo>
                  <a:lnTo>
                    <a:pt x="399379" y="41432"/>
                  </a:lnTo>
                  <a:lnTo>
                    <a:pt x="405291" y="35513"/>
                  </a:lnTo>
                  <a:lnTo>
                    <a:pt x="411204" y="41432"/>
                  </a:lnTo>
                  <a:lnTo>
                    <a:pt x="479469" y="109768"/>
                  </a:lnTo>
                  <a:lnTo>
                    <a:pt x="485382" y="115686"/>
                  </a:lnTo>
                  <a:lnTo>
                    <a:pt x="479469" y="121605"/>
                  </a:lnTo>
                  <a:lnTo>
                    <a:pt x="433242" y="167880"/>
                  </a:lnTo>
                  <a:cubicBezTo>
                    <a:pt x="439693" y="180255"/>
                    <a:pt x="445068" y="193169"/>
                    <a:pt x="448830" y="206083"/>
                  </a:cubicBezTo>
                  <a:lnTo>
                    <a:pt x="514408" y="206083"/>
                  </a:lnTo>
                  <a:lnTo>
                    <a:pt x="523008" y="206083"/>
                  </a:lnTo>
                  <a:lnTo>
                    <a:pt x="523008" y="214692"/>
                  </a:lnTo>
                  <a:lnTo>
                    <a:pt x="523008" y="311546"/>
                  </a:lnTo>
                  <a:lnTo>
                    <a:pt x="523008" y="319617"/>
                  </a:lnTo>
                  <a:lnTo>
                    <a:pt x="514408" y="319617"/>
                  </a:lnTo>
                  <a:lnTo>
                    <a:pt x="447755" y="319617"/>
                  </a:lnTo>
                  <a:lnTo>
                    <a:pt x="434461" y="352147"/>
                  </a:lnTo>
                  <a:lnTo>
                    <a:pt x="332155" y="352147"/>
                  </a:lnTo>
                  <a:lnTo>
                    <a:pt x="342939" y="344839"/>
                  </a:lnTo>
                  <a:cubicBezTo>
                    <a:pt x="364171" y="323518"/>
                    <a:pt x="377340" y="294059"/>
                    <a:pt x="377340" y="261505"/>
                  </a:cubicBezTo>
                  <a:cubicBezTo>
                    <a:pt x="377340" y="196936"/>
                    <a:pt x="324663" y="144204"/>
                    <a:pt x="260160" y="144204"/>
                  </a:cubicBezTo>
                  <a:cubicBezTo>
                    <a:pt x="195120" y="144204"/>
                    <a:pt x="142443" y="196936"/>
                    <a:pt x="142443" y="261505"/>
                  </a:cubicBezTo>
                  <a:cubicBezTo>
                    <a:pt x="142443" y="294059"/>
                    <a:pt x="155612" y="323518"/>
                    <a:pt x="176912" y="344839"/>
                  </a:cubicBezTo>
                  <a:lnTo>
                    <a:pt x="187742" y="352147"/>
                  </a:lnTo>
                  <a:lnTo>
                    <a:pt x="86034" y="352147"/>
                  </a:lnTo>
                  <a:lnTo>
                    <a:pt x="71490" y="316926"/>
                  </a:lnTo>
                  <a:lnTo>
                    <a:pt x="8063" y="316926"/>
                  </a:lnTo>
                  <a:lnTo>
                    <a:pt x="0" y="316926"/>
                  </a:lnTo>
                  <a:lnTo>
                    <a:pt x="0" y="308855"/>
                  </a:lnTo>
                  <a:lnTo>
                    <a:pt x="0" y="212002"/>
                  </a:lnTo>
                  <a:lnTo>
                    <a:pt x="0" y="203393"/>
                  </a:lnTo>
                  <a:lnTo>
                    <a:pt x="8063" y="203393"/>
                  </a:lnTo>
                  <a:lnTo>
                    <a:pt x="72028" y="203393"/>
                  </a:lnTo>
                  <a:cubicBezTo>
                    <a:pt x="75791" y="191017"/>
                    <a:pt x="81166" y="178103"/>
                    <a:pt x="88154" y="166265"/>
                  </a:cubicBezTo>
                  <a:lnTo>
                    <a:pt x="43539" y="121605"/>
                  </a:lnTo>
                  <a:lnTo>
                    <a:pt x="37627" y="115686"/>
                  </a:lnTo>
                  <a:lnTo>
                    <a:pt x="43539" y="109768"/>
                  </a:lnTo>
                  <a:lnTo>
                    <a:pt x="111804" y="41432"/>
                  </a:lnTo>
                  <a:lnTo>
                    <a:pt x="117717" y="35513"/>
                  </a:lnTo>
                  <a:lnTo>
                    <a:pt x="123092" y="41432"/>
                  </a:lnTo>
                  <a:lnTo>
                    <a:pt x="169319" y="87168"/>
                  </a:lnTo>
                  <a:cubicBezTo>
                    <a:pt x="180070" y="81250"/>
                    <a:pt x="191358" y="76945"/>
                    <a:pt x="203721" y="73178"/>
                  </a:cubicBezTo>
                  <a:lnTo>
                    <a:pt x="203721" y="8071"/>
                  </a:lnTo>
                  <a:lnTo>
                    <a:pt x="203721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D4C7A0FD-779C-7841-89AC-29107042AA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990816" y="6505900"/>
              <a:ext cx="201185" cy="352100"/>
            </a:xfrm>
            <a:custGeom>
              <a:avLst/>
              <a:gdLst>
                <a:gd name="connsiteX0" fmla="*/ 141617 w 201185"/>
                <a:gd name="connsiteY0" fmla="*/ 0 h 352100"/>
                <a:gd name="connsiteX1" fmla="*/ 164683 w 201185"/>
                <a:gd name="connsiteY1" fmla="*/ 40232 h 352100"/>
                <a:gd name="connsiteX2" fmla="*/ 201185 w 201185"/>
                <a:gd name="connsiteY2" fmla="*/ 30232 h 352100"/>
                <a:gd name="connsiteX3" fmla="*/ 201185 w 201185"/>
                <a:gd name="connsiteY3" fmla="*/ 91745 h 352100"/>
                <a:gd name="connsiteX4" fmla="*/ 182117 w 201185"/>
                <a:gd name="connsiteY4" fmla="*/ 95635 h 352100"/>
                <a:gd name="connsiteX5" fmla="*/ 102458 w 201185"/>
                <a:gd name="connsiteY5" fmla="*/ 216180 h 352100"/>
                <a:gd name="connsiteX6" fmla="*/ 182117 w 201185"/>
                <a:gd name="connsiteY6" fmla="*/ 336801 h 352100"/>
                <a:gd name="connsiteX7" fmla="*/ 201185 w 201185"/>
                <a:gd name="connsiteY7" fmla="*/ 340663 h 352100"/>
                <a:gd name="connsiteX8" fmla="*/ 201185 w 201185"/>
                <a:gd name="connsiteY8" fmla="*/ 352100 h 352100"/>
                <a:gd name="connsiteX9" fmla="*/ 102876 w 201185"/>
                <a:gd name="connsiteY9" fmla="*/ 352100 h 352100"/>
                <a:gd name="connsiteX10" fmla="*/ 85828 w 201185"/>
                <a:gd name="connsiteY10" fmla="*/ 334731 h 352100"/>
                <a:gd name="connsiteX11" fmla="*/ 55937 w 201185"/>
                <a:gd name="connsiteY11" fmla="*/ 352100 h 352100"/>
                <a:gd name="connsiteX12" fmla="*/ 42800 w 201185"/>
                <a:gd name="connsiteY12" fmla="*/ 352100 h 352100"/>
                <a:gd name="connsiteX13" fmla="*/ 16629 w 201185"/>
                <a:gd name="connsiteY13" fmla="*/ 307373 h 352100"/>
                <a:gd name="connsiteX14" fmla="*/ 56861 w 201185"/>
                <a:gd name="connsiteY14" fmla="*/ 284843 h 352100"/>
                <a:gd name="connsiteX15" fmla="*/ 46669 w 201185"/>
                <a:gd name="connsiteY15" fmla="*/ 245684 h 352100"/>
                <a:gd name="connsiteX16" fmla="*/ 0 w 201185"/>
                <a:gd name="connsiteY16" fmla="*/ 245684 h 352100"/>
                <a:gd name="connsiteX17" fmla="*/ 0 w 201185"/>
                <a:gd name="connsiteY17" fmla="*/ 187213 h 352100"/>
                <a:gd name="connsiteX18" fmla="*/ 46669 w 201185"/>
                <a:gd name="connsiteY18" fmla="*/ 187213 h 352100"/>
                <a:gd name="connsiteX19" fmla="*/ 56861 w 201185"/>
                <a:gd name="connsiteY19" fmla="*/ 148054 h 352100"/>
                <a:gd name="connsiteX20" fmla="*/ 16629 w 201185"/>
                <a:gd name="connsiteY20" fmla="*/ 124988 h 352100"/>
                <a:gd name="connsiteX21" fmla="*/ 46133 w 201185"/>
                <a:gd name="connsiteY21" fmla="*/ 74564 h 352100"/>
                <a:gd name="connsiteX22" fmla="*/ 85828 w 201185"/>
                <a:gd name="connsiteY22" fmla="*/ 97630 h 352100"/>
                <a:gd name="connsiteX23" fmla="*/ 114259 w 201185"/>
                <a:gd name="connsiteY23" fmla="*/ 69199 h 352100"/>
                <a:gd name="connsiteX24" fmla="*/ 91729 w 201185"/>
                <a:gd name="connsiteY24" fmla="*/ 29504 h 352100"/>
                <a:gd name="connsiteX25" fmla="*/ 141617 w 201185"/>
                <a:gd name="connsiteY25" fmla="*/ 0 h 35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1185" h="352100">
                  <a:moveTo>
                    <a:pt x="141617" y="0"/>
                  </a:moveTo>
                  <a:lnTo>
                    <a:pt x="164683" y="40232"/>
                  </a:lnTo>
                  <a:lnTo>
                    <a:pt x="201185" y="30232"/>
                  </a:lnTo>
                  <a:lnTo>
                    <a:pt x="201185" y="91745"/>
                  </a:lnTo>
                  <a:lnTo>
                    <a:pt x="182117" y="95635"/>
                  </a:lnTo>
                  <a:cubicBezTo>
                    <a:pt x="135347" y="115600"/>
                    <a:pt x="102458" y="162269"/>
                    <a:pt x="102458" y="216180"/>
                  </a:cubicBezTo>
                  <a:cubicBezTo>
                    <a:pt x="102458" y="270494"/>
                    <a:pt x="135347" y="316961"/>
                    <a:pt x="182117" y="336801"/>
                  </a:cubicBezTo>
                  <a:lnTo>
                    <a:pt x="201185" y="340663"/>
                  </a:lnTo>
                  <a:lnTo>
                    <a:pt x="201185" y="352100"/>
                  </a:lnTo>
                  <a:lnTo>
                    <a:pt x="102876" y="352100"/>
                  </a:lnTo>
                  <a:lnTo>
                    <a:pt x="85828" y="334731"/>
                  </a:lnTo>
                  <a:lnTo>
                    <a:pt x="55937" y="352100"/>
                  </a:lnTo>
                  <a:lnTo>
                    <a:pt x="42800" y="352100"/>
                  </a:lnTo>
                  <a:lnTo>
                    <a:pt x="16629" y="307373"/>
                  </a:lnTo>
                  <a:lnTo>
                    <a:pt x="56861" y="284843"/>
                  </a:lnTo>
                  <a:cubicBezTo>
                    <a:pt x="52033" y="272505"/>
                    <a:pt x="48278" y="259094"/>
                    <a:pt x="46669" y="245684"/>
                  </a:cubicBezTo>
                  <a:lnTo>
                    <a:pt x="0" y="245684"/>
                  </a:lnTo>
                  <a:lnTo>
                    <a:pt x="0" y="187213"/>
                  </a:lnTo>
                  <a:lnTo>
                    <a:pt x="46669" y="187213"/>
                  </a:lnTo>
                  <a:cubicBezTo>
                    <a:pt x="48278" y="173803"/>
                    <a:pt x="52033" y="160928"/>
                    <a:pt x="56861" y="148054"/>
                  </a:cubicBezTo>
                  <a:lnTo>
                    <a:pt x="16629" y="124988"/>
                  </a:lnTo>
                  <a:lnTo>
                    <a:pt x="46133" y="74564"/>
                  </a:lnTo>
                  <a:lnTo>
                    <a:pt x="85828" y="97630"/>
                  </a:lnTo>
                  <a:cubicBezTo>
                    <a:pt x="94411" y="87438"/>
                    <a:pt x="103531" y="77782"/>
                    <a:pt x="114259" y="69199"/>
                  </a:cubicBezTo>
                  <a:lnTo>
                    <a:pt x="91729" y="29504"/>
                  </a:lnTo>
                  <a:lnTo>
                    <a:pt x="141617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6D576DB-8AE3-404C-A5DA-9076621FD2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46753" y="6840631"/>
              <a:ext cx="46939" cy="17369"/>
            </a:xfrm>
            <a:custGeom>
              <a:avLst/>
              <a:gdLst>
                <a:gd name="connsiteX0" fmla="*/ 29891 w 46939"/>
                <a:gd name="connsiteY0" fmla="*/ 0 h 17369"/>
                <a:gd name="connsiteX1" fmla="*/ 46939 w 46939"/>
                <a:gd name="connsiteY1" fmla="*/ 17369 h 17369"/>
                <a:gd name="connsiteX2" fmla="*/ 0 w 46939"/>
                <a:gd name="connsiteY2" fmla="*/ 17369 h 17369"/>
                <a:gd name="connsiteX3" fmla="*/ 29891 w 46939"/>
                <a:gd name="connsiteY3" fmla="*/ 0 h 1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939" h="17369">
                  <a:moveTo>
                    <a:pt x="29891" y="0"/>
                  </a:moveTo>
                  <a:lnTo>
                    <a:pt x="46939" y="17369"/>
                  </a:lnTo>
                  <a:lnTo>
                    <a:pt x="0" y="17369"/>
                  </a:lnTo>
                  <a:lnTo>
                    <a:pt x="29891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0F55244-2891-894E-BD93-E5F1399E48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33616" y="6858000"/>
              <a:ext cx="13137" cy="5697"/>
            </a:xfrm>
            <a:custGeom>
              <a:avLst/>
              <a:gdLst>
                <a:gd name="connsiteX0" fmla="*/ 0 w 13137"/>
                <a:gd name="connsiteY0" fmla="*/ 0 h 5697"/>
                <a:gd name="connsiteX1" fmla="*/ 13137 w 13137"/>
                <a:gd name="connsiteY1" fmla="*/ 0 h 5697"/>
                <a:gd name="connsiteX2" fmla="*/ 3333 w 13137"/>
                <a:gd name="connsiteY2" fmla="*/ 5697 h 5697"/>
                <a:gd name="connsiteX3" fmla="*/ 0 w 13137"/>
                <a:gd name="connsiteY3" fmla="*/ 0 h 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37" h="5697">
                  <a:moveTo>
                    <a:pt x="0" y="0"/>
                  </a:moveTo>
                  <a:lnTo>
                    <a:pt x="13137" y="0"/>
                  </a:lnTo>
                  <a:lnTo>
                    <a:pt x="3333" y="56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F776A743-7FC6-504A-AABE-33E8ACF48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8091" y="1315395"/>
              <a:ext cx="1902300" cy="1902299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021E30C6-CABC-3543-B310-44F29E15A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1920" y="-179439"/>
              <a:ext cx="523546" cy="523547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2D8DC88F-B721-9145-AEC0-ED9D447BE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6252" y="5575161"/>
              <a:ext cx="767619" cy="769964"/>
            </a:xfrm>
            <a:custGeom>
              <a:avLst/>
              <a:gdLst>
                <a:gd name="T0" fmla="*/ 201064 w 1430"/>
                <a:gd name="T1" fmla="*/ 195414 h 1431"/>
                <a:gd name="T2" fmla="*/ 319401 w 1430"/>
                <a:gd name="T3" fmla="*/ 201544 h 1431"/>
                <a:gd name="T4" fmla="*/ 313286 w 1430"/>
                <a:gd name="T5" fmla="*/ 320162 h 1431"/>
                <a:gd name="T6" fmla="*/ 194949 w 1430"/>
                <a:gd name="T7" fmla="*/ 314033 h 1431"/>
                <a:gd name="T8" fmla="*/ 91360 w 1430"/>
                <a:gd name="T9" fmla="*/ 131238 h 1431"/>
                <a:gd name="T10" fmla="*/ 74095 w 1430"/>
                <a:gd name="T11" fmla="*/ 157557 h 1431"/>
                <a:gd name="T12" fmla="*/ 26617 w 1430"/>
                <a:gd name="T13" fmla="*/ 142054 h 1431"/>
                <a:gd name="T14" fmla="*/ 5036 w 1430"/>
                <a:gd name="T15" fmla="*/ 208394 h 1431"/>
                <a:gd name="T16" fmla="*/ 10431 w 1430"/>
                <a:gd name="T17" fmla="*/ 218489 h 1431"/>
                <a:gd name="T18" fmla="*/ 50356 w 1430"/>
                <a:gd name="T19" fmla="*/ 231469 h 1431"/>
                <a:gd name="T20" fmla="*/ 7553 w 1430"/>
                <a:gd name="T21" fmla="*/ 271489 h 1431"/>
                <a:gd name="T22" fmla="*/ 1439 w 1430"/>
                <a:gd name="T23" fmla="*/ 280502 h 1431"/>
                <a:gd name="T24" fmla="*/ 15826 w 1430"/>
                <a:gd name="T25" fmla="*/ 349006 h 1431"/>
                <a:gd name="T26" fmla="*/ 65103 w 1430"/>
                <a:gd name="T27" fmla="*/ 338550 h 1431"/>
                <a:gd name="T28" fmla="*/ 79131 w 1430"/>
                <a:gd name="T29" fmla="*/ 366312 h 1431"/>
                <a:gd name="T30" fmla="*/ 42083 w 1430"/>
                <a:gd name="T31" fmla="*/ 399842 h 1431"/>
                <a:gd name="T32" fmla="*/ 88483 w 1430"/>
                <a:gd name="T33" fmla="*/ 451760 h 1431"/>
                <a:gd name="T34" fmla="*/ 99633 w 1430"/>
                <a:gd name="T35" fmla="*/ 452121 h 1431"/>
                <a:gd name="T36" fmla="*/ 131285 w 1430"/>
                <a:gd name="T37" fmla="*/ 423638 h 1431"/>
                <a:gd name="T38" fmla="*/ 143874 w 1430"/>
                <a:gd name="T39" fmla="*/ 480964 h 1431"/>
                <a:gd name="T40" fmla="*/ 149269 w 1430"/>
                <a:gd name="T41" fmla="*/ 491060 h 1431"/>
                <a:gd name="T42" fmla="*/ 215452 w 1430"/>
                <a:gd name="T43" fmla="*/ 512692 h 1431"/>
                <a:gd name="T44" fmla="*/ 230918 w 1430"/>
                <a:gd name="T45" fmla="*/ 464740 h 1431"/>
                <a:gd name="T46" fmla="*/ 261851 w 1430"/>
                <a:gd name="T47" fmla="*/ 466543 h 1431"/>
                <a:gd name="T48" fmla="*/ 272282 w 1430"/>
                <a:gd name="T49" fmla="*/ 515576 h 1431"/>
                <a:gd name="T50" fmla="*/ 340262 w 1430"/>
                <a:gd name="T51" fmla="*/ 500794 h 1431"/>
                <a:gd name="T52" fmla="*/ 346377 w 1430"/>
                <a:gd name="T53" fmla="*/ 491781 h 1431"/>
                <a:gd name="T54" fmla="*/ 337745 w 1430"/>
                <a:gd name="T55" fmla="*/ 450318 h 1431"/>
                <a:gd name="T56" fmla="*/ 393496 w 1430"/>
                <a:gd name="T57" fmla="*/ 467264 h 1431"/>
                <a:gd name="T58" fmla="*/ 404646 w 1430"/>
                <a:gd name="T59" fmla="*/ 467985 h 1431"/>
                <a:gd name="T60" fmla="*/ 456441 w 1430"/>
                <a:gd name="T61" fmla="*/ 421475 h 1431"/>
                <a:gd name="T62" fmla="*/ 422990 w 1430"/>
                <a:gd name="T63" fmla="*/ 383978 h 1431"/>
                <a:gd name="T64" fmla="*/ 439895 w 1430"/>
                <a:gd name="T65" fmla="*/ 358019 h 1431"/>
                <a:gd name="T66" fmla="*/ 487374 w 1430"/>
                <a:gd name="T67" fmla="*/ 373523 h 1431"/>
                <a:gd name="T68" fmla="*/ 508955 w 1430"/>
                <a:gd name="T69" fmla="*/ 306822 h 1431"/>
                <a:gd name="T70" fmla="*/ 503559 w 1430"/>
                <a:gd name="T71" fmla="*/ 297087 h 1431"/>
                <a:gd name="T72" fmla="*/ 463634 w 1430"/>
                <a:gd name="T73" fmla="*/ 284108 h 1431"/>
                <a:gd name="T74" fmla="*/ 506437 w 1430"/>
                <a:gd name="T75" fmla="*/ 244088 h 1431"/>
                <a:gd name="T76" fmla="*/ 512552 w 1430"/>
                <a:gd name="T77" fmla="*/ 234713 h 1431"/>
                <a:gd name="T78" fmla="*/ 498164 w 1430"/>
                <a:gd name="T79" fmla="*/ 166210 h 1431"/>
                <a:gd name="T80" fmla="*/ 448887 w 1430"/>
                <a:gd name="T81" fmla="*/ 177027 h 1431"/>
                <a:gd name="T82" fmla="*/ 434860 w 1430"/>
                <a:gd name="T83" fmla="*/ 149265 h 1431"/>
                <a:gd name="T84" fmla="*/ 471907 w 1430"/>
                <a:gd name="T85" fmla="*/ 115374 h 1431"/>
                <a:gd name="T86" fmla="*/ 425508 w 1430"/>
                <a:gd name="T87" fmla="*/ 63816 h 1431"/>
                <a:gd name="T88" fmla="*/ 414357 w 1430"/>
                <a:gd name="T89" fmla="*/ 63095 h 1431"/>
                <a:gd name="T90" fmla="*/ 383065 w 1430"/>
                <a:gd name="T91" fmla="*/ 91578 h 1431"/>
                <a:gd name="T92" fmla="*/ 370116 w 1430"/>
                <a:gd name="T93" fmla="*/ 34612 h 1431"/>
                <a:gd name="T94" fmla="*/ 365081 w 1430"/>
                <a:gd name="T95" fmla="*/ 24517 h 1431"/>
                <a:gd name="T96" fmla="*/ 298539 w 1430"/>
                <a:gd name="T97" fmla="*/ 2884 h 1431"/>
                <a:gd name="T98" fmla="*/ 283072 w 1430"/>
                <a:gd name="T99" fmla="*/ 50476 h 1431"/>
                <a:gd name="T100" fmla="*/ 252139 w 1430"/>
                <a:gd name="T101" fmla="*/ 48673 h 1431"/>
                <a:gd name="T102" fmla="*/ 241709 w 1430"/>
                <a:gd name="T103" fmla="*/ 0 h 1431"/>
                <a:gd name="T104" fmla="*/ 173728 w 1430"/>
                <a:gd name="T105" fmla="*/ 14422 h 1431"/>
                <a:gd name="T106" fmla="*/ 167613 w 1430"/>
                <a:gd name="T107" fmla="*/ 23796 h 1431"/>
                <a:gd name="T108" fmla="*/ 176605 w 1430"/>
                <a:gd name="T109" fmla="*/ 65258 h 1431"/>
                <a:gd name="T110" fmla="*/ 120495 w 1430"/>
                <a:gd name="T111" fmla="*/ 47952 h 1431"/>
                <a:gd name="T112" fmla="*/ 109344 w 1430"/>
                <a:gd name="T113" fmla="*/ 47231 h 1431"/>
                <a:gd name="T114" fmla="*/ 57550 w 1430"/>
                <a:gd name="T115" fmla="*/ 94102 h 1431"/>
                <a:gd name="T116" fmla="*/ 91360 w 1430"/>
                <a:gd name="T117" fmla="*/ 131238 h 14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cubicBezTo>
                    <a:pt x="974" y="654"/>
                    <a:pt x="966" y="802"/>
                    <a:pt x="871" y="888"/>
                  </a:cubicBezTo>
                  <a:cubicBezTo>
                    <a:pt x="775" y="973"/>
                    <a:pt x="628" y="966"/>
                    <a:pt x="542" y="871"/>
                  </a:cubicBez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B2DF1DB-49F6-6542-AB14-B69359B0C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3254" y="4224517"/>
              <a:ext cx="769922" cy="769921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60A29749-23D4-024B-A95B-D0900ACA8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7848" y="3217694"/>
              <a:ext cx="769923" cy="769922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58E9491B-BAD9-CA4D-B656-44B41A11E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9955" y="232788"/>
              <a:ext cx="1030600" cy="1030569"/>
            </a:xfrm>
            <a:custGeom>
              <a:avLst/>
              <a:gdLst>
                <a:gd name="T0" fmla="*/ 498300 w 1918"/>
                <a:gd name="T1" fmla="*/ 345282 h 1918"/>
                <a:gd name="T2" fmla="*/ 343481 w 1918"/>
                <a:gd name="T3" fmla="*/ 500100 h 1918"/>
                <a:gd name="T4" fmla="*/ 188303 w 1918"/>
                <a:gd name="T5" fmla="*/ 345282 h 1918"/>
                <a:gd name="T6" fmla="*/ 343481 w 1918"/>
                <a:gd name="T7" fmla="*/ 190103 h 1918"/>
                <a:gd name="T8" fmla="*/ 679402 w 1918"/>
                <a:gd name="T9" fmla="*/ 421611 h 1918"/>
                <a:gd name="T10" fmla="*/ 690203 w 1918"/>
                <a:gd name="T11" fmla="*/ 410809 h 1918"/>
                <a:gd name="T12" fmla="*/ 690203 w 1918"/>
                <a:gd name="T13" fmla="*/ 272193 h 1918"/>
                <a:gd name="T14" fmla="*/ 592631 w 1918"/>
                <a:gd name="T15" fmla="*/ 272193 h 1918"/>
                <a:gd name="T16" fmla="*/ 571749 w 1918"/>
                <a:gd name="T17" fmla="*/ 221787 h 1918"/>
                <a:gd name="T18" fmla="*/ 640517 w 1918"/>
                <a:gd name="T19" fmla="*/ 152658 h 1918"/>
                <a:gd name="T20" fmla="*/ 542945 w 1918"/>
                <a:gd name="T21" fmla="*/ 54727 h 1918"/>
                <a:gd name="T22" fmla="*/ 527463 w 1918"/>
                <a:gd name="T23" fmla="*/ 54727 h 1918"/>
                <a:gd name="T24" fmla="*/ 465896 w 1918"/>
                <a:gd name="T25" fmla="*/ 116294 h 1918"/>
                <a:gd name="T26" fmla="*/ 418010 w 1918"/>
                <a:gd name="T27" fmla="*/ 10801 h 1918"/>
                <a:gd name="T28" fmla="*/ 406849 w 1918"/>
                <a:gd name="T29" fmla="*/ 0 h 1918"/>
                <a:gd name="T30" fmla="*/ 268592 w 1918"/>
                <a:gd name="T31" fmla="*/ 0 h 1918"/>
                <a:gd name="T32" fmla="*/ 268592 w 1918"/>
                <a:gd name="T33" fmla="*/ 96492 h 1918"/>
                <a:gd name="T34" fmla="*/ 223227 w 1918"/>
                <a:gd name="T35" fmla="*/ 114854 h 1918"/>
                <a:gd name="T36" fmla="*/ 155179 w 1918"/>
                <a:gd name="T37" fmla="*/ 46806 h 1918"/>
                <a:gd name="T38" fmla="*/ 57247 w 1918"/>
                <a:gd name="T39" fmla="*/ 144737 h 1918"/>
                <a:gd name="T40" fmla="*/ 57247 w 1918"/>
                <a:gd name="T41" fmla="*/ 160219 h 1918"/>
                <a:gd name="T42" fmla="*/ 116294 w 1918"/>
                <a:gd name="T43" fmla="*/ 219266 h 1918"/>
                <a:gd name="T44" fmla="*/ 11161 w 1918"/>
                <a:gd name="T45" fmla="*/ 268232 h 1918"/>
                <a:gd name="T46" fmla="*/ 0 w 1918"/>
                <a:gd name="T47" fmla="*/ 279394 h 1918"/>
                <a:gd name="T48" fmla="*/ 0 w 1918"/>
                <a:gd name="T49" fmla="*/ 418010 h 1918"/>
                <a:gd name="T50" fmla="*/ 94331 w 1918"/>
                <a:gd name="T51" fmla="*/ 418010 h 1918"/>
                <a:gd name="T52" fmla="*/ 116294 w 1918"/>
                <a:gd name="T53" fmla="*/ 470937 h 1918"/>
                <a:gd name="T54" fmla="*/ 49326 w 1918"/>
                <a:gd name="T55" fmla="*/ 537545 h 1918"/>
                <a:gd name="T56" fmla="*/ 147618 w 1918"/>
                <a:gd name="T57" fmla="*/ 635476 h 1918"/>
                <a:gd name="T58" fmla="*/ 163100 w 1918"/>
                <a:gd name="T59" fmla="*/ 635476 h 1918"/>
                <a:gd name="T60" fmla="*/ 223227 w 1918"/>
                <a:gd name="T61" fmla="*/ 575349 h 1918"/>
                <a:gd name="T62" fmla="*/ 272193 w 1918"/>
                <a:gd name="T63" fmla="*/ 679402 h 1918"/>
                <a:gd name="T64" fmla="*/ 282994 w 1918"/>
                <a:gd name="T65" fmla="*/ 690203 h 1918"/>
                <a:gd name="T66" fmla="*/ 421611 w 1918"/>
                <a:gd name="T67" fmla="*/ 690203 h 1918"/>
                <a:gd name="T68" fmla="*/ 421611 w 1918"/>
                <a:gd name="T69" fmla="*/ 592631 h 1918"/>
                <a:gd name="T70" fmla="*/ 465896 w 1918"/>
                <a:gd name="T71" fmla="*/ 573909 h 1918"/>
                <a:gd name="T72" fmla="*/ 535024 w 1918"/>
                <a:gd name="T73" fmla="*/ 643397 h 1918"/>
                <a:gd name="T74" fmla="*/ 632956 w 1918"/>
                <a:gd name="T75" fmla="*/ 545106 h 1918"/>
                <a:gd name="T76" fmla="*/ 632956 w 1918"/>
                <a:gd name="T77" fmla="*/ 529624 h 1918"/>
                <a:gd name="T78" fmla="*/ 571749 w 1918"/>
                <a:gd name="T79" fmla="*/ 468416 h 1918"/>
                <a:gd name="T80" fmla="*/ 679402 w 1918"/>
                <a:gd name="T81" fmla="*/ 421611 h 19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cubicBezTo>
                    <a:pt x="716" y="1389"/>
                    <a:pt x="523" y="1196"/>
                    <a:pt x="523" y="959"/>
                  </a:cubicBezTo>
                  <a:cubicBezTo>
                    <a:pt x="523" y="721"/>
                    <a:pt x="716" y="528"/>
                    <a:pt x="954" y="528"/>
                  </a:cubicBez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35DE535B-DF38-7C45-A77E-5C96F28A7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6518" y="3118197"/>
              <a:ext cx="352981" cy="352981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26A885C-B6D5-F748-9248-CE72EDD15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4194" y="3295871"/>
              <a:ext cx="942859" cy="942859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31AEF7B-7150-B948-BBA8-A573591E5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63392" y="6107863"/>
              <a:ext cx="331659" cy="33165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8711A66-8EC8-B448-9E21-03556C74D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3909" y="4937582"/>
              <a:ext cx="438263" cy="440633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669F3B2-E913-1143-9ACD-D3F42BDCC702}"/>
                </a:ext>
              </a:extLst>
            </p:cNvPr>
            <p:cNvSpPr/>
            <p:nvPr userDrawn="1"/>
          </p:nvSpPr>
          <p:spPr>
            <a:xfrm>
              <a:off x="11254934" y="2227456"/>
              <a:ext cx="937067" cy="1766730"/>
            </a:xfrm>
            <a:custGeom>
              <a:avLst/>
              <a:gdLst>
                <a:gd name="connsiteX0" fmla="*/ 757400 w 935572"/>
                <a:gd name="connsiteY0" fmla="*/ 0 h 1766730"/>
                <a:gd name="connsiteX1" fmla="*/ 935572 w 935572"/>
                <a:gd name="connsiteY1" fmla="*/ 0 h 1766730"/>
                <a:gd name="connsiteX2" fmla="*/ 935572 w 935572"/>
                <a:gd name="connsiteY2" fmla="*/ 510132 h 1766730"/>
                <a:gd name="connsiteX3" fmla="*/ 883634 w 935572"/>
                <a:gd name="connsiteY3" fmla="*/ 504780 h 1766730"/>
                <a:gd name="connsiteX4" fmla="*/ 504933 w 935572"/>
                <a:gd name="connsiteY4" fmla="*/ 883365 h 1766730"/>
                <a:gd name="connsiteX5" fmla="*/ 883634 w 935572"/>
                <a:gd name="connsiteY5" fmla="*/ 1261950 h 1766730"/>
                <a:gd name="connsiteX6" fmla="*/ 935572 w 935572"/>
                <a:gd name="connsiteY6" fmla="*/ 1256614 h 1766730"/>
                <a:gd name="connsiteX7" fmla="*/ 935572 w 935572"/>
                <a:gd name="connsiteY7" fmla="*/ 1766730 h 1766730"/>
                <a:gd name="connsiteX8" fmla="*/ 757400 w 935572"/>
                <a:gd name="connsiteY8" fmla="*/ 1766730 h 1766730"/>
                <a:gd name="connsiteX9" fmla="*/ 757400 w 935572"/>
                <a:gd name="connsiteY9" fmla="*/ 1501452 h 1766730"/>
                <a:gd name="connsiteX10" fmla="*/ 543609 w 935572"/>
                <a:gd name="connsiteY10" fmla="*/ 1414458 h 1766730"/>
                <a:gd name="connsiteX11" fmla="*/ 354528 w 935572"/>
                <a:gd name="connsiteY11" fmla="*/ 1603482 h 1766730"/>
                <a:gd name="connsiteX12" fmla="*/ 175652 w 935572"/>
                <a:gd name="connsiteY12" fmla="*/ 1424661 h 1766730"/>
                <a:gd name="connsiteX13" fmla="*/ 362585 w 935572"/>
                <a:gd name="connsiteY13" fmla="*/ 1238859 h 1766730"/>
                <a:gd name="connsiteX14" fmla="*/ 265359 w 935572"/>
                <a:gd name="connsiteY14" fmla="*/ 1009560 h 1766730"/>
                <a:gd name="connsiteX15" fmla="*/ 0 w 935572"/>
                <a:gd name="connsiteY15" fmla="*/ 1009560 h 1766730"/>
                <a:gd name="connsiteX16" fmla="*/ 0 w 935572"/>
                <a:gd name="connsiteY16" fmla="*/ 757170 h 1766730"/>
                <a:gd name="connsiteX17" fmla="*/ 265359 w 935572"/>
                <a:gd name="connsiteY17" fmla="*/ 757170 h 1766730"/>
                <a:gd name="connsiteX18" fmla="*/ 357214 w 935572"/>
                <a:gd name="connsiteY18" fmla="*/ 535926 h 1766730"/>
                <a:gd name="connsiteX19" fmla="*/ 175652 w 935572"/>
                <a:gd name="connsiteY19" fmla="*/ 354420 h 1766730"/>
                <a:gd name="connsiteX20" fmla="*/ 354528 w 935572"/>
                <a:gd name="connsiteY20" fmla="*/ 176136 h 1766730"/>
                <a:gd name="connsiteX21" fmla="*/ 536089 w 935572"/>
                <a:gd name="connsiteY21" fmla="*/ 357642 h 1766730"/>
                <a:gd name="connsiteX22" fmla="*/ 757400 w 935572"/>
                <a:gd name="connsiteY22" fmla="*/ 265278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5572" h="1766730">
                  <a:moveTo>
                    <a:pt x="757400" y="0"/>
                  </a:moveTo>
                  <a:lnTo>
                    <a:pt x="935572" y="0"/>
                  </a:lnTo>
                  <a:lnTo>
                    <a:pt x="935572" y="510132"/>
                  </a:lnTo>
                  <a:lnTo>
                    <a:pt x="883634" y="504780"/>
                  </a:lnTo>
                  <a:cubicBezTo>
                    <a:pt x="674677" y="505317"/>
                    <a:pt x="505471" y="674472"/>
                    <a:pt x="504933" y="883365"/>
                  </a:cubicBezTo>
                  <a:cubicBezTo>
                    <a:pt x="505471" y="1092258"/>
                    <a:pt x="674677" y="1261413"/>
                    <a:pt x="883634" y="1261950"/>
                  </a:cubicBezTo>
                  <a:lnTo>
                    <a:pt x="935572" y="1256614"/>
                  </a:lnTo>
                  <a:lnTo>
                    <a:pt x="935572" y="1766730"/>
                  </a:lnTo>
                  <a:lnTo>
                    <a:pt x="757400" y="1766730"/>
                  </a:lnTo>
                  <a:lnTo>
                    <a:pt x="757400" y="1501452"/>
                  </a:lnTo>
                  <a:cubicBezTo>
                    <a:pt x="680049" y="1485879"/>
                    <a:pt x="608069" y="1455807"/>
                    <a:pt x="543609" y="1414458"/>
                  </a:cubicBezTo>
                  <a:lnTo>
                    <a:pt x="354528" y="1603482"/>
                  </a:lnTo>
                  <a:lnTo>
                    <a:pt x="175652" y="1424661"/>
                  </a:lnTo>
                  <a:lnTo>
                    <a:pt x="362585" y="1238859"/>
                  </a:lnTo>
                  <a:cubicBezTo>
                    <a:pt x="315852" y="1170660"/>
                    <a:pt x="282011" y="1093332"/>
                    <a:pt x="265359" y="1009560"/>
                  </a:cubicBezTo>
                  <a:lnTo>
                    <a:pt x="0" y="1009560"/>
                  </a:lnTo>
                  <a:lnTo>
                    <a:pt x="0" y="757170"/>
                  </a:lnTo>
                  <a:lnTo>
                    <a:pt x="265359" y="757170"/>
                  </a:lnTo>
                  <a:cubicBezTo>
                    <a:pt x="281474" y="677157"/>
                    <a:pt x="313703" y="601977"/>
                    <a:pt x="357214" y="535926"/>
                  </a:cubicBezTo>
                  <a:lnTo>
                    <a:pt x="175652" y="354420"/>
                  </a:lnTo>
                  <a:lnTo>
                    <a:pt x="354528" y="176136"/>
                  </a:lnTo>
                  <a:lnTo>
                    <a:pt x="536089" y="357642"/>
                  </a:lnTo>
                  <a:cubicBezTo>
                    <a:pt x="602160" y="313608"/>
                    <a:pt x="676826" y="281925"/>
                    <a:pt x="757400" y="265278"/>
                  </a:cubicBez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6D2CBF2-153B-1B47-AA12-3A6B8D3FABFF}"/>
                </a:ext>
              </a:extLst>
            </p:cNvPr>
            <p:cNvSpPr/>
            <p:nvPr userDrawn="1"/>
          </p:nvSpPr>
          <p:spPr>
            <a:xfrm>
              <a:off x="11280118" y="-29277"/>
              <a:ext cx="911882" cy="2175272"/>
            </a:xfrm>
            <a:custGeom>
              <a:avLst/>
              <a:gdLst>
                <a:gd name="connsiteX0" fmla="*/ 911882 w 911882"/>
                <a:gd name="connsiteY0" fmla="*/ 877835 h 2175272"/>
                <a:gd name="connsiteX1" fmla="*/ 911882 w 911882"/>
                <a:gd name="connsiteY1" fmla="*/ 1297437 h 2175272"/>
                <a:gd name="connsiteX2" fmla="*/ 893392 w 911882"/>
                <a:gd name="connsiteY2" fmla="*/ 1274931 h 2175272"/>
                <a:gd name="connsiteX3" fmla="*/ 836446 w 911882"/>
                <a:gd name="connsiteY3" fmla="*/ 1087636 h 2175272"/>
                <a:gd name="connsiteX4" fmla="*/ 893392 w 911882"/>
                <a:gd name="connsiteY4" fmla="*/ 900341 h 2175272"/>
                <a:gd name="connsiteX5" fmla="*/ 712716 w 911882"/>
                <a:gd name="connsiteY5" fmla="*/ 0 h 2175272"/>
                <a:gd name="connsiteX6" fmla="*/ 828815 w 911882"/>
                <a:gd name="connsiteY6" fmla="*/ 200439 h 2175272"/>
                <a:gd name="connsiteX7" fmla="*/ 911882 w 911882"/>
                <a:gd name="connsiteY7" fmla="*/ 173451 h 2175272"/>
                <a:gd name="connsiteX8" fmla="*/ 911882 w 911882"/>
                <a:gd name="connsiteY8" fmla="*/ 482434 h 2175272"/>
                <a:gd name="connsiteX9" fmla="*/ 803325 w 911882"/>
                <a:gd name="connsiteY9" fmla="*/ 541350 h 2175272"/>
                <a:gd name="connsiteX10" fmla="*/ 512769 w 911882"/>
                <a:gd name="connsiteY10" fmla="*/ 1087636 h 2175272"/>
                <a:gd name="connsiteX11" fmla="*/ 803325 w 911882"/>
                <a:gd name="connsiteY11" fmla="*/ 1634431 h 2175272"/>
                <a:gd name="connsiteX12" fmla="*/ 911882 w 911882"/>
                <a:gd name="connsiteY12" fmla="*/ 1693367 h 2175272"/>
                <a:gd name="connsiteX13" fmla="*/ 911882 w 911882"/>
                <a:gd name="connsiteY13" fmla="*/ 2001995 h 2175272"/>
                <a:gd name="connsiteX14" fmla="*/ 828815 w 911882"/>
                <a:gd name="connsiteY14" fmla="*/ 1974834 h 2175272"/>
                <a:gd name="connsiteX15" fmla="*/ 712716 w 911882"/>
                <a:gd name="connsiteY15" fmla="*/ 2175272 h 2175272"/>
                <a:gd name="connsiteX16" fmla="*/ 459020 w 911882"/>
                <a:gd name="connsiteY16" fmla="*/ 2029107 h 2175272"/>
                <a:gd name="connsiteX17" fmla="*/ 575118 w 911882"/>
                <a:gd name="connsiteY17" fmla="*/ 1828669 h 2175272"/>
                <a:gd name="connsiteX18" fmla="*/ 431070 w 911882"/>
                <a:gd name="connsiteY18" fmla="*/ 1684654 h 2175272"/>
                <a:gd name="connsiteX19" fmla="*/ 230047 w 911882"/>
                <a:gd name="connsiteY19" fmla="*/ 1800726 h 2175272"/>
                <a:gd name="connsiteX20" fmla="*/ 83849 w 911882"/>
                <a:gd name="connsiteY20" fmla="*/ 1546549 h 2175272"/>
                <a:gd name="connsiteX21" fmla="*/ 284871 w 911882"/>
                <a:gd name="connsiteY21" fmla="*/ 1431016 h 2175272"/>
                <a:gd name="connsiteX22" fmla="*/ 232198 w 911882"/>
                <a:gd name="connsiteY22" fmla="*/ 1234338 h 2175272"/>
                <a:gd name="connsiteX23" fmla="*/ 0 w 911882"/>
                <a:gd name="connsiteY23" fmla="*/ 1234338 h 2175272"/>
                <a:gd name="connsiteX24" fmla="*/ 0 w 911882"/>
                <a:gd name="connsiteY24" fmla="*/ 941471 h 2175272"/>
                <a:gd name="connsiteX25" fmla="*/ 232198 w 911882"/>
                <a:gd name="connsiteY25" fmla="*/ 941471 h 2175272"/>
                <a:gd name="connsiteX26" fmla="*/ 284871 w 911882"/>
                <a:gd name="connsiteY26" fmla="*/ 744795 h 2175272"/>
                <a:gd name="connsiteX27" fmla="*/ 83849 w 911882"/>
                <a:gd name="connsiteY27" fmla="*/ 628723 h 2175272"/>
                <a:gd name="connsiteX28" fmla="*/ 230047 w 911882"/>
                <a:gd name="connsiteY28" fmla="*/ 375083 h 2175272"/>
                <a:gd name="connsiteX29" fmla="*/ 431070 w 911882"/>
                <a:gd name="connsiteY29" fmla="*/ 490618 h 2175272"/>
                <a:gd name="connsiteX30" fmla="*/ 574581 w 911882"/>
                <a:gd name="connsiteY30" fmla="*/ 346603 h 2175272"/>
                <a:gd name="connsiteX31" fmla="*/ 459020 w 911882"/>
                <a:gd name="connsiteY31" fmla="*/ 146165 h 217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11882" h="2175272">
                  <a:moveTo>
                    <a:pt x="911882" y="877835"/>
                  </a:moveTo>
                  <a:lnTo>
                    <a:pt x="911882" y="1297437"/>
                  </a:lnTo>
                  <a:lnTo>
                    <a:pt x="893392" y="1274931"/>
                  </a:lnTo>
                  <a:cubicBezTo>
                    <a:pt x="857428" y="1221461"/>
                    <a:pt x="836446" y="1157006"/>
                    <a:pt x="836446" y="1087636"/>
                  </a:cubicBezTo>
                  <a:cubicBezTo>
                    <a:pt x="836446" y="1018266"/>
                    <a:pt x="857428" y="953812"/>
                    <a:pt x="893392" y="900341"/>
                  </a:cubicBezTo>
                  <a:close/>
                  <a:moveTo>
                    <a:pt x="712716" y="0"/>
                  </a:moveTo>
                  <a:lnTo>
                    <a:pt x="828815" y="200439"/>
                  </a:lnTo>
                  <a:lnTo>
                    <a:pt x="911882" y="173451"/>
                  </a:lnTo>
                  <a:lnTo>
                    <a:pt x="911882" y="482434"/>
                  </a:lnTo>
                  <a:lnTo>
                    <a:pt x="803325" y="541350"/>
                  </a:lnTo>
                  <a:cubicBezTo>
                    <a:pt x="628036" y="659755"/>
                    <a:pt x="512769" y="860262"/>
                    <a:pt x="512769" y="1087636"/>
                  </a:cubicBezTo>
                  <a:cubicBezTo>
                    <a:pt x="512769" y="1315346"/>
                    <a:pt x="628036" y="1515978"/>
                    <a:pt x="803325" y="1634431"/>
                  </a:cubicBezTo>
                  <a:lnTo>
                    <a:pt x="911882" y="1693367"/>
                  </a:lnTo>
                  <a:lnTo>
                    <a:pt x="911882" y="2001995"/>
                  </a:lnTo>
                  <a:lnTo>
                    <a:pt x="828815" y="1974834"/>
                  </a:lnTo>
                  <a:lnTo>
                    <a:pt x="712716" y="2175272"/>
                  </a:lnTo>
                  <a:lnTo>
                    <a:pt x="459020" y="2029107"/>
                  </a:lnTo>
                  <a:lnTo>
                    <a:pt x="575118" y="1828669"/>
                  </a:lnTo>
                  <a:cubicBezTo>
                    <a:pt x="521907" y="1785679"/>
                    <a:pt x="473532" y="1737854"/>
                    <a:pt x="431070" y="1684654"/>
                  </a:cubicBezTo>
                  <a:lnTo>
                    <a:pt x="230047" y="1800726"/>
                  </a:lnTo>
                  <a:lnTo>
                    <a:pt x="83849" y="1546549"/>
                  </a:lnTo>
                  <a:lnTo>
                    <a:pt x="284871" y="1431016"/>
                  </a:lnTo>
                  <a:cubicBezTo>
                    <a:pt x="260685" y="1368143"/>
                    <a:pt x="242948" y="1302584"/>
                    <a:pt x="232198" y="1234338"/>
                  </a:cubicBezTo>
                  <a:lnTo>
                    <a:pt x="0" y="1234338"/>
                  </a:lnTo>
                  <a:lnTo>
                    <a:pt x="0" y="941471"/>
                  </a:lnTo>
                  <a:lnTo>
                    <a:pt x="232198" y="941471"/>
                  </a:lnTo>
                  <a:cubicBezTo>
                    <a:pt x="242948" y="873226"/>
                    <a:pt x="260685" y="807130"/>
                    <a:pt x="284871" y="744795"/>
                  </a:cubicBezTo>
                  <a:lnTo>
                    <a:pt x="83849" y="628723"/>
                  </a:lnTo>
                  <a:lnTo>
                    <a:pt x="230047" y="375083"/>
                  </a:lnTo>
                  <a:lnTo>
                    <a:pt x="431070" y="490618"/>
                  </a:lnTo>
                  <a:cubicBezTo>
                    <a:pt x="473532" y="437955"/>
                    <a:pt x="521907" y="389593"/>
                    <a:pt x="574581" y="346603"/>
                  </a:cubicBezTo>
                  <a:lnTo>
                    <a:pt x="459020" y="146165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181B1-7F47-4D4E-9C1A-0966259FC453}"/>
                </a:ext>
              </a:extLst>
            </p:cNvPr>
            <p:cNvSpPr/>
            <p:nvPr userDrawn="1"/>
          </p:nvSpPr>
          <p:spPr>
            <a:xfrm>
              <a:off x="12047672" y="5608394"/>
              <a:ext cx="144328" cy="697004"/>
            </a:xfrm>
            <a:custGeom>
              <a:avLst/>
              <a:gdLst>
                <a:gd name="connsiteX0" fmla="*/ 144328 w 144328"/>
                <a:gd name="connsiteY0" fmla="*/ 550545 h 697004"/>
                <a:gd name="connsiteX1" fmla="*/ 144328 w 144328"/>
                <a:gd name="connsiteY1" fmla="*/ 697004 h 697004"/>
                <a:gd name="connsiteX2" fmla="*/ 82099 w 144328"/>
                <a:gd name="connsiteY2" fmla="*/ 634775 h 697004"/>
                <a:gd name="connsiteX3" fmla="*/ 70830 w 144328"/>
                <a:gd name="connsiteY3" fmla="*/ 624043 h 697004"/>
                <a:gd name="connsiteX4" fmla="*/ 82099 w 144328"/>
                <a:gd name="connsiteY4" fmla="*/ 612774 h 697004"/>
                <a:gd name="connsiteX5" fmla="*/ 144328 w 144328"/>
                <a:gd name="connsiteY5" fmla="*/ 220513 h 697004"/>
                <a:gd name="connsiteX6" fmla="*/ 144328 w 144328"/>
                <a:gd name="connsiteY6" fmla="*/ 475914 h 697004"/>
                <a:gd name="connsiteX7" fmla="*/ 134685 w 144328"/>
                <a:gd name="connsiteY7" fmla="*/ 452869 h 697004"/>
                <a:gd name="connsiteX8" fmla="*/ 16098 w 144328"/>
                <a:gd name="connsiteY8" fmla="*/ 452869 h 697004"/>
                <a:gd name="connsiteX9" fmla="*/ 0 w 144328"/>
                <a:gd name="connsiteY9" fmla="*/ 452869 h 697004"/>
                <a:gd name="connsiteX10" fmla="*/ 0 w 144328"/>
                <a:gd name="connsiteY10" fmla="*/ 437308 h 697004"/>
                <a:gd name="connsiteX11" fmla="*/ 0 w 144328"/>
                <a:gd name="connsiteY11" fmla="*/ 254329 h 697004"/>
                <a:gd name="connsiteX12" fmla="*/ 0 w 144328"/>
                <a:gd name="connsiteY12" fmla="*/ 239305 h 697004"/>
                <a:gd name="connsiteX13" fmla="*/ 16098 w 144328"/>
                <a:gd name="connsiteY13" fmla="*/ 239305 h 697004"/>
                <a:gd name="connsiteX14" fmla="*/ 136295 w 144328"/>
                <a:gd name="connsiteY14" fmla="*/ 239305 h 697004"/>
                <a:gd name="connsiteX15" fmla="*/ 144328 w 144328"/>
                <a:gd name="connsiteY15" fmla="*/ 0 h 697004"/>
                <a:gd name="connsiteX16" fmla="*/ 144328 w 144328"/>
                <a:gd name="connsiteY16" fmla="*/ 146854 h 697004"/>
                <a:gd name="connsiteX17" fmla="*/ 82099 w 144328"/>
                <a:gd name="connsiteY17" fmla="*/ 84229 h 697004"/>
                <a:gd name="connsiteX18" fmla="*/ 70830 w 144328"/>
                <a:gd name="connsiteY18" fmla="*/ 73497 h 697004"/>
                <a:gd name="connsiteX19" fmla="*/ 82099 w 144328"/>
                <a:gd name="connsiteY19" fmla="*/ 62229 h 69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328" h="697004">
                  <a:moveTo>
                    <a:pt x="144328" y="550545"/>
                  </a:moveTo>
                  <a:lnTo>
                    <a:pt x="144328" y="697004"/>
                  </a:lnTo>
                  <a:lnTo>
                    <a:pt x="82099" y="634775"/>
                  </a:lnTo>
                  <a:lnTo>
                    <a:pt x="70830" y="624043"/>
                  </a:lnTo>
                  <a:lnTo>
                    <a:pt x="82099" y="612774"/>
                  </a:lnTo>
                  <a:close/>
                  <a:moveTo>
                    <a:pt x="144328" y="220513"/>
                  </a:moveTo>
                  <a:lnTo>
                    <a:pt x="144328" y="475914"/>
                  </a:lnTo>
                  <a:lnTo>
                    <a:pt x="134685" y="452869"/>
                  </a:lnTo>
                  <a:lnTo>
                    <a:pt x="16098" y="452869"/>
                  </a:lnTo>
                  <a:lnTo>
                    <a:pt x="0" y="452869"/>
                  </a:lnTo>
                  <a:lnTo>
                    <a:pt x="0" y="437308"/>
                  </a:lnTo>
                  <a:lnTo>
                    <a:pt x="0" y="254329"/>
                  </a:lnTo>
                  <a:lnTo>
                    <a:pt x="0" y="239305"/>
                  </a:lnTo>
                  <a:lnTo>
                    <a:pt x="16098" y="239305"/>
                  </a:lnTo>
                  <a:lnTo>
                    <a:pt x="136295" y="239305"/>
                  </a:lnTo>
                  <a:close/>
                  <a:moveTo>
                    <a:pt x="144328" y="0"/>
                  </a:moveTo>
                  <a:lnTo>
                    <a:pt x="144328" y="146854"/>
                  </a:lnTo>
                  <a:lnTo>
                    <a:pt x="82099" y="84229"/>
                  </a:lnTo>
                  <a:lnTo>
                    <a:pt x="70830" y="73497"/>
                  </a:lnTo>
                  <a:lnTo>
                    <a:pt x="82099" y="6222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58BCEED-ED9E-6644-89A2-9E97DA4ECD37}"/>
                </a:ext>
              </a:extLst>
            </p:cNvPr>
            <p:cNvSpPr/>
            <p:nvPr userDrawn="1"/>
          </p:nvSpPr>
          <p:spPr>
            <a:xfrm>
              <a:off x="10905817" y="3871536"/>
              <a:ext cx="1286183" cy="1766730"/>
            </a:xfrm>
            <a:custGeom>
              <a:avLst/>
              <a:gdLst>
                <a:gd name="connsiteX0" fmla="*/ 883633 w 1286183"/>
                <a:gd name="connsiteY0" fmla="*/ 504934 h 1766730"/>
                <a:gd name="connsiteX1" fmla="*/ 504933 w 1286183"/>
                <a:gd name="connsiteY1" fmla="*/ 883634 h 1766730"/>
                <a:gd name="connsiteX2" fmla="*/ 883633 w 1286183"/>
                <a:gd name="connsiteY2" fmla="*/ 1261259 h 1766730"/>
                <a:gd name="connsiteX3" fmla="*/ 1262334 w 1286183"/>
                <a:gd name="connsiteY3" fmla="*/ 883634 h 1766730"/>
                <a:gd name="connsiteX4" fmla="*/ 883633 w 1286183"/>
                <a:gd name="connsiteY4" fmla="*/ 504934 h 1766730"/>
                <a:gd name="connsiteX5" fmla="*/ 757400 w 1286183"/>
                <a:gd name="connsiteY5" fmla="*/ 0 h 1766730"/>
                <a:gd name="connsiteX6" fmla="*/ 1009867 w 1286183"/>
                <a:gd name="connsiteY6" fmla="*/ 0 h 1766730"/>
                <a:gd name="connsiteX7" fmla="*/ 1009867 w 1286183"/>
                <a:gd name="connsiteY7" fmla="*/ 264822 h 1766730"/>
                <a:gd name="connsiteX8" fmla="*/ 1238698 w 1286183"/>
                <a:gd name="connsiteY8" fmla="*/ 362048 h 1766730"/>
                <a:gd name="connsiteX9" fmla="*/ 1286183 w 1286183"/>
                <a:gd name="connsiteY9" fmla="*/ 314836 h 1766730"/>
                <a:gd name="connsiteX10" fmla="*/ 1286183 w 1286183"/>
                <a:gd name="connsiteY10" fmla="*/ 1464369 h 1766730"/>
                <a:gd name="connsiteX11" fmla="*/ 1231178 w 1286183"/>
                <a:gd name="connsiteY11" fmla="*/ 1409516 h 1766730"/>
                <a:gd name="connsiteX12" fmla="*/ 1009867 w 1286183"/>
                <a:gd name="connsiteY12" fmla="*/ 1501909 h 1766730"/>
                <a:gd name="connsiteX13" fmla="*/ 1009867 w 1286183"/>
                <a:gd name="connsiteY13" fmla="*/ 1766730 h 1766730"/>
                <a:gd name="connsiteX14" fmla="*/ 757400 w 1286183"/>
                <a:gd name="connsiteY14" fmla="*/ 1766730 h 1766730"/>
                <a:gd name="connsiteX15" fmla="*/ 757400 w 1286183"/>
                <a:gd name="connsiteY15" fmla="*/ 1501909 h 1766730"/>
                <a:gd name="connsiteX16" fmla="*/ 543609 w 1286183"/>
                <a:gd name="connsiteY16" fmla="*/ 1414351 h 1766730"/>
                <a:gd name="connsiteX17" fmla="*/ 354528 w 1286183"/>
                <a:gd name="connsiteY17" fmla="*/ 1603432 h 1766730"/>
                <a:gd name="connsiteX18" fmla="*/ 175652 w 1286183"/>
                <a:gd name="connsiteY18" fmla="*/ 1425094 h 1766730"/>
                <a:gd name="connsiteX19" fmla="*/ 362048 w 1286183"/>
                <a:gd name="connsiteY19" fmla="*/ 1238699 h 1766730"/>
                <a:gd name="connsiteX20" fmla="*/ 265359 w 1286183"/>
                <a:gd name="connsiteY20" fmla="*/ 1009330 h 1766730"/>
                <a:gd name="connsiteX21" fmla="*/ 0 w 1286183"/>
                <a:gd name="connsiteY21" fmla="*/ 1009330 h 1766730"/>
                <a:gd name="connsiteX22" fmla="*/ 0 w 1286183"/>
                <a:gd name="connsiteY22" fmla="*/ 757400 h 1766730"/>
                <a:gd name="connsiteX23" fmla="*/ 264821 w 1286183"/>
                <a:gd name="connsiteY23" fmla="*/ 757400 h 1766730"/>
                <a:gd name="connsiteX24" fmla="*/ 357214 w 1286183"/>
                <a:gd name="connsiteY24" fmla="*/ 536089 h 1766730"/>
                <a:gd name="connsiteX25" fmla="*/ 175652 w 1286183"/>
                <a:gd name="connsiteY25" fmla="*/ 354528 h 1766730"/>
                <a:gd name="connsiteX26" fmla="*/ 354528 w 1286183"/>
                <a:gd name="connsiteY26" fmla="*/ 176190 h 1766730"/>
                <a:gd name="connsiteX27" fmla="*/ 535552 w 1286183"/>
                <a:gd name="connsiteY27" fmla="*/ 357214 h 1766730"/>
                <a:gd name="connsiteX28" fmla="*/ 757400 w 1286183"/>
                <a:gd name="connsiteY28" fmla="*/ 264822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86183" h="1766730">
                  <a:moveTo>
                    <a:pt x="883633" y="504934"/>
                  </a:moveTo>
                  <a:cubicBezTo>
                    <a:pt x="674677" y="504934"/>
                    <a:pt x="505471" y="674677"/>
                    <a:pt x="504933" y="883634"/>
                  </a:cubicBezTo>
                  <a:cubicBezTo>
                    <a:pt x="505471" y="1092053"/>
                    <a:pt x="674677" y="1261259"/>
                    <a:pt x="883633" y="1261259"/>
                  </a:cubicBezTo>
                  <a:cubicBezTo>
                    <a:pt x="1092590" y="1261259"/>
                    <a:pt x="1261796" y="1092053"/>
                    <a:pt x="1262334" y="883634"/>
                  </a:cubicBezTo>
                  <a:cubicBezTo>
                    <a:pt x="1261796" y="674677"/>
                    <a:pt x="1092590" y="504934"/>
                    <a:pt x="883633" y="504934"/>
                  </a:cubicBezTo>
                  <a:close/>
                  <a:moveTo>
                    <a:pt x="757400" y="0"/>
                  </a:moveTo>
                  <a:lnTo>
                    <a:pt x="1009867" y="0"/>
                  </a:lnTo>
                  <a:lnTo>
                    <a:pt x="1009867" y="264822"/>
                  </a:lnTo>
                  <a:cubicBezTo>
                    <a:pt x="1093127" y="282011"/>
                    <a:pt x="1171016" y="315852"/>
                    <a:pt x="1238698" y="362048"/>
                  </a:cubicBezTo>
                  <a:lnTo>
                    <a:pt x="1286183" y="314836"/>
                  </a:lnTo>
                  <a:lnTo>
                    <a:pt x="1286183" y="1464369"/>
                  </a:lnTo>
                  <a:lnTo>
                    <a:pt x="1231178" y="1409516"/>
                  </a:lnTo>
                  <a:cubicBezTo>
                    <a:pt x="1165107" y="1453564"/>
                    <a:pt x="1090441" y="1485256"/>
                    <a:pt x="1009867" y="1501909"/>
                  </a:cubicBezTo>
                  <a:lnTo>
                    <a:pt x="1009867" y="1766730"/>
                  </a:lnTo>
                  <a:lnTo>
                    <a:pt x="757400" y="1766730"/>
                  </a:lnTo>
                  <a:lnTo>
                    <a:pt x="757400" y="1501909"/>
                  </a:lnTo>
                  <a:cubicBezTo>
                    <a:pt x="680049" y="1485794"/>
                    <a:pt x="608069" y="1455175"/>
                    <a:pt x="543609" y="1414351"/>
                  </a:cubicBezTo>
                  <a:lnTo>
                    <a:pt x="354528" y="1603432"/>
                  </a:lnTo>
                  <a:lnTo>
                    <a:pt x="175652" y="1425094"/>
                  </a:lnTo>
                  <a:lnTo>
                    <a:pt x="362048" y="1238699"/>
                  </a:lnTo>
                  <a:cubicBezTo>
                    <a:pt x="315852" y="1170479"/>
                    <a:pt x="282548" y="1092590"/>
                    <a:pt x="265359" y="1009330"/>
                  </a:cubicBezTo>
                  <a:lnTo>
                    <a:pt x="0" y="1009330"/>
                  </a:lnTo>
                  <a:lnTo>
                    <a:pt x="0" y="757400"/>
                  </a:lnTo>
                  <a:lnTo>
                    <a:pt x="264821" y="757400"/>
                  </a:lnTo>
                  <a:cubicBezTo>
                    <a:pt x="281474" y="676826"/>
                    <a:pt x="313166" y="602160"/>
                    <a:pt x="357214" y="536089"/>
                  </a:cubicBezTo>
                  <a:lnTo>
                    <a:pt x="175652" y="354528"/>
                  </a:lnTo>
                  <a:lnTo>
                    <a:pt x="354528" y="176190"/>
                  </a:lnTo>
                  <a:lnTo>
                    <a:pt x="535552" y="357214"/>
                  </a:lnTo>
                  <a:cubicBezTo>
                    <a:pt x="602160" y="313166"/>
                    <a:pt x="676826" y="281474"/>
                    <a:pt x="757400" y="264822"/>
                  </a:cubicBez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050376340"/>
      </p:ext>
    </p:extLst>
  </p:cSld>
  <p:clrMapOvr>
    <a:masterClrMapping/>
  </p:clrMapOvr>
  <p:transition advClick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791585"/>
      </p:ext>
    </p:extLst>
  </p:cSld>
  <p:clrMapOvr>
    <a:masterClrMapping/>
  </p:clrMapOvr>
  <p:transition advClick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175CD7A9-E177-EC4A-AD93-D5EC6334DA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63785" y="1573067"/>
            <a:ext cx="2182217" cy="384717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312593"/>
      </p:ext>
    </p:extLst>
  </p:cSld>
  <p:clrMapOvr>
    <a:masterClrMapping/>
  </p:clrMapOvr>
  <p:transition advClick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3">
            <a:extLst>
              <a:ext uri="{FF2B5EF4-FFF2-40B4-BE49-F238E27FC236}">
                <a16:creationId xmlns:a16="http://schemas.microsoft.com/office/drawing/2014/main" id="{320510A6-CFA1-B949-A389-23542C07A0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98509" y="2077515"/>
            <a:ext cx="3671032" cy="232395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78675"/>
      </p:ext>
    </p:extLst>
  </p:cSld>
  <p:clrMapOvr>
    <a:masterClrMapping/>
  </p:clrMapOvr>
  <p:transition advClick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Web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000211" y="2165938"/>
            <a:ext cx="3671032" cy="208250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917062"/>
      </p:ext>
    </p:extLst>
  </p:cSld>
  <p:clrMapOvr>
    <a:masterClrMapping/>
  </p:clrMapOvr>
  <p:transition advClick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2C1CF17-B816-5442-BB74-7141382970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9213" y="2432393"/>
            <a:ext cx="5236787" cy="3836887"/>
          </a:xfrm>
          <a:custGeom>
            <a:avLst/>
            <a:gdLst>
              <a:gd name="connsiteX0" fmla="*/ 2021138 w 3927590"/>
              <a:gd name="connsiteY0" fmla="*/ 1175 h 2877665"/>
              <a:gd name="connsiteX1" fmla="*/ 3151897 w 3927590"/>
              <a:gd name="connsiteY1" fmla="*/ 627414 h 2877665"/>
              <a:gd name="connsiteX2" fmla="*/ 3154275 w 3927590"/>
              <a:gd name="connsiteY2" fmla="*/ 631314 h 2877665"/>
              <a:gd name="connsiteX3" fmla="*/ 3244004 w 3927590"/>
              <a:gd name="connsiteY3" fmla="*/ 609928 h 2877665"/>
              <a:gd name="connsiteX4" fmla="*/ 3921939 w 3927590"/>
              <a:gd name="connsiteY4" fmla="*/ 619447 h 2877665"/>
              <a:gd name="connsiteX5" fmla="*/ 3452821 w 3927590"/>
              <a:gd name="connsiteY5" fmla="*/ 1108951 h 2877665"/>
              <a:gd name="connsiteX6" fmla="*/ 3374602 w 3927590"/>
              <a:gd name="connsiteY6" fmla="*/ 1157843 h 2877665"/>
              <a:gd name="connsiteX7" fmla="*/ 3375710 w 3927590"/>
              <a:gd name="connsiteY7" fmla="*/ 1162274 h 2877665"/>
              <a:gd name="connsiteX8" fmla="*/ 2519066 w 3927590"/>
              <a:gd name="connsiteY8" fmla="*/ 2765798 h 2877665"/>
              <a:gd name="connsiteX9" fmla="*/ 775697 w 3927590"/>
              <a:gd name="connsiteY9" fmla="*/ 2250252 h 2877665"/>
              <a:gd name="connsiteX10" fmla="*/ 773318 w 3927590"/>
              <a:gd name="connsiteY10" fmla="*/ 2246354 h 2877665"/>
              <a:gd name="connsiteX11" fmla="*/ 683587 w 3927590"/>
              <a:gd name="connsiteY11" fmla="*/ 2267740 h 2877665"/>
              <a:gd name="connsiteX12" fmla="*/ 5652 w 3927590"/>
              <a:gd name="connsiteY12" fmla="*/ 2258221 h 2877665"/>
              <a:gd name="connsiteX13" fmla="*/ 474770 w 3927590"/>
              <a:gd name="connsiteY13" fmla="*/ 1768716 h 2877665"/>
              <a:gd name="connsiteX14" fmla="*/ 552991 w 3927590"/>
              <a:gd name="connsiteY14" fmla="*/ 1719822 h 2877665"/>
              <a:gd name="connsiteX15" fmla="*/ 551884 w 3927590"/>
              <a:gd name="connsiteY15" fmla="*/ 1715392 h 2877665"/>
              <a:gd name="connsiteX16" fmla="*/ 1408527 w 3927590"/>
              <a:gd name="connsiteY16" fmla="*/ 111868 h 2877665"/>
              <a:gd name="connsiteX17" fmla="*/ 2021138 w 3927590"/>
              <a:gd name="connsiteY17" fmla="*/ 1175 h 287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927590" h="2877665">
                <a:moveTo>
                  <a:pt x="2021138" y="1175"/>
                </a:moveTo>
                <a:cubicBezTo>
                  <a:pt x="2469086" y="19335"/>
                  <a:pt x="2892874" y="247297"/>
                  <a:pt x="3151897" y="627414"/>
                </a:cubicBezTo>
                <a:lnTo>
                  <a:pt x="3154275" y="631314"/>
                </a:lnTo>
                <a:lnTo>
                  <a:pt x="3244004" y="609928"/>
                </a:lnTo>
                <a:cubicBezTo>
                  <a:pt x="3625079" y="525504"/>
                  <a:pt x="3881165" y="522006"/>
                  <a:pt x="3921939" y="619447"/>
                </a:cubicBezTo>
                <a:cubicBezTo>
                  <a:pt x="3962713" y="716887"/>
                  <a:pt x="3780455" y="896815"/>
                  <a:pt x="3452821" y="1108951"/>
                </a:cubicBezTo>
                <a:lnTo>
                  <a:pt x="3374602" y="1157843"/>
                </a:lnTo>
                <a:lnTo>
                  <a:pt x="3375710" y="1162274"/>
                </a:lnTo>
                <a:cubicBezTo>
                  <a:pt x="3505002" y="1818726"/>
                  <a:pt x="3160322" y="2497464"/>
                  <a:pt x="2519066" y="2765798"/>
                </a:cubicBezTo>
                <a:cubicBezTo>
                  <a:pt x="1877811" y="3034132"/>
                  <a:pt x="1152457" y="2803150"/>
                  <a:pt x="775697" y="2250252"/>
                </a:cubicBezTo>
                <a:lnTo>
                  <a:pt x="773318" y="2246354"/>
                </a:lnTo>
                <a:lnTo>
                  <a:pt x="683587" y="2267740"/>
                </a:lnTo>
                <a:cubicBezTo>
                  <a:pt x="302513" y="2352164"/>
                  <a:pt x="46426" y="2355661"/>
                  <a:pt x="5652" y="2258221"/>
                </a:cubicBezTo>
                <a:cubicBezTo>
                  <a:pt x="-35122" y="2160780"/>
                  <a:pt x="147137" y="1980852"/>
                  <a:pt x="474770" y="1768716"/>
                </a:cubicBezTo>
                <a:lnTo>
                  <a:pt x="552991" y="1719822"/>
                </a:lnTo>
                <a:lnTo>
                  <a:pt x="551884" y="1715392"/>
                </a:lnTo>
                <a:cubicBezTo>
                  <a:pt x="422591" y="1058940"/>
                  <a:pt x="767272" y="380202"/>
                  <a:pt x="1408527" y="111868"/>
                </a:cubicBezTo>
                <a:cubicBezTo>
                  <a:pt x="1608919" y="28014"/>
                  <a:pt x="1817525" y="-7079"/>
                  <a:pt x="2021138" y="117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95896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A39E146-A025-DB44-9C66-AA4059B0B84F}"/>
              </a:ext>
            </a:extLst>
          </p:cNvPr>
          <p:cNvGrpSpPr/>
          <p:nvPr userDrawn="1"/>
        </p:nvGrpSpPr>
        <p:grpSpPr>
          <a:xfrm>
            <a:off x="10854299" y="4101694"/>
            <a:ext cx="1340728" cy="2814688"/>
            <a:chOff x="10854299" y="4101694"/>
            <a:chExt cx="1340728" cy="2814688"/>
          </a:xfrm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30A74235-EB8F-8F41-835B-7488BA3CF989}"/>
                </a:ext>
              </a:extLst>
            </p:cNvPr>
            <p:cNvSpPr/>
            <p:nvPr userDrawn="1"/>
          </p:nvSpPr>
          <p:spPr>
            <a:xfrm>
              <a:off x="12083800" y="4101694"/>
              <a:ext cx="108200" cy="215079"/>
            </a:xfrm>
            <a:custGeom>
              <a:avLst/>
              <a:gdLst>
                <a:gd name="connsiteX0" fmla="*/ 108200 w 108200"/>
                <a:gd name="connsiteY0" fmla="*/ 0 h 215079"/>
                <a:gd name="connsiteX1" fmla="*/ 108200 w 108200"/>
                <a:gd name="connsiteY1" fmla="*/ 76109 h 215079"/>
                <a:gd name="connsiteX2" fmla="*/ 95080 w 108200"/>
                <a:gd name="connsiteY2" fmla="*/ 76265 h 215079"/>
                <a:gd name="connsiteX3" fmla="*/ 76234 w 108200"/>
                <a:gd name="connsiteY3" fmla="*/ 95696 h 215079"/>
                <a:gd name="connsiteX4" fmla="*/ 96035 w 108200"/>
                <a:gd name="connsiteY4" fmla="*/ 141713 h 215079"/>
                <a:gd name="connsiteX5" fmla="*/ 108200 w 108200"/>
                <a:gd name="connsiteY5" fmla="*/ 141481 h 215079"/>
                <a:gd name="connsiteX6" fmla="*/ 108200 w 108200"/>
                <a:gd name="connsiteY6" fmla="*/ 214883 h 215079"/>
                <a:gd name="connsiteX7" fmla="*/ 108130 w 108200"/>
                <a:gd name="connsiteY7" fmla="*/ 214448 h 215079"/>
                <a:gd name="connsiteX8" fmla="*/ 105603 w 108200"/>
                <a:gd name="connsiteY8" fmla="*/ 196794 h 215079"/>
                <a:gd name="connsiteX9" fmla="*/ 92591 w 108200"/>
                <a:gd name="connsiteY9" fmla="*/ 195213 h 215079"/>
                <a:gd name="connsiteX10" fmla="*/ 85954 w 108200"/>
                <a:gd name="connsiteY10" fmla="*/ 211995 h 215079"/>
                <a:gd name="connsiteX11" fmla="*/ 84717 w 108200"/>
                <a:gd name="connsiteY11" fmla="*/ 215079 h 215079"/>
                <a:gd name="connsiteX12" fmla="*/ 81551 w 108200"/>
                <a:gd name="connsiteY12" fmla="*/ 213638 h 215079"/>
                <a:gd name="connsiteX13" fmla="*/ 57218 w 108200"/>
                <a:gd name="connsiteY13" fmla="*/ 204122 h 215079"/>
                <a:gd name="connsiteX14" fmla="*/ 54130 w 108200"/>
                <a:gd name="connsiteY14" fmla="*/ 202890 h 215079"/>
                <a:gd name="connsiteX15" fmla="*/ 55368 w 108200"/>
                <a:gd name="connsiteY15" fmla="*/ 199805 h 215079"/>
                <a:gd name="connsiteX16" fmla="*/ 61873 w 108200"/>
                <a:gd name="connsiteY16" fmla="*/ 183311 h 215079"/>
                <a:gd name="connsiteX17" fmla="*/ 51546 w 108200"/>
                <a:gd name="connsiteY17" fmla="*/ 175482 h 215079"/>
                <a:gd name="connsiteX18" fmla="*/ 37485 w 108200"/>
                <a:gd name="connsiteY18" fmla="*/ 186452 h 215079"/>
                <a:gd name="connsiteX19" fmla="*/ 34730 w 108200"/>
                <a:gd name="connsiteY19" fmla="*/ 188672 h 215079"/>
                <a:gd name="connsiteX20" fmla="*/ 32798 w 108200"/>
                <a:gd name="connsiteY20" fmla="*/ 186055 h 215079"/>
                <a:gd name="connsiteX21" fmla="*/ 16581 w 108200"/>
                <a:gd name="connsiteY21" fmla="*/ 165642 h 215079"/>
                <a:gd name="connsiteX22" fmla="*/ 14361 w 108200"/>
                <a:gd name="connsiteY22" fmla="*/ 162894 h 215079"/>
                <a:gd name="connsiteX23" fmla="*/ 16906 w 108200"/>
                <a:gd name="connsiteY23" fmla="*/ 160753 h 215079"/>
                <a:gd name="connsiteX24" fmla="*/ 30967 w 108200"/>
                <a:gd name="connsiteY24" fmla="*/ 149783 h 215079"/>
                <a:gd name="connsiteX25" fmla="*/ 25730 w 108200"/>
                <a:gd name="connsiteY25" fmla="*/ 137670 h 215079"/>
                <a:gd name="connsiteX26" fmla="*/ 8257 w 108200"/>
                <a:gd name="connsiteY26" fmla="*/ 140138 h 215079"/>
                <a:gd name="connsiteX27" fmla="*/ 4878 w 108200"/>
                <a:gd name="connsiteY27" fmla="*/ 140684 h 215079"/>
                <a:gd name="connsiteX28" fmla="*/ 4413 w 108200"/>
                <a:gd name="connsiteY28" fmla="*/ 137519 h 215079"/>
                <a:gd name="connsiteX29" fmla="*/ 542 w 108200"/>
                <a:gd name="connsiteY29" fmla="*/ 111784 h 215079"/>
                <a:gd name="connsiteX30" fmla="*/ 0 w 108200"/>
                <a:gd name="connsiteY30" fmla="*/ 108410 h 215079"/>
                <a:gd name="connsiteX31" fmla="*/ 3379 w 108200"/>
                <a:gd name="connsiteY31" fmla="*/ 107864 h 215079"/>
                <a:gd name="connsiteX32" fmla="*/ 21062 w 108200"/>
                <a:gd name="connsiteY32" fmla="*/ 105318 h 215079"/>
                <a:gd name="connsiteX33" fmla="*/ 22584 w 108200"/>
                <a:gd name="connsiteY33" fmla="*/ 92114 h 215079"/>
                <a:gd name="connsiteX34" fmla="*/ 5864 w 108200"/>
                <a:gd name="connsiteY34" fmla="*/ 85717 h 215079"/>
                <a:gd name="connsiteX35" fmla="*/ 2776 w 108200"/>
                <a:gd name="connsiteY35" fmla="*/ 84485 h 215079"/>
                <a:gd name="connsiteX36" fmla="*/ 4014 w 108200"/>
                <a:gd name="connsiteY36" fmla="*/ 81401 h 215079"/>
                <a:gd name="connsiteX37" fmla="*/ 13574 w 108200"/>
                <a:gd name="connsiteY37" fmla="*/ 57090 h 215079"/>
                <a:gd name="connsiteX38" fmla="*/ 14812 w 108200"/>
                <a:gd name="connsiteY38" fmla="*/ 54006 h 215079"/>
                <a:gd name="connsiteX39" fmla="*/ 17899 w 108200"/>
                <a:gd name="connsiteY39" fmla="*/ 55238 h 215079"/>
                <a:gd name="connsiteX40" fmla="*/ 34697 w 108200"/>
                <a:gd name="connsiteY40" fmla="*/ 61843 h 215079"/>
                <a:gd name="connsiteX41" fmla="*/ 42394 w 108200"/>
                <a:gd name="connsiteY41" fmla="*/ 51103 h 215079"/>
                <a:gd name="connsiteX42" fmla="*/ 31294 w 108200"/>
                <a:gd name="connsiteY42" fmla="*/ 37364 h 215079"/>
                <a:gd name="connsiteX43" fmla="*/ 29362 w 108200"/>
                <a:gd name="connsiteY43" fmla="*/ 34747 h 215079"/>
                <a:gd name="connsiteX44" fmla="*/ 31907 w 108200"/>
                <a:gd name="connsiteY44" fmla="*/ 32605 h 215079"/>
                <a:gd name="connsiteX45" fmla="*/ 52292 w 108200"/>
                <a:gd name="connsiteY45" fmla="*/ 16176 h 215079"/>
                <a:gd name="connsiteX46" fmla="*/ 55124 w 108200"/>
                <a:gd name="connsiteY46" fmla="*/ 14165 h 215079"/>
                <a:gd name="connsiteX47" fmla="*/ 57056 w 108200"/>
                <a:gd name="connsiteY47" fmla="*/ 16782 h 215079"/>
                <a:gd name="connsiteX48" fmla="*/ 68234 w 108200"/>
                <a:gd name="connsiteY48" fmla="*/ 30731 h 215079"/>
                <a:gd name="connsiteX49" fmla="*/ 80161 w 108200"/>
                <a:gd name="connsiteY49" fmla="*/ 25565 h 215079"/>
                <a:gd name="connsiteX50" fmla="*/ 77633 w 108200"/>
                <a:gd name="connsiteY50" fmla="*/ 7911 h 215079"/>
                <a:gd name="connsiteX51" fmla="*/ 77091 w 108200"/>
                <a:gd name="connsiteY51" fmla="*/ 4537 h 215079"/>
                <a:gd name="connsiteX52" fmla="*/ 80470 w 108200"/>
                <a:gd name="connsiteY52" fmla="*/ 3991 h 215079"/>
                <a:gd name="connsiteX53" fmla="*/ 106326 w 108200"/>
                <a:gd name="connsiteY53" fmla="*/ 303 h 215079"/>
                <a:gd name="connsiteX54" fmla="*/ 108200 w 108200"/>
                <a:gd name="connsiteY54" fmla="*/ 0 h 21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08200" h="215079">
                  <a:moveTo>
                    <a:pt x="108200" y="0"/>
                  </a:moveTo>
                  <a:lnTo>
                    <a:pt x="108200" y="76109"/>
                  </a:lnTo>
                  <a:lnTo>
                    <a:pt x="95080" y="76265"/>
                  </a:lnTo>
                  <a:cubicBezTo>
                    <a:pt x="86744" y="79852"/>
                    <a:pt x="79776" y="86625"/>
                    <a:pt x="76234" y="95696"/>
                  </a:cubicBezTo>
                  <a:cubicBezTo>
                    <a:pt x="68940" y="113915"/>
                    <a:pt x="77877" y="134661"/>
                    <a:pt x="96035" y="141713"/>
                  </a:cubicBezTo>
                  <a:lnTo>
                    <a:pt x="108200" y="141481"/>
                  </a:lnTo>
                  <a:lnTo>
                    <a:pt x="108200" y="214883"/>
                  </a:lnTo>
                  <a:lnTo>
                    <a:pt x="108130" y="214448"/>
                  </a:lnTo>
                  <a:lnTo>
                    <a:pt x="105603" y="196794"/>
                  </a:lnTo>
                  <a:cubicBezTo>
                    <a:pt x="101204" y="196528"/>
                    <a:pt x="96727" y="196053"/>
                    <a:pt x="92591" y="195213"/>
                  </a:cubicBezTo>
                  <a:lnTo>
                    <a:pt x="85954" y="211995"/>
                  </a:lnTo>
                  <a:lnTo>
                    <a:pt x="84717" y="215079"/>
                  </a:lnTo>
                  <a:lnTo>
                    <a:pt x="81551" y="213638"/>
                  </a:lnTo>
                  <a:lnTo>
                    <a:pt x="57218" y="204122"/>
                  </a:lnTo>
                  <a:lnTo>
                    <a:pt x="54130" y="202890"/>
                  </a:lnTo>
                  <a:lnTo>
                    <a:pt x="55368" y="199805"/>
                  </a:lnTo>
                  <a:lnTo>
                    <a:pt x="61873" y="183311"/>
                  </a:lnTo>
                  <a:cubicBezTo>
                    <a:pt x="58317" y="180823"/>
                    <a:pt x="54683" y="178126"/>
                    <a:pt x="51546" y="175482"/>
                  </a:cubicBezTo>
                  <a:lnTo>
                    <a:pt x="37485" y="186452"/>
                  </a:lnTo>
                  <a:lnTo>
                    <a:pt x="34730" y="188672"/>
                  </a:lnTo>
                  <a:lnTo>
                    <a:pt x="32798" y="186055"/>
                  </a:lnTo>
                  <a:lnTo>
                    <a:pt x="16581" y="165642"/>
                  </a:lnTo>
                  <a:lnTo>
                    <a:pt x="14361" y="162894"/>
                  </a:lnTo>
                  <a:lnTo>
                    <a:pt x="16906" y="160753"/>
                  </a:lnTo>
                  <a:lnTo>
                    <a:pt x="30967" y="149783"/>
                  </a:lnTo>
                  <a:cubicBezTo>
                    <a:pt x="29064" y="145963"/>
                    <a:pt x="27082" y="141934"/>
                    <a:pt x="25730" y="137670"/>
                  </a:cubicBezTo>
                  <a:lnTo>
                    <a:pt x="8257" y="140138"/>
                  </a:lnTo>
                  <a:lnTo>
                    <a:pt x="4878" y="140684"/>
                  </a:lnTo>
                  <a:lnTo>
                    <a:pt x="4413" y="137519"/>
                  </a:lnTo>
                  <a:lnTo>
                    <a:pt x="542" y="111784"/>
                  </a:lnTo>
                  <a:lnTo>
                    <a:pt x="0" y="108410"/>
                  </a:lnTo>
                  <a:lnTo>
                    <a:pt x="3379" y="107864"/>
                  </a:lnTo>
                  <a:lnTo>
                    <a:pt x="21062" y="105318"/>
                  </a:lnTo>
                  <a:cubicBezTo>
                    <a:pt x="21124" y="101004"/>
                    <a:pt x="21814" y="96454"/>
                    <a:pt x="22584" y="92114"/>
                  </a:cubicBezTo>
                  <a:lnTo>
                    <a:pt x="5864" y="85717"/>
                  </a:lnTo>
                  <a:lnTo>
                    <a:pt x="2776" y="84485"/>
                  </a:lnTo>
                  <a:lnTo>
                    <a:pt x="4014" y="81401"/>
                  </a:lnTo>
                  <a:lnTo>
                    <a:pt x="13574" y="57090"/>
                  </a:lnTo>
                  <a:lnTo>
                    <a:pt x="14812" y="54006"/>
                  </a:lnTo>
                  <a:lnTo>
                    <a:pt x="17899" y="55238"/>
                  </a:lnTo>
                  <a:lnTo>
                    <a:pt x="34697" y="61843"/>
                  </a:lnTo>
                  <a:cubicBezTo>
                    <a:pt x="37036" y="57871"/>
                    <a:pt x="39610" y="54526"/>
                    <a:pt x="42394" y="51103"/>
                  </a:cubicBezTo>
                  <a:lnTo>
                    <a:pt x="31294" y="37364"/>
                  </a:lnTo>
                  <a:lnTo>
                    <a:pt x="29362" y="34747"/>
                  </a:lnTo>
                  <a:lnTo>
                    <a:pt x="31907" y="32605"/>
                  </a:lnTo>
                  <a:lnTo>
                    <a:pt x="52292" y="16176"/>
                  </a:lnTo>
                  <a:lnTo>
                    <a:pt x="55124" y="14165"/>
                  </a:lnTo>
                  <a:lnTo>
                    <a:pt x="57056" y="16782"/>
                  </a:lnTo>
                  <a:lnTo>
                    <a:pt x="68234" y="30731"/>
                  </a:lnTo>
                  <a:cubicBezTo>
                    <a:pt x="72062" y="28826"/>
                    <a:pt x="76177" y="27051"/>
                    <a:pt x="80161" y="25565"/>
                  </a:cubicBezTo>
                  <a:lnTo>
                    <a:pt x="77633" y="7911"/>
                  </a:lnTo>
                  <a:lnTo>
                    <a:pt x="77091" y="4537"/>
                  </a:lnTo>
                  <a:lnTo>
                    <a:pt x="80470" y="3991"/>
                  </a:lnTo>
                  <a:lnTo>
                    <a:pt x="106326" y="303"/>
                  </a:lnTo>
                  <a:lnTo>
                    <a:pt x="108200" y="0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FC436800-34C7-DF46-B894-F1DE78519FC6}"/>
                </a:ext>
              </a:extLst>
            </p:cNvPr>
            <p:cNvSpPr/>
            <p:nvPr userDrawn="1"/>
          </p:nvSpPr>
          <p:spPr>
            <a:xfrm>
              <a:off x="11422871" y="4257175"/>
              <a:ext cx="769129" cy="981252"/>
            </a:xfrm>
            <a:custGeom>
              <a:avLst/>
              <a:gdLst>
                <a:gd name="connsiteX0" fmla="*/ 497595 w 769129"/>
                <a:gd name="connsiteY0" fmla="*/ 351228 h 981252"/>
                <a:gd name="connsiteX1" fmla="*/ 622036 w 769129"/>
                <a:gd name="connsiteY1" fmla="*/ 441817 h 981252"/>
                <a:gd name="connsiteX2" fmla="*/ 540426 w 769129"/>
                <a:gd name="connsiteY2" fmla="*/ 620992 h 981252"/>
                <a:gd name="connsiteX3" fmla="*/ 361384 w 769129"/>
                <a:gd name="connsiteY3" fmla="*/ 539090 h 981252"/>
                <a:gd name="connsiteX4" fmla="*/ 442994 w 769129"/>
                <a:gd name="connsiteY4" fmla="*/ 359915 h 981252"/>
                <a:gd name="connsiteX5" fmla="*/ 497595 w 769129"/>
                <a:gd name="connsiteY5" fmla="*/ 351228 h 981252"/>
                <a:gd name="connsiteX6" fmla="*/ 502999 w 769129"/>
                <a:gd name="connsiteY6" fmla="*/ 216771 h 981252"/>
                <a:gd name="connsiteX7" fmla="*/ 395344 w 769129"/>
                <a:gd name="connsiteY7" fmla="*/ 233961 h 981252"/>
                <a:gd name="connsiteX8" fmla="*/ 233890 w 769129"/>
                <a:gd name="connsiteY8" fmla="*/ 586670 h 981252"/>
                <a:gd name="connsiteX9" fmla="*/ 587021 w 769129"/>
                <a:gd name="connsiteY9" fmla="*/ 747578 h 981252"/>
                <a:gd name="connsiteX10" fmla="*/ 748397 w 769129"/>
                <a:gd name="connsiteY10" fmla="*/ 394660 h 981252"/>
                <a:gd name="connsiteX11" fmla="*/ 502999 w 769129"/>
                <a:gd name="connsiteY11" fmla="*/ 216771 h 981252"/>
                <a:gd name="connsiteX12" fmla="*/ 512185 w 769129"/>
                <a:gd name="connsiteY12" fmla="*/ 0 h 981252"/>
                <a:gd name="connsiteX13" fmla="*/ 632479 w 769129"/>
                <a:gd name="connsiteY13" fmla="*/ 19991 h 981252"/>
                <a:gd name="connsiteX14" fmla="*/ 616511 w 769129"/>
                <a:gd name="connsiteY14" fmla="*/ 114926 h 981252"/>
                <a:gd name="connsiteX15" fmla="*/ 693478 w 769129"/>
                <a:gd name="connsiteY15" fmla="*/ 150133 h 981252"/>
                <a:gd name="connsiteX16" fmla="*/ 755155 w 769129"/>
                <a:gd name="connsiteY16" fmla="*/ 75829 h 981252"/>
                <a:gd name="connsiteX17" fmla="*/ 769129 w 769129"/>
                <a:gd name="connsiteY17" fmla="*/ 87360 h 981252"/>
                <a:gd name="connsiteX18" fmla="*/ 769129 w 769129"/>
                <a:gd name="connsiteY18" fmla="*/ 798806 h 981252"/>
                <a:gd name="connsiteX19" fmla="*/ 754025 w 769129"/>
                <a:gd name="connsiteY19" fmla="*/ 786396 h 981252"/>
                <a:gd name="connsiteX20" fmla="*/ 684806 w 769129"/>
                <a:gd name="connsiteY20" fmla="*/ 835366 h 981252"/>
                <a:gd name="connsiteX21" fmla="*/ 718562 w 769129"/>
                <a:gd name="connsiteY21" fmla="*/ 925820 h 981252"/>
                <a:gd name="connsiteX22" fmla="*/ 604413 w 769129"/>
                <a:gd name="connsiteY22" fmla="*/ 968419 h 981252"/>
                <a:gd name="connsiteX23" fmla="*/ 570657 w 769129"/>
                <a:gd name="connsiteY23" fmla="*/ 877966 h 981252"/>
                <a:gd name="connsiteX24" fmla="*/ 486280 w 769129"/>
                <a:gd name="connsiteY24" fmla="*/ 886316 h 981252"/>
                <a:gd name="connsiteX25" fmla="*/ 470311 w 769129"/>
                <a:gd name="connsiteY25" fmla="*/ 981252 h 981252"/>
                <a:gd name="connsiteX26" fmla="*/ 350017 w 769129"/>
                <a:gd name="connsiteY26" fmla="*/ 961261 h 981252"/>
                <a:gd name="connsiteX27" fmla="*/ 365985 w 769129"/>
                <a:gd name="connsiteY27" fmla="*/ 866325 h 981252"/>
                <a:gd name="connsiteX28" fmla="*/ 288808 w 769129"/>
                <a:gd name="connsiteY28" fmla="*/ 831197 h 981252"/>
                <a:gd name="connsiteX29" fmla="*/ 227341 w 769129"/>
                <a:gd name="connsiteY29" fmla="*/ 905423 h 981252"/>
                <a:gd name="connsiteX30" fmla="*/ 133385 w 769129"/>
                <a:gd name="connsiteY30" fmla="*/ 827893 h 981252"/>
                <a:gd name="connsiteX31" fmla="*/ 194852 w 769129"/>
                <a:gd name="connsiteY31" fmla="*/ 753668 h 981252"/>
                <a:gd name="connsiteX32" fmla="*/ 145689 w 769129"/>
                <a:gd name="connsiteY32" fmla="*/ 684708 h 981252"/>
                <a:gd name="connsiteX33" fmla="*/ 55252 w 769129"/>
                <a:gd name="connsiteY33" fmla="*/ 718458 h 981252"/>
                <a:gd name="connsiteX34" fmla="*/ 12666 w 769129"/>
                <a:gd name="connsiteY34" fmla="*/ 604344 h 981252"/>
                <a:gd name="connsiteX35" fmla="*/ 103103 w 769129"/>
                <a:gd name="connsiteY35" fmla="*/ 570594 h 981252"/>
                <a:gd name="connsiteX36" fmla="*/ 95067 w 769129"/>
                <a:gd name="connsiteY36" fmla="*/ 486286 h 981252"/>
                <a:gd name="connsiteX37" fmla="*/ 0 w 769129"/>
                <a:gd name="connsiteY37" fmla="*/ 470477 h 981252"/>
                <a:gd name="connsiteX38" fmla="*/ 20114 w 769129"/>
                <a:gd name="connsiteY38" fmla="*/ 350139 h 981252"/>
                <a:gd name="connsiteX39" fmla="*/ 115181 w 769129"/>
                <a:gd name="connsiteY39" fmla="*/ 365948 h 981252"/>
                <a:gd name="connsiteX40" fmla="*/ 150475 w 769129"/>
                <a:gd name="connsiteY40" fmla="*/ 288847 h 981252"/>
                <a:gd name="connsiteX41" fmla="*/ 76215 w 769129"/>
                <a:gd name="connsiteY41" fmla="*/ 227584 h 981252"/>
                <a:gd name="connsiteX42" fmla="*/ 154001 w 769129"/>
                <a:gd name="connsiteY42" fmla="*/ 133670 h 981252"/>
                <a:gd name="connsiteX43" fmla="*/ 228262 w 769129"/>
                <a:gd name="connsiteY43" fmla="*/ 194934 h 981252"/>
                <a:gd name="connsiteX44" fmla="*/ 297480 w 769129"/>
                <a:gd name="connsiteY44" fmla="*/ 145964 h 981252"/>
                <a:gd name="connsiteX45" fmla="*/ 263724 w 769129"/>
                <a:gd name="connsiteY45" fmla="*/ 55510 h 981252"/>
                <a:gd name="connsiteX46" fmla="*/ 377872 w 769129"/>
                <a:gd name="connsiteY46" fmla="*/ 12911 h 981252"/>
                <a:gd name="connsiteX47" fmla="*/ 411629 w 769129"/>
                <a:gd name="connsiteY47" fmla="*/ 103364 h 981252"/>
                <a:gd name="connsiteX48" fmla="*/ 496007 w 769129"/>
                <a:gd name="connsiteY48" fmla="*/ 95014 h 98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69129" h="981252">
                  <a:moveTo>
                    <a:pt x="497595" y="351228"/>
                  </a:moveTo>
                  <a:cubicBezTo>
                    <a:pt x="551782" y="353587"/>
                    <a:pt x="601862" y="387758"/>
                    <a:pt x="622036" y="441817"/>
                  </a:cubicBezTo>
                  <a:cubicBezTo>
                    <a:pt x="648936" y="513895"/>
                    <a:pt x="612503" y="594093"/>
                    <a:pt x="540426" y="620992"/>
                  </a:cubicBezTo>
                  <a:cubicBezTo>
                    <a:pt x="468558" y="647812"/>
                    <a:pt x="388283" y="611169"/>
                    <a:pt x="361384" y="539090"/>
                  </a:cubicBezTo>
                  <a:cubicBezTo>
                    <a:pt x="334485" y="467011"/>
                    <a:pt x="371127" y="386735"/>
                    <a:pt x="442994" y="359915"/>
                  </a:cubicBezTo>
                  <a:cubicBezTo>
                    <a:pt x="461013" y="353190"/>
                    <a:pt x="479532" y="350442"/>
                    <a:pt x="497595" y="351228"/>
                  </a:cubicBezTo>
                  <a:close/>
                  <a:moveTo>
                    <a:pt x="502999" y="216771"/>
                  </a:moveTo>
                  <a:cubicBezTo>
                    <a:pt x="467375" y="215265"/>
                    <a:pt x="430858" y="220708"/>
                    <a:pt x="395344" y="233961"/>
                  </a:cubicBezTo>
                  <a:cubicBezTo>
                    <a:pt x="253288" y="286976"/>
                    <a:pt x="180989" y="444918"/>
                    <a:pt x="233890" y="586670"/>
                  </a:cubicBezTo>
                  <a:cubicBezTo>
                    <a:pt x="286868" y="728631"/>
                    <a:pt x="444965" y="800592"/>
                    <a:pt x="587021" y="747578"/>
                  </a:cubicBezTo>
                  <a:cubicBezTo>
                    <a:pt x="729077" y="694564"/>
                    <a:pt x="801376" y="536622"/>
                    <a:pt x="748397" y="394660"/>
                  </a:cubicBezTo>
                  <a:cubicBezTo>
                    <a:pt x="708721" y="288346"/>
                    <a:pt x="609873" y="221290"/>
                    <a:pt x="502999" y="216771"/>
                  </a:cubicBezTo>
                  <a:close/>
                  <a:moveTo>
                    <a:pt x="512185" y="0"/>
                  </a:moveTo>
                  <a:lnTo>
                    <a:pt x="632479" y="19991"/>
                  </a:lnTo>
                  <a:lnTo>
                    <a:pt x="616511" y="114926"/>
                  </a:lnTo>
                  <a:cubicBezTo>
                    <a:pt x="643326" y="124003"/>
                    <a:pt x="669243" y="135800"/>
                    <a:pt x="693478" y="150133"/>
                  </a:cubicBezTo>
                  <a:lnTo>
                    <a:pt x="755155" y="75829"/>
                  </a:lnTo>
                  <a:lnTo>
                    <a:pt x="769129" y="87360"/>
                  </a:lnTo>
                  <a:lnTo>
                    <a:pt x="769129" y="798806"/>
                  </a:lnTo>
                  <a:lnTo>
                    <a:pt x="754025" y="786396"/>
                  </a:lnTo>
                  <a:cubicBezTo>
                    <a:pt x="733068" y="805189"/>
                    <a:pt x="709970" y="821443"/>
                    <a:pt x="684806" y="835366"/>
                  </a:cubicBezTo>
                  <a:lnTo>
                    <a:pt x="718562" y="925820"/>
                  </a:lnTo>
                  <a:lnTo>
                    <a:pt x="604413" y="968419"/>
                  </a:lnTo>
                  <a:lnTo>
                    <a:pt x="570657" y="877966"/>
                  </a:lnTo>
                  <a:cubicBezTo>
                    <a:pt x="542524" y="883933"/>
                    <a:pt x="514424" y="886786"/>
                    <a:pt x="486280" y="886316"/>
                  </a:cubicBezTo>
                  <a:lnTo>
                    <a:pt x="470311" y="981252"/>
                  </a:lnTo>
                  <a:lnTo>
                    <a:pt x="350017" y="961261"/>
                  </a:lnTo>
                  <a:lnTo>
                    <a:pt x="365985" y="866325"/>
                  </a:lnTo>
                  <a:cubicBezTo>
                    <a:pt x="338960" y="857327"/>
                    <a:pt x="313330" y="845661"/>
                    <a:pt x="288808" y="831197"/>
                  </a:cubicBezTo>
                  <a:lnTo>
                    <a:pt x="227341" y="905423"/>
                  </a:lnTo>
                  <a:lnTo>
                    <a:pt x="133385" y="827893"/>
                  </a:lnTo>
                  <a:lnTo>
                    <a:pt x="194852" y="753668"/>
                  </a:lnTo>
                  <a:cubicBezTo>
                    <a:pt x="176267" y="732693"/>
                    <a:pt x="159810" y="709733"/>
                    <a:pt x="145689" y="684708"/>
                  </a:cubicBezTo>
                  <a:lnTo>
                    <a:pt x="55252" y="718458"/>
                  </a:lnTo>
                  <a:lnTo>
                    <a:pt x="12666" y="604344"/>
                  </a:lnTo>
                  <a:lnTo>
                    <a:pt x="103103" y="570594"/>
                  </a:lnTo>
                  <a:cubicBezTo>
                    <a:pt x="97376" y="542436"/>
                    <a:pt x="94690" y="514098"/>
                    <a:pt x="95067" y="486286"/>
                  </a:cubicBezTo>
                  <a:lnTo>
                    <a:pt x="0" y="470477"/>
                  </a:lnTo>
                  <a:lnTo>
                    <a:pt x="20114" y="350139"/>
                  </a:lnTo>
                  <a:lnTo>
                    <a:pt x="115181" y="365948"/>
                  </a:lnTo>
                  <a:cubicBezTo>
                    <a:pt x="124310" y="339164"/>
                    <a:pt x="135953" y="313350"/>
                    <a:pt x="150475" y="288847"/>
                  </a:cubicBezTo>
                  <a:lnTo>
                    <a:pt x="76215" y="227584"/>
                  </a:lnTo>
                  <a:lnTo>
                    <a:pt x="154001" y="133670"/>
                  </a:lnTo>
                  <a:lnTo>
                    <a:pt x="228262" y="194934"/>
                  </a:lnTo>
                  <a:cubicBezTo>
                    <a:pt x="249295" y="176350"/>
                    <a:pt x="272317" y="159886"/>
                    <a:pt x="297480" y="145964"/>
                  </a:cubicBezTo>
                  <a:lnTo>
                    <a:pt x="263724" y="55510"/>
                  </a:lnTo>
                  <a:lnTo>
                    <a:pt x="377872" y="12911"/>
                  </a:lnTo>
                  <a:lnTo>
                    <a:pt x="411629" y="103364"/>
                  </a:lnTo>
                  <a:cubicBezTo>
                    <a:pt x="439762" y="97397"/>
                    <a:pt x="467940" y="94754"/>
                    <a:pt x="496007" y="95014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72F2BE2C-835C-A346-8A8D-75E6BE713EA7}"/>
                </a:ext>
              </a:extLst>
            </p:cNvPr>
            <p:cNvSpPr/>
            <p:nvPr userDrawn="1"/>
          </p:nvSpPr>
          <p:spPr>
            <a:xfrm>
              <a:off x="12192000" y="5271857"/>
              <a:ext cx="3027" cy="10455"/>
            </a:xfrm>
            <a:custGeom>
              <a:avLst/>
              <a:gdLst>
                <a:gd name="connsiteX0" fmla="*/ 0 w 3027"/>
                <a:gd name="connsiteY0" fmla="*/ 0 h 10455"/>
                <a:gd name="connsiteX1" fmla="*/ 3027 w 3027"/>
                <a:gd name="connsiteY1" fmla="*/ 8111 h 10455"/>
                <a:gd name="connsiteX2" fmla="*/ 0 w 3027"/>
                <a:gd name="connsiteY2" fmla="*/ 10455 h 10455"/>
                <a:gd name="connsiteX3" fmla="*/ 0 w 3027"/>
                <a:gd name="connsiteY3" fmla="*/ 0 h 1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7" h="10455">
                  <a:moveTo>
                    <a:pt x="0" y="0"/>
                  </a:moveTo>
                  <a:lnTo>
                    <a:pt x="3027" y="8111"/>
                  </a:lnTo>
                  <a:lnTo>
                    <a:pt x="0" y="1045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35805CC7-94BF-9244-B569-55808CCD5073}"/>
                </a:ext>
              </a:extLst>
            </p:cNvPr>
            <p:cNvSpPr/>
            <p:nvPr userDrawn="1"/>
          </p:nvSpPr>
          <p:spPr>
            <a:xfrm>
              <a:off x="11971031" y="5163310"/>
              <a:ext cx="220969" cy="682475"/>
            </a:xfrm>
            <a:custGeom>
              <a:avLst/>
              <a:gdLst>
                <a:gd name="connsiteX0" fmla="*/ 220969 w 220969"/>
                <a:gd name="connsiteY0" fmla="*/ 119001 h 682475"/>
                <a:gd name="connsiteX1" fmla="*/ 220969 w 220969"/>
                <a:gd name="connsiteY1" fmla="*/ 272427 h 682475"/>
                <a:gd name="connsiteX2" fmla="*/ 219939 w 220969"/>
                <a:gd name="connsiteY2" fmla="*/ 273869 h 682475"/>
                <a:gd name="connsiteX3" fmla="*/ 215521 w 220969"/>
                <a:gd name="connsiteY3" fmla="*/ 394258 h 682475"/>
                <a:gd name="connsiteX4" fmla="*/ 220969 w 220969"/>
                <a:gd name="connsiteY4" fmla="*/ 402990 h 682475"/>
                <a:gd name="connsiteX5" fmla="*/ 220969 w 220969"/>
                <a:gd name="connsiteY5" fmla="*/ 682475 h 682475"/>
                <a:gd name="connsiteX6" fmla="*/ 160848 w 220969"/>
                <a:gd name="connsiteY6" fmla="*/ 655003 h 682475"/>
                <a:gd name="connsiteX7" fmla="*/ 208373 w 220969"/>
                <a:gd name="connsiteY7" fmla="*/ 551192 h 682475"/>
                <a:gd name="connsiteX8" fmla="*/ 140326 w 220969"/>
                <a:gd name="connsiteY8" fmla="*/ 478352 h 682475"/>
                <a:gd name="connsiteX9" fmla="*/ 36709 w 220969"/>
                <a:gd name="connsiteY9" fmla="*/ 517021 h 682475"/>
                <a:gd name="connsiteX10" fmla="*/ 0 w 220969"/>
                <a:gd name="connsiteY10" fmla="*/ 418656 h 682475"/>
                <a:gd name="connsiteX11" fmla="*/ 103617 w 220969"/>
                <a:gd name="connsiteY11" fmla="*/ 379987 h 682475"/>
                <a:gd name="connsiteX12" fmla="*/ 106512 w 220969"/>
                <a:gd name="connsiteY12" fmla="*/ 284010 h 682475"/>
                <a:gd name="connsiteX13" fmla="*/ 5187 w 220969"/>
                <a:gd name="connsiteY13" fmla="*/ 237895 h 682475"/>
                <a:gd name="connsiteX14" fmla="*/ 49103 w 220969"/>
                <a:gd name="connsiteY14" fmla="*/ 142345 h 682475"/>
                <a:gd name="connsiteX15" fmla="*/ 148570 w 220969"/>
                <a:gd name="connsiteY15" fmla="*/ 187962 h 682475"/>
                <a:gd name="connsiteX16" fmla="*/ 182470 w 220969"/>
                <a:gd name="connsiteY16" fmla="*/ 148815 h 682475"/>
                <a:gd name="connsiteX17" fmla="*/ 220969 w 220969"/>
                <a:gd name="connsiteY17" fmla="*/ 0 h 682475"/>
                <a:gd name="connsiteX18" fmla="*/ 220969 w 220969"/>
                <a:gd name="connsiteY18" fmla="*/ 108546 h 682475"/>
                <a:gd name="connsiteX19" fmla="*/ 185413 w 220969"/>
                <a:gd name="connsiteY19" fmla="*/ 13269 h 68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0969" h="682475">
                  <a:moveTo>
                    <a:pt x="220969" y="119001"/>
                  </a:moveTo>
                  <a:lnTo>
                    <a:pt x="220969" y="272427"/>
                  </a:lnTo>
                  <a:lnTo>
                    <a:pt x="219939" y="273869"/>
                  </a:lnTo>
                  <a:cubicBezTo>
                    <a:pt x="203206" y="310514"/>
                    <a:pt x="200435" y="353513"/>
                    <a:pt x="215521" y="394258"/>
                  </a:cubicBezTo>
                  <a:lnTo>
                    <a:pt x="220969" y="402990"/>
                  </a:lnTo>
                  <a:lnTo>
                    <a:pt x="220969" y="682475"/>
                  </a:lnTo>
                  <a:lnTo>
                    <a:pt x="160848" y="655003"/>
                  </a:lnTo>
                  <a:lnTo>
                    <a:pt x="208373" y="551192"/>
                  </a:lnTo>
                  <a:cubicBezTo>
                    <a:pt x="181644" y="532078"/>
                    <a:pt x="158334" y="507396"/>
                    <a:pt x="140326" y="478352"/>
                  </a:cubicBezTo>
                  <a:lnTo>
                    <a:pt x="36709" y="517021"/>
                  </a:lnTo>
                  <a:lnTo>
                    <a:pt x="0" y="418656"/>
                  </a:lnTo>
                  <a:lnTo>
                    <a:pt x="103617" y="379987"/>
                  </a:lnTo>
                  <a:cubicBezTo>
                    <a:pt x="98453" y="347580"/>
                    <a:pt x="99733" y="315152"/>
                    <a:pt x="106512" y="284010"/>
                  </a:cubicBezTo>
                  <a:lnTo>
                    <a:pt x="5187" y="237895"/>
                  </a:lnTo>
                  <a:lnTo>
                    <a:pt x="49103" y="142345"/>
                  </a:lnTo>
                  <a:lnTo>
                    <a:pt x="148570" y="187962"/>
                  </a:lnTo>
                  <a:cubicBezTo>
                    <a:pt x="158491" y="173888"/>
                    <a:pt x="169845" y="160769"/>
                    <a:pt x="182470" y="148815"/>
                  </a:cubicBezTo>
                  <a:close/>
                  <a:moveTo>
                    <a:pt x="220969" y="0"/>
                  </a:moveTo>
                  <a:lnTo>
                    <a:pt x="220969" y="108546"/>
                  </a:lnTo>
                  <a:lnTo>
                    <a:pt x="185413" y="1326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25C81535-44AC-7342-BE48-3A7BBD69EA11}"/>
                </a:ext>
              </a:extLst>
            </p:cNvPr>
            <p:cNvSpPr/>
            <p:nvPr userDrawn="1"/>
          </p:nvSpPr>
          <p:spPr>
            <a:xfrm>
              <a:off x="11620997" y="5850795"/>
              <a:ext cx="571003" cy="717410"/>
            </a:xfrm>
            <a:custGeom>
              <a:avLst/>
              <a:gdLst>
                <a:gd name="connsiteX0" fmla="*/ 374402 w 571003"/>
                <a:gd name="connsiteY0" fmla="*/ 0 h 717410"/>
                <a:gd name="connsiteX1" fmla="*/ 462562 w 571003"/>
                <a:gd name="connsiteY1" fmla="*/ 14779 h 717410"/>
                <a:gd name="connsiteX2" fmla="*/ 450755 w 571003"/>
                <a:gd name="connsiteY2" fmla="*/ 84269 h 717410"/>
                <a:gd name="connsiteX3" fmla="*/ 507154 w 571003"/>
                <a:gd name="connsiteY3" fmla="*/ 109947 h 717410"/>
                <a:gd name="connsiteX4" fmla="*/ 552052 w 571003"/>
                <a:gd name="connsiteY4" fmla="*/ 55525 h 717410"/>
                <a:gd name="connsiteX5" fmla="*/ 571003 w 571003"/>
                <a:gd name="connsiteY5" fmla="*/ 71153 h 717410"/>
                <a:gd name="connsiteX6" fmla="*/ 571003 w 571003"/>
                <a:gd name="connsiteY6" fmla="*/ 591134 h 717410"/>
                <a:gd name="connsiteX7" fmla="*/ 551190 w 571003"/>
                <a:gd name="connsiteY7" fmla="*/ 574843 h 717410"/>
                <a:gd name="connsiteX8" fmla="*/ 500756 w 571003"/>
                <a:gd name="connsiteY8" fmla="*/ 610591 h 717410"/>
                <a:gd name="connsiteX9" fmla="*/ 525433 w 571003"/>
                <a:gd name="connsiteY9" fmla="*/ 676716 h 717410"/>
                <a:gd name="connsiteX10" fmla="*/ 441780 w 571003"/>
                <a:gd name="connsiteY10" fmla="*/ 707935 h 717410"/>
                <a:gd name="connsiteX11" fmla="*/ 417103 w 571003"/>
                <a:gd name="connsiteY11" fmla="*/ 641810 h 717410"/>
                <a:gd name="connsiteX12" fmla="*/ 355370 w 571003"/>
                <a:gd name="connsiteY12" fmla="*/ 647921 h 717410"/>
                <a:gd name="connsiteX13" fmla="*/ 343564 w 571003"/>
                <a:gd name="connsiteY13" fmla="*/ 717410 h 717410"/>
                <a:gd name="connsiteX14" fmla="*/ 255692 w 571003"/>
                <a:gd name="connsiteY14" fmla="*/ 702762 h 717410"/>
                <a:gd name="connsiteX15" fmla="*/ 267498 w 571003"/>
                <a:gd name="connsiteY15" fmla="*/ 633273 h 717410"/>
                <a:gd name="connsiteX16" fmla="*/ 210968 w 571003"/>
                <a:gd name="connsiteY16" fmla="*/ 607881 h 717410"/>
                <a:gd name="connsiteX17" fmla="*/ 166124 w 571003"/>
                <a:gd name="connsiteY17" fmla="*/ 661807 h 717410"/>
                <a:gd name="connsiteX18" fmla="*/ 97538 w 571003"/>
                <a:gd name="connsiteY18" fmla="*/ 605393 h 717410"/>
                <a:gd name="connsiteX19" fmla="*/ 142514 w 571003"/>
                <a:gd name="connsiteY19" fmla="*/ 551180 h 717410"/>
                <a:gd name="connsiteX20" fmla="*/ 106490 w 571003"/>
                <a:gd name="connsiteY20" fmla="*/ 500733 h 717410"/>
                <a:gd name="connsiteX21" fmla="*/ 40448 w 571003"/>
                <a:gd name="connsiteY21" fmla="*/ 525379 h 717410"/>
                <a:gd name="connsiteX22" fmla="*/ 9289 w 571003"/>
                <a:gd name="connsiteY22" fmla="*/ 441886 h 717410"/>
                <a:gd name="connsiteX23" fmla="*/ 75331 w 571003"/>
                <a:gd name="connsiteY23" fmla="*/ 417239 h 717410"/>
                <a:gd name="connsiteX24" fmla="*/ 69497 w 571003"/>
                <a:gd name="connsiteY24" fmla="*/ 355525 h 717410"/>
                <a:gd name="connsiteX25" fmla="*/ 0 w 571003"/>
                <a:gd name="connsiteY25" fmla="*/ 344032 h 717410"/>
                <a:gd name="connsiteX26" fmla="*/ 14702 w 571003"/>
                <a:gd name="connsiteY26" fmla="*/ 256059 h 717410"/>
                <a:gd name="connsiteX27" fmla="*/ 84067 w 571003"/>
                <a:gd name="connsiteY27" fmla="*/ 267840 h 717410"/>
                <a:gd name="connsiteX28" fmla="*/ 110063 w 571003"/>
                <a:gd name="connsiteY28" fmla="*/ 211412 h 717410"/>
                <a:gd name="connsiteX29" fmla="*/ 55618 w 571003"/>
                <a:gd name="connsiteY29" fmla="*/ 166647 h 717410"/>
                <a:gd name="connsiteX30" fmla="*/ 112331 w 571003"/>
                <a:gd name="connsiteY30" fmla="*/ 97802 h 717410"/>
                <a:gd name="connsiteX31" fmla="*/ 166854 w 571003"/>
                <a:gd name="connsiteY31" fmla="*/ 142776 h 717410"/>
                <a:gd name="connsiteX32" fmla="*/ 217420 w 571003"/>
                <a:gd name="connsiteY32" fmla="*/ 106741 h 717410"/>
                <a:gd name="connsiteX33" fmla="*/ 192743 w 571003"/>
                <a:gd name="connsiteY33" fmla="*/ 40616 h 717410"/>
                <a:gd name="connsiteX34" fmla="*/ 276396 w 571003"/>
                <a:gd name="connsiteY34" fmla="*/ 9397 h 717410"/>
                <a:gd name="connsiteX35" fmla="*/ 301073 w 571003"/>
                <a:gd name="connsiteY35" fmla="*/ 75522 h 717410"/>
                <a:gd name="connsiteX36" fmla="*/ 362674 w 571003"/>
                <a:gd name="connsiteY36" fmla="*/ 69698 h 717410"/>
                <a:gd name="connsiteX37" fmla="*/ 374402 w 571003"/>
                <a:gd name="connsiteY37" fmla="*/ 0 h 717410"/>
                <a:gd name="connsiteX38" fmla="*/ 367770 w 571003"/>
                <a:gd name="connsiteY38" fmla="*/ 158519 h 717410"/>
                <a:gd name="connsiteX39" fmla="*/ 288973 w 571003"/>
                <a:gd name="connsiteY39" fmla="*/ 171107 h 717410"/>
                <a:gd name="connsiteX40" fmla="*/ 170960 w 571003"/>
                <a:gd name="connsiteY40" fmla="*/ 428993 h 717410"/>
                <a:gd name="connsiteX41" fmla="*/ 428993 w 571003"/>
                <a:gd name="connsiteY41" fmla="*/ 546303 h 717410"/>
                <a:gd name="connsiteX42" fmla="*/ 547294 w 571003"/>
                <a:gd name="connsiteY42" fmla="*/ 288548 h 717410"/>
                <a:gd name="connsiteX43" fmla="*/ 367770 w 571003"/>
                <a:gd name="connsiteY43" fmla="*/ 158519 h 71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71003" h="717410">
                  <a:moveTo>
                    <a:pt x="374402" y="0"/>
                  </a:moveTo>
                  <a:lnTo>
                    <a:pt x="462562" y="14779"/>
                  </a:lnTo>
                  <a:lnTo>
                    <a:pt x="450755" y="84269"/>
                  </a:lnTo>
                  <a:cubicBezTo>
                    <a:pt x="470380" y="90772"/>
                    <a:pt x="489372" y="99419"/>
                    <a:pt x="507154" y="109947"/>
                  </a:cubicBezTo>
                  <a:lnTo>
                    <a:pt x="552052" y="55525"/>
                  </a:lnTo>
                  <a:lnTo>
                    <a:pt x="571003" y="71153"/>
                  </a:lnTo>
                  <a:lnTo>
                    <a:pt x="571003" y="591134"/>
                  </a:lnTo>
                  <a:lnTo>
                    <a:pt x="551190" y="574843"/>
                  </a:lnTo>
                  <a:cubicBezTo>
                    <a:pt x="535946" y="588399"/>
                    <a:pt x="519161" y="600385"/>
                    <a:pt x="500756" y="610591"/>
                  </a:cubicBezTo>
                  <a:lnTo>
                    <a:pt x="525433" y="676716"/>
                  </a:lnTo>
                  <a:lnTo>
                    <a:pt x="441780" y="707935"/>
                  </a:lnTo>
                  <a:lnTo>
                    <a:pt x="417103" y="641810"/>
                  </a:lnTo>
                  <a:cubicBezTo>
                    <a:pt x="396511" y="646156"/>
                    <a:pt x="375768" y="648176"/>
                    <a:pt x="355370" y="647921"/>
                  </a:cubicBezTo>
                  <a:lnTo>
                    <a:pt x="343564" y="717410"/>
                  </a:lnTo>
                  <a:lnTo>
                    <a:pt x="255692" y="702762"/>
                  </a:lnTo>
                  <a:lnTo>
                    <a:pt x="267498" y="633273"/>
                  </a:lnTo>
                  <a:cubicBezTo>
                    <a:pt x="247664" y="626848"/>
                    <a:pt x="228882" y="618122"/>
                    <a:pt x="210968" y="607881"/>
                  </a:cubicBezTo>
                  <a:lnTo>
                    <a:pt x="166124" y="661807"/>
                  </a:lnTo>
                  <a:lnTo>
                    <a:pt x="97538" y="605393"/>
                  </a:lnTo>
                  <a:lnTo>
                    <a:pt x="142514" y="551180"/>
                  </a:lnTo>
                  <a:cubicBezTo>
                    <a:pt x="128669" y="535844"/>
                    <a:pt x="116897" y="519020"/>
                    <a:pt x="106490" y="500733"/>
                  </a:cubicBezTo>
                  <a:lnTo>
                    <a:pt x="40448" y="525379"/>
                  </a:lnTo>
                  <a:lnTo>
                    <a:pt x="9289" y="441886"/>
                  </a:lnTo>
                  <a:lnTo>
                    <a:pt x="75331" y="417239"/>
                  </a:lnTo>
                  <a:cubicBezTo>
                    <a:pt x="71213" y="396605"/>
                    <a:pt x="69007" y="375972"/>
                    <a:pt x="69497" y="355525"/>
                  </a:cubicBezTo>
                  <a:lnTo>
                    <a:pt x="0" y="344032"/>
                  </a:lnTo>
                  <a:lnTo>
                    <a:pt x="14702" y="256059"/>
                  </a:lnTo>
                  <a:lnTo>
                    <a:pt x="84067" y="267840"/>
                  </a:lnTo>
                  <a:cubicBezTo>
                    <a:pt x="90814" y="248157"/>
                    <a:pt x="99288" y="229260"/>
                    <a:pt x="110063" y="211412"/>
                  </a:cubicBezTo>
                  <a:lnTo>
                    <a:pt x="55618" y="166647"/>
                  </a:lnTo>
                  <a:lnTo>
                    <a:pt x="112331" y="97802"/>
                  </a:lnTo>
                  <a:lnTo>
                    <a:pt x="166854" y="142776"/>
                  </a:lnTo>
                  <a:cubicBezTo>
                    <a:pt x="182098" y="129220"/>
                    <a:pt x="199093" y="117156"/>
                    <a:pt x="217420" y="106741"/>
                  </a:cubicBezTo>
                  <a:lnTo>
                    <a:pt x="192743" y="40616"/>
                  </a:lnTo>
                  <a:lnTo>
                    <a:pt x="276396" y="9397"/>
                  </a:lnTo>
                  <a:lnTo>
                    <a:pt x="301073" y="75522"/>
                  </a:lnTo>
                  <a:cubicBezTo>
                    <a:pt x="321742" y="71385"/>
                    <a:pt x="342276" y="69443"/>
                    <a:pt x="362674" y="69698"/>
                  </a:cubicBezTo>
                  <a:lnTo>
                    <a:pt x="374402" y="0"/>
                  </a:lnTo>
                  <a:close/>
                  <a:moveTo>
                    <a:pt x="367770" y="158519"/>
                  </a:moveTo>
                  <a:cubicBezTo>
                    <a:pt x="341698" y="157420"/>
                    <a:pt x="314971" y="161405"/>
                    <a:pt x="288973" y="171107"/>
                  </a:cubicBezTo>
                  <a:cubicBezTo>
                    <a:pt x="185193" y="209837"/>
                    <a:pt x="132304" y="325411"/>
                    <a:pt x="170960" y="428993"/>
                  </a:cubicBezTo>
                  <a:cubicBezTo>
                    <a:pt x="209694" y="532784"/>
                    <a:pt x="325213" y="585033"/>
                    <a:pt x="428993" y="546303"/>
                  </a:cubicBezTo>
                  <a:cubicBezTo>
                    <a:pt x="532983" y="507495"/>
                    <a:pt x="586028" y="392340"/>
                    <a:pt x="547294" y="288548"/>
                  </a:cubicBezTo>
                  <a:cubicBezTo>
                    <a:pt x="518302" y="210862"/>
                    <a:pt x="445987" y="161815"/>
                    <a:pt x="367770" y="158519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B45B55F5-7FE6-7748-B750-0574E4DE836E}"/>
                </a:ext>
              </a:extLst>
            </p:cNvPr>
            <p:cNvSpPr/>
            <p:nvPr userDrawn="1"/>
          </p:nvSpPr>
          <p:spPr>
            <a:xfrm>
              <a:off x="12015245" y="6558703"/>
              <a:ext cx="176754" cy="357679"/>
            </a:xfrm>
            <a:custGeom>
              <a:avLst/>
              <a:gdLst>
                <a:gd name="connsiteX0" fmla="*/ 176754 w 176754"/>
                <a:gd name="connsiteY0" fmla="*/ 128203 h 357679"/>
                <a:gd name="connsiteX1" fmla="*/ 176754 w 176754"/>
                <a:gd name="connsiteY1" fmla="*/ 228991 h 357679"/>
                <a:gd name="connsiteX2" fmla="*/ 175595 w 176754"/>
                <a:gd name="connsiteY2" fmla="*/ 229110 h 357679"/>
                <a:gd name="connsiteX3" fmla="*/ 131957 w 176754"/>
                <a:gd name="connsiteY3" fmla="*/ 193386 h 357679"/>
                <a:gd name="connsiteX4" fmla="*/ 165516 w 176754"/>
                <a:gd name="connsiteY4" fmla="*/ 129356 h 357679"/>
                <a:gd name="connsiteX5" fmla="*/ 148289 w 176754"/>
                <a:gd name="connsiteY5" fmla="*/ 0 h 357679"/>
                <a:gd name="connsiteX6" fmla="*/ 158753 w 176754"/>
                <a:gd name="connsiteY6" fmla="*/ 33805 h 357679"/>
                <a:gd name="connsiteX7" fmla="*/ 176754 w 176754"/>
                <a:gd name="connsiteY7" fmla="*/ 33157 h 357679"/>
                <a:gd name="connsiteX8" fmla="*/ 176754 w 176754"/>
                <a:gd name="connsiteY8" fmla="*/ 78916 h 357679"/>
                <a:gd name="connsiteX9" fmla="*/ 150075 w 176754"/>
                <a:gd name="connsiteY9" fmla="*/ 81676 h 357679"/>
                <a:gd name="connsiteX10" fmla="*/ 83313 w 176754"/>
                <a:gd name="connsiteY10" fmla="*/ 207789 h 357679"/>
                <a:gd name="connsiteX11" fmla="*/ 169846 w 176754"/>
                <a:gd name="connsiteY11" fmla="*/ 278099 h 357679"/>
                <a:gd name="connsiteX12" fmla="*/ 176754 w 176754"/>
                <a:gd name="connsiteY12" fmla="*/ 277390 h 357679"/>
                <a:gd name="connsiteX13" fmla="*/ 176754 w 176754"/>
                <a:gd name="connsiteY13" fmla="*/ 322736 h 357679"/>
                <a:gd name="connsiteX14" fmla="*/ 169831 w 176754"/>
                <a:gd name="connsiteY14" fmla="*/ 323001 h 357679"/>
                <a:gd name="connsiteX15" fmla="*/ 161968 w 176754"/>
                <a:gd name="connsiteY15" fmla="*/ 357679 h 357679"/>
                <a:gd name="connsiteX16" fmla="*/ 118315 w 176754"/>
                <a:gd name="connsiteY16" fmla="*/ 347716 h 357679"/>
                <a:gd name="connsiteX17" fmla="*/ 126256 w 176754"/>
                <a:gd name="connsiteY17" fmla="*/ 313248 h 357679"/>
                <a:gd name="connsiteX18" fmla="*/ 98526 w 176754"/>
                <a:gd name="connsiteY18" fmla="*/ 298535 h 357679"/>
                <a:gd name="connsiteX19" fmla="*/ 74350 w 176754"/>
                <a:gd name="connsiteY19" fmla="*/ 324742 h 357679"/>
                <a:gd name="connsiteX20" fmla="*/ 41465 w 176754"/>
                <a:gd name="connsiteY20" fmla="*/ 294292 h 357679"/>
                <a:gd name="connsiteX21" fmla="*/ 65509 w 176754"/>
                <a:gd name="connsiteY21" fmla="*/ 268373 h 357679"/>
                <a:gd name="connsiteX22" fmla="*/ 49131 w 176754"/>
                <a:gd name="connsiteY22" fmla="*/ 241787 h 357679"/>
                <a:gd name="connsiteX23" fmla="*/ 15054 w 176754"/>
                <a:gd name="connsiteY23" fmla="*/ 252356 h 357679"/>
                <a:gd name="connsiteX24" fmla="*/ 1804 w 176754"/>
                <a:gd name="connsiteY24" fmla="*/ 209805 h 357679"/>
                <a:gd name="connsiteX25" fmla="*/ 35803 w 176754"/>
                <a:gd name="connsiteY25" fmla="*/ 199026 h 357679"/>
                <a:gd name="connsiteX26" fmla="*/ 34509 w 176754"/>
                <a:gd name="connsiteY26" fmla="*/ 168004 h 357679"/>
                <a:gd name="connsiteX27" fmla="*/ 0 w 176754"/>
                <a:gd name="connsiteY27" fmla="*/ 160118 h 357679"/>
                <a:gd name="connsiteX28" fmla="*/ 9955 w 176754"/>
                <a:gd name="connsiteY28" fmla="*/ 116305 h 357679"/>
                <a:gd name="connsiteX29" fmla="*/ 44463 w 176754"/>
                <a:gd name="connsiteY29" fmla="*/ 124192 h 357679"/>
                <a:gd name="connsiteX30" fmla="*/ 59100 w 176754"/>
                <a:gd name="connsiteY30" fmla="*/ 96772 h 357679"/>
                <a:gd name="connsiteX31" fmla="*/ 32963 w 176754"/>
                <a:gd name="connsiteY31" fmla="*/ 72873 h 357679"/>
                <a:gd name="connsiteX32" fmla="*/ 63630 w 176754"/>
                <a:gd name="connsiteY32" fmla="*/ 39708 h 357679"/>
                <a:gd name="connsiteX33" fmla="*/ 89635 w 176754"/>
                <a:gd name="connsiteY33" fmla="*/ 63896 h 357679"/>
                <a:gd name="connsiteX34" fmla="*/ 115914 w 176754"/>
                <a:gd name="connsiteY34" fmla="*/ 47167 h 357679"/>
                <a:gd name="connsiteX35" fmla="*/ 105450 w 176754"/>
                <a:gd name="connsiteY35" fmla="*/ 13362 h 35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76754" h="357679">
                  <a:moveTo>
                    <a:pt x="176754" y="128203"/>
                  </a:moveTo>
                  <a:lnTo>
                    <a:pt x="176754" y="228991"/>
                  </a:lnTo>
                  <a:lnTo>
                    <a:pt x="175595" y="229110"/>
                  </a:lnTo>
                  <a:cubicBezTo>
                    <a:pt x="155776" y="227150"/>
                    <a:pt x="138082" y="213634"/>
                    <a:pt x="131957" y="193386"/>
                  </a:cubicBezTo>
                  <a:cubicBezTo>
                    <a:pt x="123502" y="166258"/>
                    <a:pt x="138603" y="137731"/>
                    <a:pt x="165516" y="129356"/>
                  </a:cubicBezTo>
                  <a:close/>
                  <a:moveTo>
                    <a:pt x="148289" y="0"/>
                  </a:moveTo>
                  <a:lnTo>
                    <a:pt x="158753" y="33805"/>
                  </a:lnTo>
                  <a:lnTo>
                    <a:pt x="176754" y="33157"/>
                  </a:lnTo>
                  <a:lnTo>
                    <a:pt x="176754" y="78916"/>
                  </a:lnTo>
                  <a:lnTo>
                    <a:pt x="150075" y="81676"/>
                  </a:lnTo>
                  <a:cubicBezTo>
                    <a:pt x="96926" y="98169"/>
                    <a:pt x="66994" y="154449"/>
                    <a:pt x="83313" y="207789"/>
                  </a:cubicBezTo>
                  <a:cubicBezTo>
                    <a:pt x="95866" y="247676"/>
                    <a:pt x="130761" y="274259"/>
                    <a:pt x="169846" y="278099"/>
                  </a:cubicBezTo>
                  <a:lnTo>
                    <a:pt x="176754" y="277390"/>
                  </a:lnTo>
                  <a:lnTo>
                    <a:pt x="176754" y="322736"/>
                  </a:lnTo>
                  <a:lnTo>
                    <a:pt x="169831" y="323001"/>
                  </a:lnTo>
                  <a:lnTo>
                    <a:pt x="161968" y="357679"/>
                  </a:lnTo>
                  <a:lnTo>
                    <a:pt x="118315" y="347716"/>
                  </a:lnTo>
                  <a:lnTo>
                    <a:pt x="126256" y="313248"/>
                  </a:lnTo>
                  <a:cubicBezTo>
                    <a:pt x="116408" y="309285"/>
                    <a:pt x="107243" y="304591"/>
                    <a:pt x="98526" y="298535"/>
                  </a:cubicBezTo>
                  <a:lnTo>
                    <a:pt x="74350" y="324742"/>
                  </a:lnTo>
                  <a:lnTo>
                    <a:pt x="41465" y="294292"/>
                  </a:lnTo>
                  <a:lnTo>
                    <a:pt x="65509" y="268373"/>
                  </a:lnTo>
                  <a:cubicBezTo>
                    <a:pt x="59131" y="260252"/>
                    <a:pt x="53645" y="251320"/>
                    <a:pt x="49131" y="241787"/>
                  </a:cubicBezTo>
                  <a:lnTo>
                    <a:pt x="15054" y="252356"/>
                  </a:lnTo>
                  <a:lnTo>
                    <a:pt x="1804" y="209805"/>
                  </a:lnTo>
                  <a:lnTo>
                    <a:pt x="35803" y="199026"/>
                  </a:lnTo>
                  <a:cubicBezTo>
                    <a:pt x="34306" y="188606"/>
                    <a:pt x="33804" y="178291"/>
                    <a:pt x="34509" y="168004"/>
                  </a:cubicBezTo>
                  <a:lnTo>
                    <a:pt x="0" y="160118"/>
                  </a:lnTo>
                  <a:lnTo>
                    <a:pt x="9955" y="116305"/>
                  </a:lnTo>
                  <a:lnTo>
                    <a:pt x="44463" y="124192"/>
                  </a:lnTo>
                  <a:cubicBezTo>
                    <a:pt x="48312" y="114640"/>
                    <a:pt x="53156" y="105195"/>
                    <a:pt x="59100" y="96772"/>
                  </a:cubicBezTo>
                  <a:lnTo>
                    <a:pt x="32963" y="72873"/>
                  </a:lnTo>
                  <a:lnTo>
                    <a:pt x="63630" y="39708"/>
                  </a:lnTo>
                  <a:lnTo>
                    <a:pt x="89635" y="63896"/>
                  </a:lnTo>
                  <a:cubicBezTo>
                    <a:pt x="97698" y="57307"/>
                    <a:pt x="106440" y="51896"/>
                    <a:pt x="115914" y="47167"/>
                  </a:cubicBezTo>
                  <a:lnTo>
                    <a:pt x="105450" y="13362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3C9063EB-2057-D147-9B82-4F2554865B1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5300" y="6453971"/>
              <a:ext cx="174763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90FC6A09-C22A-D94B-9DDD-2F82284D5F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991702" y="4735664"/>
              <a:ext cx="367297" cy="366596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1EC43C45-D4A8-CF4D-86BB-EC8D105E7B6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259809" y="5040495"/>
              <a:ext cx="278435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056D2AB5-A2D5-4A40-9046-BB1DDB4D0BB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71807" y="5620192"/>
              <a:ext cx="20438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1" name="Freeform 20">
              <a:extLst>
                <a:ext uri="{FF2B5EF4-FFF2-40B4-BE49-F238E27FC236}">
                  <a16:creationId xmlns:a16="http://schemas.microsoft.com/office/drawing/2014/main" id="{162B58D7-B316-9049-B8FD-51B9FE0FBC1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54299" y="5088098"/>
              <a:ext cx="337676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101FA6D7-2B6B-744A-9B82-382EC5D936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07086" y="5329052"/>
              <a:ext cx="250789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8B9A206C-BD7B-2D4D-A8EC-C91A2230C2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148173" y="4475254"/>
              <a:ext cx="250789" cy="250310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0C09F8DB-45E0-AB4C-A5E0-E281B3F40E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3153" y="5212817"/>
              <a:ext cx="186610" cy="186255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1" name="Freeform 30">
              <a:extLst>
                <a:ext uri="{FF2B5EF4-FFF2-40B4-BE49-F238E27FC236}">
                  <a16:creationId xmlns:a16="http://schemas.microsoft.com/office/drawing/2014/main" id="{90D82CB4-9807-154C-A14B-0D7B808BFB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316527" y="6187329"/>
              <a:ext cx="296207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A11B44FD-872A-E746-BB26-5A053C9299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92878" y="5355689"/>
              <a:ext cx="839030" cy="837428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05642E1-76C6-B444-8BB9-C1297EDFDF5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860406" y="6584369"/>
              <a:ext cx="148868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C20B41E-C091-2443-B55A-AF6046C28C5A}"/>
              </a:ext>
            </a:extLst>
          </p:cNvPr>
          <p:cNvGrpSpPr/>
          <p:nvPr userDrawn="1"/>
        </p:nvGrpSpPr>
        <p:grpSpPr>
          <a:xfrm>
            <a:off x="-1" y="-1"/>
            <a:ext cx="1457291" cy="2057011"/>
            <a:chOff x="-1" y="-1"/>
            <a:chExt cx="1457291" cy="2057011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F1B379E-FEC6-F24C-8FC5-74F8A2E10F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5726" y="1597109"/>
              <a:ext cx="174429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2FFB6BDD-C8D6-A649-8FA6-4260D07A6A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775007" y="185010"/>
              <a:ext cx="277903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4C2D2343-3560-B24C-A3C4-F9DC768B7E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34698" y="762464"/>
              <a:ext cx="20399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D0AD3F23-4BA4-3E48-8C4C-8AE89F07D3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1120259" y="234262"/>
              <a:ext cx="337031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8740A47E-B725-264B-9111-7815C7FCD6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54515" y="471575"/>
              <a:ext cx="250310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C485825-1403-6244-A917-0A72F3961C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3079" y="356247"/>
              <a:ext cx="186254" cy="186254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6" name="Freeform 30">
              <a:extLst>
                <a:ext uri="{FF2B5EF4-FFF2-40B4-BE49-F238E27FC236}">
                  <a16:creationId xmlns:a16="http://schemas.microsoft.com/office/drawing/2014/main" id="{EB336EB3-CFBD-DF40-A6A1-291CF016DC4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694061" y="1331265"/>
              <a:ext cx="295642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E76631F8-72CB-F346-904B-1E1CBC27D89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78342" y="500440"/>
              <a:ext cx="837428" cy="837427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16B520BB-560C-2D4F-9CFB-4DE80D0A827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296330" y="1726137"/>
              <a:ext cx="148584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DFD53FC1-1E3E-5749-B6F8-B06A72897154}"/>
                </a:ext>
              </a:extLst>
            </p:cNvPr>
            <p:cNvSpPr/>
            <p:nvPr userDrawn="1"/>
          </p:nvSpPr>
          <p:spPr>
            <a:xfrm>
              <a:off x="-1" y="-1"/>
              <a:ext cx="879320" cy="380734"/>
            </a:xfrm>
            <a:custGeom>
              <a:avLst/>
              <a:gdLst>
                <a:gd name="connsiteX0" fmla="*/ 320198 w 879320"/>
                <a:gd name="connsiteY0" fmla="*/ 1 h 380734"/>
                <a:gd name="connsiteX1" fmla="*/ 482377 w 879320"/>
                <a:gd name="connsiteY1" fmla="*/ 1 h 380734"/>
                <a:gd name="connsiteX2" fmla="*/ 458583 w 879320"/>
                <a:gd name="connsiteY2" fmla="*/ 16864 h 380734"/>
                <a:gd name="connsiteX3" fmla="*/ 352356 w 879320"/>
                <a:gd name="connsiteY3" fmla="*/ 20254 h 380734"/>
                <a:gd name="connsiteX4" fmla="*/ 0 w 879320"/>
                <a:gd name="connsiteY4" fmla="*/ 0 h 380734"/>
                <a:gd name="connsiteX5" fmla="*/ 151399 w 879320"/>
                <a:gd name="connsiteY5" fmla="*/ 0 h 380734"/>
                <a:gd name="connsiteX6" fmla="*/ 152367 w 879320"/>
                <a:gd name="connsiteY6" fmla="*/ 2850 h 380734"/>
                <a:gd name="connsiteX7" fmla="*/ 305118 w 879320"/>
                <a:gd name="connsiteY7" fmla="*/ 146601 h 380734"/>
                <a:gd name="connsiteX8" fmla="*/ 633770 w 879320"/>
                <a:gd name="connsiteY8" fmla="*/ 37025 h 380734"/>
                <a:gd name="connsiteX9" fmla="*/ 652236 w 879320"/>
                <a:gd name="connsiteY9" fmla="*/ 0 h 380734"/>
                <a:gd name="connsiteX10" fmla="*/ 863615 w 879320"/>
                <a:gd name="connsiteY10" fmla="*/ 0 h 380734"/>
                <a:gd name="connsiteX11" fmla="*/ 879320 w 879320"/>
                <a:gd name="connsiteY11" fmla="*/ 5952 h 380734"/>
                <a:gd name="connsiteX12" fmla="*/ 836156 w 879320"/>
                <a:gd name="connsiteY12" fmla="*/ 119848 h 380734"/>
                <a:gd name="connsiteX13" fmla="*/ 746063 w 879320"/>
                <a:gd name="connsiteY13" fmla="*/ 85705 h 380734"/>
                <a:gd name="connsiteX14" fmla="*/ 696590 w 879320"/>
                <a:gd name="connsiteY14" fmla="*/ 154430 h 380734"/>
                <a:gd name="connsiteX15" fmla="*/ 757531 w 879320"/>
                <a:gd name="connsiteY15" fmla="*/ 228909 h 380734"/>
                <a:gd name="connsiteX16" fmla="*/ 663292 w 879320"/>
                <a:gd name="connsiteY16" fmla="*/ 306002 h 380734"/>
                <a:gd name="connsiteX17" fmla="*/ 602351 w 879320"/>
                <a:gd name="connsiteY17" fmla="*/ 231522 h 380734"/>
                <a:gd name="connsiteX18" fmla="*/ 525105 w 879320"/>
                <a:gd name="connsiteY18" fmla="*/ 266299 h 380734"/>
                <a:gd name="connsiteX19" fmla="*/ 540505 w 879320"/>
                <a:gd name="connsiteY19" fmla="*/ 361282 h 380734"/>
                <a:gd name="connsiteX20" fmla="*/ 420299 w 879320"/>
                <a:gd name="connsiteY20" fmla="*/ 380734 h 380734"/>
                <a:gd name="connsiteX21" fmla="*/ 404899 w 879320"/>
                <a:gd name="connsiteY21" fmla="*/ 285752 h 380734"/>
                <a:gd name="connsiteX22" fmla="*/ 320712 w 879320"/>
                <a:gd name="connsiteY22" fmla="*/ 277029 h 380734"/>
                <a:gd name="connsiteX23" fmla="*/ 286497 w 879320"/>
                <a:gd name="connsiteY23" fmla="*/ 367310 h 380734"/>
                <a:gd name="connsiteX24" fmla="*/ 172784 w 879320"/>
                <a:gd name="connsiteY24" fmla="*/ 324214 h 380734"/>
                <a:gd name="connsiteX25" fmla="*/ 206998 w 879320"/>
                <a:gd name="connsiteY25" fmla="*/ 233933 h 380734"/>
                <a:gd name="connsiteX26" fmla="*/ 138175 w 879320"/>
                <a:gd name="connsiteY26" fmla="*/ 184668 h 380734"/>
                <a:gd name="connsiteX27" fmla="*/ 63482 w 879320"/>
                <a:gd name="connsiteY27" fmla="*/ 245507 h 380734"/>
                <a:gd name="connsiteX28" fmla="*/ 0 w 879320"/>
                <a:gd name="connsiteY28" fmla="*/ 167937 h 380734"/>
                <a:gd name="connsiteX29" fmla="*/ 0 w 879320"/>
                <a:gd name="connsiteY29" fmla="*/ 140164 h 380734"/>
                <a:gd name="connsiteX30" fmla="*/ 61055 w 879320"/>
                <a:gd name="connsiteY30" fmla="*/ 90433 h 380734"/>
                <a:gd name="connsiteX31" fmla="*/ 26260 w 879320"/>
                <a:gd name="connsiteY31" fmla="*/ 13195 h 380734"/>
                <a:gd name="connsiteX32" fmla="*/ 0 w 879320"/>
                <a:gd name="connsiteY32" fmla="*/ 17470 h 38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9320" h="380734">
                  <a:moveTo>
                    <a:pt x="320198" y="1"/>
                  </a:moveTo>
                  <a:lnTo>
                    <a:pt x="482377" y="1"/>
                  </a:lnTo>
                  <a:lnTo>
                    <a:pt x="458583" y="16864"/>
                  </a:lnTo>
                  <a:cubicBezTo>
                    <a:pt x="426139" y="31534"/>
                    <a:pt x="388153" y="33821"/>
                    <a:pt x="352356" y="20254"/>
                  </a:cubicBezTo>
                  <a:close/>
                  <a:moveTo>
                    <a:pt x="0" y="0"/>
                  </a:moveTo>
                  <a:lnTo>
                    <a:pt x="151399" y="0"/>
                  </a:lnTo>
                  <a:lnTo>
                    <a:pt x="152367" y="2850"/>
                  </a:lnTo>
                  <a:cubicBezTo>
                    <a:pt x="181163" y="66821"/>
                    <a:pt x="234361" y="119785"/>
                    <a:pt x="305118" y="146601"/>
                  </a:cubicBezTo>
                  <a:cubicBezTo>
                    <a:pt x="428944" y="193528"/>
                    <a:pt x="565574" y="144850"/>
                    <a:pt x="633770" y="37025"/>
                  </a:cubicBezTo>
                  <a:lnTo>
                    <a:pt x="652236" y="0"/>
                  </a:lnTo>
                  <a:lnTo>
                    <a:pt x="863615" y="0"/>
                  </a:lnTo>
                  <a:lnTo>
                    <a:pt x="879320" y="5952"/>
                  </a:lnTo>
                  <a:lnTo>
                    <a:pt x="836156" y="119848"/>
                  </a:lnTo>
                  <a:lnTo>
                    <a:pt x="746063" y="85705"/>
                  </a:lnTo>
                  <a:cubicBezTo>
                    <a:pt x="731824" y="110661"/>
                    <a:pt x="715263" y="133543"/>
                    <a:pt x="696590" y="154430"/>
                  </a:cubicBezTo>
                  <a:lnTo>
                    <a:pt x="757531" y="228909"/>
                  </a:lnTo>
                  <a:lnTo>
                    <a:pt x="663292" y="306002"/>
                  </a:lnTo>
                  <a:lnTo>
                    <a:pt x="602351" y="231522"/>
                  </a:lnTo>
                  <a:cubicBezTo>
                    <a:pt x="577788" y="245874"/>
                    <a:pt x="552135" y="257423"/>
                    <a:pt x="525105" y="266299"/>
                  </a:cubicBezTo>
                  <a:lnTo>
                    <a:pt x="540505" y="361282"/>
                  </a:lnTo>
                  <a:lnTo>
                    <a:pt x="420299" y="380734"/>
                  </a:lnTo>
                  <a:lnTo>
                    <a:pt x="404899" y="285752"/>
                  </a:lnTo>
                  <a:cubicBezTo>
                    <a:pt x="376800" y="286096"/>
                    <a:pt x="348763" y="283119"/>
                    <a:pt x="320712" y="277029"/>
                  </a:cubicBezTo>
                  <a:lnTo>
                    <a:pt x="286497" y="367310"/>
                  </a:lnTo>
                  <a:lnTo>
                    <a:pt x="172784" y="324214"/>
                  </a:lnTo>
                  <a:lnTo>
                    <a:pt x="206998" y="233933"/>
                  </a:lnTo>
                  <a:cubicBezTo>
                    <a:pt x="181956" y="219902"/>
                    <a:pt x="158989" y="203550"/>
                    <a:pt x="138175" y="184668"/>
                  </a:cubicBezTo>
                  <a:lnTo>
                    <a:pt x="63482" y="245507"/>
                  </a:lnTo>
                  <a:lnTo>
                    <a:pt x="0" y="167937"/>
                  </a:lnTo>
                  <a:lnTo>
                    <a:pt x="0" y="140164"/>
                  </a:lnTo>
                  <a:lnTo>
                    <a:pt x="61055" y="90433"/>
                  </a:lnTo>
                  <a:cubicBezTo>
                    <a:pt x="46697" y="65872"/>
                    <a:pt x="34933" y="40143"/>
                    <a:pt x="26260" y="13195"/>
                  </a:cubicBezTo>
                  <a:lnTo>
                    <a:pt x="0" y="1747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B9B1903E-034D-3446-B07F-1E20D22CC793}"/>
                </a:ext>
              </a:extLst>
            </p:cNvPr>
            <p:cNvSpPr/>
            <p:nvPr userDrawn="1"/>
          </p:nvSpPr>
          <p:spPr>
            <a:xfrm>
              <a:off x="954290" y="0"/>
              <a:ext cx="368850" cy="248776"/>
            </a:xfrm>
            <a:custGeom>
              <a:avLst/>
              <a:gdLst>
                <a:gd name="connsiteX0" fmla="*/ 12888 w 368850"/>
                <a:gd name="connsiteY0" fmla="*/ 0 h 248776"/>
                <a:gd name="connsiteX1" fmla="*/ 105610 w 368850"/>
                <a:gd name="connsiteY1" fmla="*/ 0 h 248776"/>
                <a:gd name="connsiteX2" fmla="*/ 88083 w 368850"/>
                <a:gd name="connsiteY2" fmla="*/ 27894 h 248776"/>
                <a:gd name="connsiteX3" fmla="*/ 147888 w 368850"/>
                <a:gd name="connsiteY3" fmla="*/ 160693 h 248776"/>
                <a:gd name="connsiteX4" fmla="*/ 280688 w 368850"/>
                <a:gd name="connsiteY4" fmla="*/ 100887 h 248776"/>
                <a:gd name="connsiteX5" fmla="*/ 278331 w 368850"/>
                <a:gd name="connsiteY5" fmla="*/ 22082 h 248776"/>
                <a:gd name="connsiteX6" fmla="*/ 262709 w 368850"/>
                <a:gd name="connsiteY6" fmla="*/ 0 h 248776"/>
                <a:gd name="connsiteX7" fmla="*/ 317653 w 368850"/>
                <a:gd name="connsiteY7" fmla="*/ 0 h 248776"/>
                <a:gd name="connsiteX8" fmla="*/ 325688 w 368850"/>
                <a:gd name="connsiteY8" fmla="*/ 18080 h 248776"/>
                <a:gd name="connsiteX9" fmla="*/ 361555 w 368850"/>
                <a:gd name="connsiteY9" fmla="*/ 12322 h 248776"/>
                <a:gd name="connsiteX10" fmla="*/ 368850 w 368850"/>
                <a:gd name="connsiteY10" fmla="*/ 57373 h 248776"/>
                <a:gd name="connsiteX11" fmla="*/ 333191 w 368850"/>
                <a:gd name="connsiteY11" fmla="*/ 63210 h 248776"/>
                <a:gd name="connsiteX12" fmla="*/ 329995 w 368850"/>
                <a:gd name="connsiteY12" fmla="*/ 94967 h 248776"/>
                <a:gd name="connsiteX13" fmla="*/ 363837 w 368850"/>
                <a:gd name="connsiteY13" fmla="*/ 107792 h 248776"/>
                <a:gd name="connsiteX14" fmla="*/ 347607 w 368850"/>
                <a:gd name="connsiteY14" fmla="*/ 150617 h 248776"/>
                <a:gd name="connsiteX15" fmla="*/ 313766 w 368850"/>
                <a:gd name="connsiteY15" fmla="*/ 137791 h 248776"/>
                <a:gd name="connsiteX16" fmla="*/ 295111 w 368850"/>
                <a:gd name="connsiteY16" fmla="*/ 163690 h 248776"/>
                <a:gd name="connsiteX17" fmla="*/ 317944 w 368850"/>
                <a:gd name="connsiteY17" fmla="*/ 191694 h 248776"/>
                <a:gd name="connsiteX18" fmla="*/ 282624 w 368850"/>
                <a:gd name="connsiteY18" fmla="*/ 220594 h 248776"/>
                <a:gd name="connsiteX19" fmla="*/ 259582 w 368850"/>
                <a:gd name="connsiteY19" fmla="*/ 192511 h 248776"/>
                <a:gd name="connsiteX20" fmla="*/ 230696 w 368850"/>
                <a:gd name="connsiteY20" fmla="*/ 205693 h 248776"/>
                <a:gd name="connsiteX21" fmla="*/ 236454 w 368850"/>
                <a:gd name="connsiteY21" fmla="*/ 241560 h 248776"/>
                <a:gd name="connsiteX22" fmla="*/ 191195 w 368850"/>
                <a:gd name="connsiteY22" fmla="*/ 248776 h 248776"/>
                <a:gd name="connsiteX23" fmla="*/ 185437 w 368850"/>
                <a:gd name="connsiteY23" fmla="*/ 212908 h 248776"/>
                <a:gd name="connsiteX24" fmla="*/ 153888 w 368850"/>
                <a:gd name="connsiteY24" fmla="*/ 209791 h 248776"/>
                <a:gd name="connsiteX25" fmla="*/ 140984 w 368850"/>
                <a:gd name="connsiteY25" fmla="*/ 243842 h 248776"/>
                <a:gd name="connsiteX26" fmla="*/ 98159 w 368850"/>
                <a:gd name="connsiteY26" fmla="*/ 227612 h 248776"/>
                <a:gd name="connsiteX27" fmla="*/ 111064 w 368850"/>
                <a:gd name="connsiteY27" fmla="*/ 193562 h 248776"/>
                <a:gd name="connsiteX28" fmla="*/ 85165 w 368850"/>
                <a:gd name="connsiteY28" fmla="*/ 174907 h 248776"/>
                <a:gd name="connsiteX29" fmla="*/ 56872 w 368850"/>
                <a:gd name="connsiteY29" fmla="*/ 197870 h 248776"/>
                <a:gd name="connsiteX30" fmla="*/ 27972 w 368850"/>
                <a:gd name="connsiteY30" fmla="*/ 162550 h 248776"/>
                <a:gd name="connsiteX31" fmla="*/ 56056 w 368850"/>
                <a:gd name="connsiteY31" fmla="*/ 139507 h 248776"/>
                <a:gd name="connsiteX32" fmla="*/ 42874 w 368850"/>
                <a:gd name="connsiteY32" fmla="*/ 110622 h 248776"/>
                <a:gd name="connsiteX33" fmla="*/ 7215 w 368850"/>
                <a:gd name="connsiteY33" fmla="*/ 116459 h 248776"/>
                <a:gd name="connsiteX34" fmla="*/ 0 w 368850"/>
                <a:gd name="connsiteY34" fmla="*/ 71200 h 248776"/>
                <a:gd name="connsiteX35" fmla="*/ 35658 w 368850"/>
                <a:gd name="connsiteY35" fmla="*/ 65362 h 248776"/>
                <a:gd name="connsiteX36" fmla="*/ 39063 w 368850"/>
                <a:gd name="connsiteY36" fmla="*/ 33684 h 248776"/>
                <a:gd name="connsiteX37" fmla="*/ 5013 w 368850"/>
                <a:gd name="connsiteY37" fmla="*/ 20780 h 248776"/>
                <a:gd name="connsiteX38" fmla="*/ 12888 w 368850"/>
                <a:gd name="connsiteY38" fmla="*/ 0 h 24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8850" h="248776">
                  <a:moveTo>
                    <a:pt x="12888" y="0"/>
                  </a:moveTo>
                  <a:lnTo>
                    <a:pt x="105610" y="0"/>
                  </a:lnTo>
                  <a:lnTo>
                    <a:pt x="88083" y="27894"/>
                  </a:lnTo>
                  <a:cubicBezTo>
                    <a:pt x="67974" y="80954"/>
                    <a:pt x="94619" y="140505"/>
                    <a:pt x="147888" y="160693"/>
                  </a:cubicBezTo>
                  <a:cubicBezTo>
                    <a:pt x="201158" y="180881"/>
                    <a:pt x="260579" y="153948"/>
                    <a:pt x="280688" y="100887"/>
                  </a:cubicBezTo>
                  <a:cubicBezTo>
                    <a:pt x="290782" y="74253"/>
                    <a:pt x="289148" y="46100"/>
                    <a:pt x="278331" y="22082"/>
                  </a:cubicBezTo>
                  <a:lnTo>
                    <a:pt x="262709" y="0"/>
                  </a:lnTo>
                  <a:lnTo>
                    <a:pt x="317653" y="0"/>
                  </a:lnTo>
                  <a:lnTo>
                    <a:pt x="325688" y="18080"/>
                  </a:lnTo>
                  <a:lnTo>
                    <a:pt x="361555" y="12322"/>
                  </a:lnTo>
                  <a:lnTo>
                    <a:pt x="368850" y="57373"/>
                  </a:lnTo>
                  <a:lnTo>
                    <a:pt x="333191" y="63210"/>
                  </a:lnTo>
                  <a:cubicBezTo>
                    <a:pt x="333180" y="73956"/>
                    <a:pt x="332124" y="84306"/>
                    <a:pt x="329995" y="94967"/>
                  </a:cubicBezTo>
                  <a:lnTo>
                    <a:pt x="363837" y="107792"/>
                  </a:lnTo>
                  <a:lnTo>
                    <a:pt x="347607" y="150617"/>
                  </a:lnTo>
                  <a:lnTo>
                    <a:pt x="313766" y="137791"/>
                  </a:lnTo>
                  <a:cubicBezTo>
                    <a:pt x="308294" y="147185"/>
                    <a:pt x="302146" y="155844"/>
                    <a:pt x="295111" y="163690"/>
                  </a:cubicBezTo>
                  <a:lnTo>
                    <a:pt x="317944" y="191694"/>
                  </a:lnTo>
                  <a:lnTo>
                    <a:pt x="282624" y="220594"/>
                  </a:lnTo>
                  <a:lnTo>
                    <a:pt x="259582" y="192511"/>
                  </a:lnTo>
                  <a:cubicBezTo>
                    <a:pt x="250306" y="198074"/>
                    <a:pt x="240800" y="202355"/>
                    <a:pt x="230696" y="205693"/>
                  </a:cubicBezTo>
                  <a:lnTo>
                    <a:pt x="236454" y="241560"/>
                  </a:lnTo>
                  <a:lnTo>
                    <a:pt x="191195" y="248776"/>
                  </a:lnTo>
                  <a:lnTo>
                    <a:pt x="185437" y="212908"/>
                  </a:lnTo>
                  <a:cubicBezTo>
                    <a:pt x="174899" y="212976"/>
                    <a:pt x="164261" y="212050"/>
                    <a:pt x="153888" y="209791"/>
                  </a:cubicBezTo>
                  <a:lnTo>
                    <a:pt x="140984" y="243842"/>
                  </a:lnTo>
                  <a:lnTo>
                    <a:pt x="98159" y="227612"/>
                  </a:lnTo>
                  <a:lnTo>
                    <a:pt x="111064" y="193562"/>
                  </a:lnTo>
                  <a:cubicBezTo>
                    <a:pt x="101591" y="188299"/>
                    <a:pt x="92802" y="181863"/>
                    <a:pt x="85165" y="174907"/>
                  </a:cubicBezTo>
                  <a:lnTo>
                    <a:pt x="56872" y="197870"/>
                  </a:lnTo>
                  <a:lnTo>
                    <a:pt x="27972" y="162550"/>
                  </a:lnTo>
                  <a:lnTo>
                    <a:pt x="56056" y="139507"/>
                  </a:lnTo>
                  <a:cubicBezTo>
                    <a:pt x="50702" y="130311"/>
                    <a:pt x="46212" y="120726"/>
                    <a:pt x="42874" y="110622"/>
                  </a:cubicBezTo>
                  <a:lnTo>
                    <a:pt x="7215" y="116459"/>
                  </a:lnTo>
                  <a:lnTo>
                    <a:pt x="0" y="71200"/>
                  </a:lnTo>
                  <a:lnTo>
                    <a:pt x="35658" y="65362"/>
                  </a:lnTo>
                  <a:cubicBezTo>
                    <a:pt x="35590" y="54825"/>
                    <a:pt x="36725" y="44266"/>
                    <a:pt x="39063" y="33684"/>
                  </a:cubicBezTo>
                  <a:lnTo>
                    <a:pt x="5013" y="20780"/>
                  </a:lnTo>
                  <a:lnTo>
                    <a:pt x="12888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F93C8D43-CFF5-0C47-9997-BEFA6E9B210C}"/>
                </a:ext>
              </a:extLst>
            </p:cNvPr>
            <p:cNvSpPr/>
            <p:nvPr userDrawn="1"/>
          </p:nvSpPr>
          <p:spPr>
            <a:xfrm>
              <a:off x="1" y="280516"/>
              <a:ext cx="340625" cy="722170"/>
            </a:xfrm>
            <a:custGeom>
              <a:avLst/>
              <a:gdLst>
                <a:gd name="connsiteX0" fmla="*/ 59628 w 340625"/>
                <a:gd name="connsiteY0" fmla="*/ 0 h 722170"/>
                <a:gd name="connsiteX1" fmla="*/ 157835 w 340625"/>
                <a:gd name="connsiteY1" fmla="*/ 37218 h 722170"/>
                <a:gd name="connsiteX2" fmla="*/ 118727 w 340625"/>
                <a:gd name="connsiteY2" fmla="*/ 140409 h 722170"/>
                <a:gd name="connsiteX3" fmla="*/ 193621 w 340625"/>
                <a:gd name="connsiteY3" fmla="*/ 212031 h 722170"/>
                <a:gd name="connsiteX4" fmla="*/ 293179 w 340625"/>
                <a:gd name="connsiteY4" fmla="*/ 166867 h 722170"/>
                <a:gd name="connsiteX5" fmla="*/ 336477 w 340625"/>
                <a:gd name="connsiteY5" fmla="*/ 262588 h 722170"/>
                <a:gd name="connsiteX6" fmla="*/ 235061 w 340625"/>
                <a:gd name="connsiteY6" fmla="*/ 308242 h 722170"/>
                <a:gd name="connsiteX7" fmla="*/ 237403 w 340625"/>
                <a:gd name="connsiteY7" fmla="*/ 404208 h 722170"/>
                <a:gd name="connsiteX8" fmla="*/ 340625 w 340625"/>
                <a:gd name="connsiteY8" fmla="*/ 443327 h 722170"/>
                <a:gd name="connsiteX9" fmla="*/ 303418 w 340625"/>
                <a:gd name="connsiteY9" fmla="*/ 541504 h 722170"/>
                <a:gd name="connsiteX10" fmla="*/ 200196 w 340625"/>
                <a:gd name="connsiteY10" fmla="*/ 502385 h 722170"/>
                <a:gd name="connsiteX11" fmla="*/ 131850 w 340625"/>
                <a:gd name="connsiteY11" fmla="*/ 574906 h 722170"/>
                <a:gd name="connsiteX12" fmla="*/ 178703 w 340625"/>
                <a:gd name="connsiteY12" fmla="*/ 678901 h 722170"/>
                <a:gd name="connsiteX13" fmla="*/ 82969 w 340625"/>
                <a:gd name="connsiteY13" fmla="*/ 722170 h 722170"/>
                <a:gd name="connsiteX14" fmla="*/ 36325 w 340625"/>
                <a:gd name="connsiteY14" fmla="*/ 618254 h 722170"/>
                <a:gd name="connsiteX15" fmla="*/ 0 w 340625"/>
                <a:gd name="connsiteY15" fmla="*/ 622923 h 722170"/>
                <a:gd name="connsiteX16" fmla="*/ 0 w 340625"/>
                <a:gd name="connsiteY16" fmla="*/ 515862 h 722170"/>
                <a:gd name="connsiteX17" fmla="*/ 43005 w 340625"/>
                <a:gd name="connsiteY17" fmla="*/ 505730 h 722170"/>
                <a:gd name="connsiteX18" fmla="*/ 125607 w 340625"/>
                <a:gd name="connsiteY18" fmla="*/ 417978 h 722170"/>
                <a:gd name="connsiteX19" fmla="*/ 34316 w 340625"/>
                <a:gd name="connsiteY19" fmla="*/ 214964 h 722170"/>
                <a:gd name="connsiteX20" fmla="*/ 0 w 340625"/>
                <a:gd name="connsiteY20" fmla="*/ 209382 h 722170"/>
                <a:gd name="connsiteX21" fmla="*/ 0 w 340625"/>
                <a:gd name="connsiteY21" fmla="*/ 101911 h 722170"/>
                <a:gd name="connsiteX22" fmla="*/ 20520 w 340625"/>
                <a:gd name="connsiteY22" fmla="*/ 103190 h 722170"/>
                <a:gd name="connsiteX23" fmla="*/ 59628 w 340625"/>
                <a:gd name="connsiteY23" fmla="*/ 0 h 72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0625" h="722170">
                  <a:moveTo>
                    <a:pt x="59628" y="0"/>
                  </a:moveTo>
                  <a:lnTo>
                    <a:pt x="157835" y="37218"/>
                  </a:lnTo>
                  <a:lnTo>
                    <a:pt x="118727" y="140409"/>
                  </a:lnTo>
                  <a:cubicBezTo>
                    <a:pt x="148582" y="159368"/>
                    <a:pt x="173971" y="183801"/>
                    <a:pt x="193621" y="212031"/>
                  </a:cubicBezTo>
                  <a:lnTo>
                    <a:pt x="293179" y="166867"/>
                  </a:lnTo>
                  <a:lnTo>
                    <a:pt x="336477" y="262588"/>
                  </a:lnTo>
                  <a:lnTo>
                    <a:pt x="235061" y="308242"/>
                  </a:lnTo>
                  <a:cubicBezTo>
                    <a:pt x="241650" y="339406"/>
                    <a:pt x="242743" y="371831"/>
                    <a:pt x="237403" y="404208"/>
                  </a:cubicBezTo>
                  <a:lnTo>
                    <a:pt x="340625" y="443327"/>
                  </a:lnTo>
                  <a:lnTo>
                    <a:pt x="303418" y="541504"/>
                  </a:lnTo>
                  <a:lnTo>
                    <a:pt x="200196" y="502385"/>
                  </a:lnTo>
                  <a:cubicBezTo>
                    <a:pt x="182053" y="531342"/>
                    <a:pt x="158642" y="555915"/>
                    <a:pt x="131850" y="574906"/>
                  </a:cubicBezTo>
                  <a:lnTo>
                    <a:pt x="178703" y="678901"/>
                  </a:lnTo>
                  <a:lnTo>
                    <a:pt x="82969" y="722170"/>
                  </a:lnTo>
                  <a:lnTo>
                    <a:pt x="36325" y="618254"/>
                  </a:lnTo>
                  <a:lnTo>
                    <a:pt x="0" y="622923"/>
                  </a:lnTo>
                  <a:lnTo>
                    <a:pt x="0" y="515862"/>
                  </a:lnTo>
                  <a:lnTo>
                    <a:pt x="43005" y="505730"/>
                  </a:lnTo>
                  <a:cubicBezTo>
                    <a:pt x="79678" y="489200"/>
                    <a:pt x="110066" y="458672"/>
                    <a:pt x="125607" y="417978"/>
                  </a:cubicBezTo>
                  <a:cubicBezTo>
                    <a:pt x="156193" y="336642"/>
                    <a:pt x="115519" y="245977"/>
                    <a:pt x="34316" y="214964"/>
                  </a:cubicBezTo>
                  <a:lnTo>
                    <a:pt x="0" y="209382"/>
                  </a:lnTo>
                  <a:lnTo>
                    <a:pt x="0" y="101911"/>
                  </a:lnTo>
                  <a:lnTo>
                    <a:pt x="20520" y="103190"/>
                  </a:lnTo>
                  <a:lnTo>
                    <a:pt x="59628" y="0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C0E315D7-F98D-7B45-A33C-240C27AA7345}"/>
                </a:ext>
              </a:extLst>
            </p:cNvPr>
            <p:cNvSpPr/>
            <p:nvPr userDrawn="1"/>
          </p:nvSpPr>
          <p:spPr>
            <a:xfrm>
              <a:off x="0" y="992497"/>
              <a:ext cx="686577" cy="717367"/>
            </a:xfrm>
            <a:custGeom>
              <a:avLst/>
              <a:gdLst>
                <a:gd name="connsiteX0" fmla="*/ 314767 w 686577"/>
                <a:gd name="connsiteY0" fmla="*/ 0 h 717367"/>
                <a:gd name="connsiteX1" fmla="*/ 326078 w 686577"/>
                <a:gd name="connsiteY1" fmla="*/ 69733 h 717367"/>
                <a:gd name="connsiteX2" fmla="*/ 387542 w 686577"/>
                <a:gd name="connsiteY2" fmla="*/ 75829 h 717367"/>
                <a:gd name="connsiteX3" fmla="*/ 412554 w 686577"/>
                <a:gd name="connsiteY3" fmla="*/ 9830 h 717367"/>
                <a:gd name="connsiteX4" fmla="*/ 495888 w 686577"/>
                <a:gd name="connsiteY4" fmla="*/ 41412 h 717367"/>
                <a:gd name="connsiteX5" fmla="*/ 470876 w 686577"/>
                <a:gd name="connsiteY5" fmla="*/ 107411 h 717367"/>
                <a:gd name="connsiteX6" fmla="*/ 521151 w 686577"/>
                <a:gd name="connsiteY6" fmla="*/ 143662 h 717367"/>
                <a:gd name="connsiteX7" fmla="*/ 575838 w 686577"/>
                <a:gd name="connsiteY7" fmla="*/ 98941 h 717367"/>
                <a:gd name="connsiteX8" fmla="*/ 632063 w 686577"/>
                <a:gd name="connsiteY8" fmla="*/ 168020 h 717367"/>
                <a:gd name="connsiteX9" fmla="*/ 577455 w 686577"/>
                <a:gd name="connsiteY9" fmla="*/ 212532 h 717367"/>
                <a:gd name="connsiteX10" fmla="*/ 603086 w 686577"/>
                <a:gd name="connsiteY10" fmla="*/ 269061 h 717367"/>
                <a:gd name="connsiteX11" fmla="*/ 672402 w 686577"/>
                <a:gd name="connsiteY11" fmla="*/ 257591 h 717367"/>
                <a:gd name="connsiteX12" fmla="*/ 686577 w 686577"/>
                <a:gd name="connsiteY12" fmla="*/ 345607 h 717367"/>
                <a:gd name="connsiteX13" fmla="*/ 617132 w 686577"/>
                <a:gd name="connsiteY13" fmla="*/ 356789 h 717367"/>
                <a:gd name="connsiteX14" fmla="*/ 610957 w 686577"/>
                <a:gd name="connsiteY14" fmla="*/ 418462 h 717367"/>
                <a:gd name="connsiteX15" fmla="*/ 676747 w 686577"/>
                <a:gd name="connsiteY15" fmla="*/ 443395 h 717367"/>
                <a:gd name="connsiteX16" fmla="*/ 645165 w 686577"/>
                <a:gd name="connsiteY16" fmla="*/ 526729 h 717367"/>
                <a:gd name="connsiteX17" fmla="*/ 579375 w 686577"/>
                <a:gd name="connsiteY17" fmla="*/ 501796 h 717367"/>
                <a:gd name="connsiteX18" fmla="*/ 543124 w 686577"/>
                <a:gd name="connsiteY18" fmla="*/ 552071 h 717367"/>
                <a:gd name="connsiteX19" fmla="*/ 587715 w 686577"/>
                <a:gd name="connsiteY19" fmla="*/ 606470 h 717367"/>
                <a:gd name="connsiteX20" fmla="*/ 518924 w 686577"/>
                <a:gd name="connsiteY20" fmla="*/ 662566 h 717367"/>
                <a:gd name="connsiteX21" fmla="*/ 474463 w 686577"/>
                <a:gd name="connsiteY21" fmla="*/ 608454 h 717367"/>
                <a:gd name="connsiteX22" fmla="*/ 417883 w 686577"/>
                <a:gd name="connsiteY22" fmla="*/ 633588 h 717367"/>
                <a:gd name="connsiteX23" fmla="*/ 429274 w 686577"/>
                <a:gd name="connsiteY23" fmla="*/ 703113 h 717367"/>
                <a:gd name="connsiteX24" fmla="*/ 341467 w 686577"/>
                <a:gd name="connsiteY24" fmla="*/ 717367 h 717367"/>
                <a:gd name="connsiteX25" fmla="*/ 330076 w 686577"/>
                <a:gd name="connsiteY25" fmla="*/ 647843 h 717367"/>
                <a:gd name="connsiteX26" fmla="*/ 268482 w 686577"/>
                <a:gd name="connsiteY26" fmla="*/ 641459 h 717367"/>
                <a:gd name="connsiteX27" fmla="*/ 243470 w 686577"/>
                <a:gd name="connsiteY27" fmla="*/ 707458 h 717367"/>
                <a:gd name="connsiteX28" fmla="*/ 160136 w 686577"/>
                <a:gd name="connsiteY28" fmla="*/ 675876 h 717367"/>
                <a:gd name="connsiteX29" fmla="*/ 185148 w 686577"/>
                <a:gd name="connsiteY29" fmla="*/ 609877 h 717367"/>
                <a:gd name="connsiteX30" fmla="*/ 135003 w 686577"/>
                <a:gd name="connsiteY30" fmla="*/ 573914 h 717367"/>
                <a:gd name="connsiteX31" fmla="*/ 80395 w 686577"/>
                <a:gd name="connsiteY31" fmla="*/ 618426 h 717367"/>
                <a:gd name="connsiteX32" fmla="*/ 23882 w 686577"/>
                <a:gd name="connsiteY32" fmla="*/ 549477 h 717367"/>
                <a:gd name="connsiteX33" fmla="*/ 78490 w 686577"/>
                <a:gd name="connsiteY33" fmla="*/ 504965 h 717367"/>
                <a:gd name="connsiteX34" fmla="*/ 52989 w 686577"/>
                <a:gd name="connsiteY34" fmla="*/ 448724 h 717367"/>
                <a:gd name="connsiteX35" fmla="*/ 0 w 686577"/>
                <a:gd name="connsiteY35" fmla="*/ 457106 h 717367"/>
                <a:gd name="connsiteX36" fmla="*/ 0 w 686577"/>
                <a:gd name="connsiteY36" fmla="*/ 367154 h 717367"/>
                <a:gd name="connsiteX37" fmla="*/ 38734 w 686577"/>
                <a:gd name="connsiteY37" fmla="*/ 360917 h 717367"/>
                <a:gd name="connsiteX38" fmla="*/ 45118 w 686577"/>
                <a:gd name="connsiteY38" fmla="*/ 299323 h 717367"/>
                <a:gd name="connsiteX39" fmla="*/ 0 w 686577"/>
                <a:gd name="connsiteY39" fmla="*/ 282224 h 717367"/>
                <a:gd name="connsiteX40" fmla="*/ 0 w 686577"/>
                <a:gd name="connsiteY40" fmla="*/ 219213 h 717367"/>
                <a:gd name="connsiteX41" fmla="*/ 10701 w 686577"/>
                <a:gd name="connsiteY41" fmla="*/ 190977 h 717367"/>
                <a:gd name="connsiteX42" fmla="*/ 76700 w 686577"/>
                <a:gd name="connsiteY42" fmla="*/ 215989 h 717367"/>
                <a:gd name="connsiteX43" fmla="*/ 112742 w 686577"/>
                <a:gd name="connsiteY43" fmla="*/ 165635 h 717367"/>
                <a:gd name="connsiteX44" fmla="*/ 68230 w 686577"/>
                <a:gd name="connsiteY44" fmla="*/ 111027 h 717367"/>
                <a:gd name="connsiteX45" fmla="*/ 137100 w 686577"/>
                <a:gd name="connsiteY45" fmla="*/ 54722 h 717367"/>
                <a:gd name="connsiteX46" fmla="*/ 181612 w 686577"/>
                <a:gd name="connsiteY46" fmla="*/ 109331 h 717367"/>
                <a:gd name="connsiteX47" fmla="*/ 238062 w 686577"/>
                <a:gd name="connsiteY47" fmla="*/ 83909 h 717367"/>
                <a:gd name="connsiteX48" fmla="*/ 226671 w 686577"/>
                <a:gd name="connsiteY48" fmla="*/ 14384 h 717367"/>
                <a:gd name="connsiteX49" fmla="*/ 314767 w 686577"/>
                <a:gd name="connsiteY49" fmla="*/ 0 h 717367"/>
                <a:gd name="connsiteX50" fmla="*/ 320484 w 686577"/>
                <a:gd name="connsiteY50" fmla="*/ 158508 h 717367"/>
                <a:gd name="connsiteX51" fmla="*/ 140523 w 686577"/>
                <a:gd name="connsiteY51" fmla="*/ 287709 h 717367"/>
                <a:gd name="connsiteX52" fmla="*/ 257156 w 686577"/>
                <a:gd name="connsiteY52" fmla="*/ 545924 h 717367"/>
                <a:gd name="connsiteX53" fmla="*/ 515422 w 686577"/>
                <a:gd name="connsiteY53" fmla="*/ 429788 h 717367"/>
                <a:gd name="connsiteX54" fmla="*/ 399077 w 686577"/>
                <a:gd name="connsiteY54" fmla="*/ 171443 h 717367"/>
                <a:gd name="connsiteX55" fmla="*/ 320484 w 686577"/>
                <a:gd name="connsiteY55" fmla="*/ 158508 h 71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86577" h="717367">
                  <a:moveTo>
                    <a:pt x="314767" y="0"/>
                  </a:moveTo>
                  <a:lnTo>
                    <a:pt x="326078" y="69733"/>
                  </a:lnTo>
                  <a:cubicBezTo>
                    <a:pt x="346443" y="69569"/>
                    <a:pt x="366931" y="71601"/>
                    <a:pt x="387542" y="75829"/>
                  </a:cubicBezTo>
                  <a:lnTo>
                    <a:pt x="412554" y="9830"/>
                  </a:lnTo>
                  <a:lnTo>
                    <a:pt x="495888" y="41412"/>
                  </a:lnTo>
                  <a:lnTo>
                    <a:pt x="470876" y="107411"/>
                  </a:lnTo>
                  <a:cubicBezTo>
                    <a:pt x="489113" y="117905"/>
                    <a:pt x="506010" y="130041"/>
                    <a:pt x="521151" y="143662"/>
                  </a:cubicBezTo>
                  <a:lnTo>
                    <a:pt x="575838" y="98941"/>
                  </a:lnTo>
                  <a:lnTo>
                    <a:pt x="632063" y="168020"/>
                  </a:lnTo>
                  <a:lnTo>
                    <a:pt x="577455" y="212532"/>
                  </a:lnTo>
                  <a:cubicBezTo>
                    <a:pt x="588111" y="230424"/>
                    <a:pt x="596463" y="249353"/>
                    <a:pt x="603086" y="269061"/>
                  </a:cubicBezTo>
                  <a:lnTo>
                    <a:pt x="672402" y="257591"/>
                  </a:lnTo>
                  <a:lnTo>
                    <a:pt x="686577" y="345607"/>
                  </a:lnTo>
                  <a:lnTo>
                    <a:pt x="617132" y="356789"/>
                  </a:lnTo>
                  <a:cubicBezTo>
                    <a:pt x="617505" y="377233"/>
                    <a:pt x="615185" y="397851"/>
                    <a:pt x="610957" y="418462"/>
                  </a:cubicBezTo>
                  <a:lnTo>
                    <a:pt x="676747" y="443395"/>
                  </a:lnTo>
                  <a:lnTo>
                    <a:pt x="645165" y="526729"/>
                  </a:lnTo>
                  <a:lnTo>
                    <a:pt x="579375" y="501796"/>
                  </a:lnTo>
                  <a:cubicBezTo>
                    <a:pt x="568881" y="520032"/>
                    <a:pt x="557033" y="536800"/>
                    <a:pt x="543124" y="552071"/>
                  </a:cubicBezTo>
                  <a:lnTo>
                    <a:pt x="587715" y="606470"/>
                  </a:lnTo>
                  <a:lnTo>
                    <a:pt x="518924" y="662566"/>
                  </a:lnTo>
                  <a:lnTo>
                    <a:pt x="474463" y="608454"/>
                  </a:lnTo>
                  <a:cubicBezTo>
                    <a:pt x="456520" y="618613"/>
                    <a:pt x="437721" y="627253"/>
                    <a:pt x="417883" y="633588"/>
                  </a:cubicBezTo>
                  <a:lnTo>
                    <a:pt x="429274" y="703113"/>
                  </a:lnTo>
                  <a:lnTo>
                    <a:pt x="341467" y="717367"/>
                  </a:lnTo>
                  <a:lnTo>
                    <a:pt x="330076" y="647843"/>
                  </a:lnTo>
                  <a:cubicBezTo>
                    <a:pt x="309711" y="648008"/>
                    <a:pt x="289014" y="645896"/>
                    <a:pt x="268482" y="641459"/>
                  </a:cubicBezTo>
                  <a:lnTo>
                    <a:pt x="243470" y="707458"/>
                  </a:lnTo>
                  <a:lnTo>
                    <a:pt x="160136" y="675876"/>
                  </a:lnTo>
                  <a:lnTo>
                    <a:pt x="185148" y="609877"/>
                  </a:lnTo>
                  <a:cubicBezTo>
                    <a:pt x="166833" y="599592"/>
                    <a:pt x="150144" y="587535"/>
                    <a:pt x="135003" y="573914"/>
                  </a:cubicBezTo>
                  <a:lnTo>
                    <a:pt x="80395" y="618426"/>
                  </a:lnTo>
                  <a:lnTo>
                    <a:pt x="23882" y="549477"/>
                  </a:lnTo>
                  <a:lnTo>
                    <a:pt x="78490" y="504965"/>
                  </a:lnTo>
                  <a:cubicBezTo>
                    <a:pt x="68043" y="487152"/>
                    <a:pt x="59483" y="468144"/>
                    <a:pt x="52989" y="448724"/>
                  </a:cubicBezTo>
                  <a:lnTo>
                    <a:pt x="0" y="457106"/>
                  </a:lnTo>
                  <a:lnTo>
                    <a:pt x="0" y="367154"/>
                  </a:lnTo>
                  <a:lnTo>
                    <a:pt x="38734" y="360917"/>
                  </a:lnTo>
                  <a:cubicBezTo>
                    <a:pt x="38649" y="340343"/>
                    <a:pt x="40681" y="319855"/>
                    <a:pt x="45118" y="299323"/>
                  </a:cubicBezTo>
                  <a:lnTo>
                    <a:pt x="0" y="282224"/>
                  </a:lnTo>
                  <a:lnTo>
                    <a:pt x="0" y="219213"/>
                  </a:lnTo>
                  <a:lnTo>
                    <a:pt x="10701" y="190977"/>
                  </a:lnTo>
                  <a:lnTo>
                    <a:pt x="76700" y="215989"/>
                  </a:lnTo>
                  <a:cubicBezTo>
                    <a:pt x="86985" y="197673"/>
                    <a:pt x="99121" y="180776"/>
                    <a:pt x="112742" y="165635"/>
                  </a:cubicBezTo>
                  <a:lnTo>
                    <a:pt x="68230" y="111027"/>
                  </a:lnTo>
                  <a:lnTo>
                    <a:pt x="137100" y="54722"/>
                  </a:lnTo>
                  <a:lnTo>
                    <a:pt x="181612" y="109331"/>
                  </a:lnTo>
                  <a:cubicBezTo>
                    <a:pt x="199425" y="98884"/>
                    <a:pt x="218433" y="90323"/>
                    <a:pt x="238062" y="83909"/>
                  </a:cubicBezTo>
                  <a:lnTo>
                    <a:pt x="226671" y="14384"/>
                  </a:lnTo>
                  <a:lnTo>
                    <a:pt x="314767" y="0"/>
                  </a:lnTo>
                  <a:close/>
                  <a:moveTo>
                    <a:pt x="320484" y="158508"/>
                  </a:moveTo>
                  <a:cubicBezTo>
                    <a:pt x="242381" y="161456"/>
                    <a:pt x="169909" y="210170"/>
                    <a:pt x="140523" y="287709"/>
                  </a:cubicBezTo>
                  <a:cubicBezTo>
                    <a:pt x="101263" y="391302"/>
                    <a:pt x="153563" y="506664"/>
                    <a:pt x="257156" y="545924"/>
                  </a:cubicBezTo>
                  <a:cubicBezTo>
                    <a:pt x="360540" y="585105"/>
                    <a:pt x="476162" y="533381"/>
                    <a:pt x="515422" y="429788"/>
                  </a:cubicBezTo>
                  <a:cubicBezTo>
                    <a:pt x="554603" y="326404"/>
                    <a:pt x="502461" y="210624"/>
                    <a:pt x="399077" y="171443"/>
                  </a:cubicBezTo>
                  <a:cubicBezTo>
                    <a:pt x="373179" y="161628"/>
                    <a:pt x="346519" y="157526"/>
                    <a:pt x="320484" y="158508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D6138AA2-A77F-004E-9E8E-33E521B2E71A}"/>
                </a:ext>
              </a:extLst>
            </p:cNvPr>
            <p:cNvSpPr/>
            <p:nvPr userDrawn="1"/>
          </p:nvSpPr>
          <p:spPr>
            <a:xfrm>
              <a:off x="0" y="1697267"/>
              <a:ext cx="290008" cy="359743"/>
            </a:xfrm>
            <a:custGeom>
              <a:avLst/>
              <a:gdLst>
                <a:gd name="connsiteX0" fmla="*/ 104816 w 290008"/>
                <a:gd name="connsiteY0" fmla="*/ 129301 h 359743"/>
                <a:gd name="connsiteX1" fmla="*/ 124947 w 290008"/>
                <a:gd name="connsiteY1" fmla="*/ 131461 h 359743"/>
                <a:gd name="connsiteX2" fmla="*/ 158085 w 290008"/>
                <a:gd name="connsiteY2" fmla="*/ 195623 h 359743"/>
                <a:gd name="connsiteX3" fmla="*/ 94186 w 290008"/>
                <a:gd name="connsiteY3" fmla="*/ 228983 h 359743"/>
                <a:gd name="connsiteX4" fmla="*/ 61047 w 290008"/>
                <a:gd name="connsiteY4" fmla="*/ 164821 h 359743"/>
                <a:gd name="connsiteX5" fmla="*/ 104816 w 290008"/>
                <a:gd name="connsiteY5" fmla="*/ 129301 h 359743"/>
                <a:gd name="connsiteX6" fmla="*/ 100796 w 290008"/>
                <a:gd name="connsiteY6" fmla="*/ 79554 h 359743"/>
                <a:gd name="connsiteX7" fmla="*/ 14047 w 290008"/>
                <a:gd name="connsiteY7" fmla="*/ 149713 h 359743"/>
                <a:gd name="connsiteX8" fmla="*/ 80057 w 290008"/>
                <a:gd name="connsiteY8" fmla="*/ 275882 h 359743"/>
                <a:gd name="connsiteX9" fmla="*/ 206565 w 290008"/>
                <a:gd name="connsiteY9" fmla="*/ 210239 h 359743"/>
                <a:gd name="connsiteX10" fmla="*/ 140634 w 290008"/>
                <a:gd name="connsiteY10" fmla="*/ 83861 h 359743"/>
                <a:gd name="connsiteX11" fmla="*/ 100796 w 290008"/>
                <a:gd name="connsiteY11" fmla="*/ 79554 h 359743"/>
                <a:gd name="connsiteX12" fmla="*/ 93503 w 290008"/>
                <a:gd name="connsiteY12" fmla="*/ 0 h 359743"/>
                <a:gd name="connsiteX13" fmla="*/ 101155 w 290008"/>
                <a:gd name="connsiteY13" fmla="*/ 34704 h 359743"/>
                <a:gd name="connsiteX14" fmla="*/ 132243 w 290008"/>
                <a:gd name="connsiteY14" fmla="*/ 35964 h 359743"/>
                <a:gd name="connsiteX15" fmla="*/ 142882 w 290008"/>
                <a:gd name="connsiteY15" fmla="*/ 2214 h 359743"/>
                <a:gd name="connsiteX16" fmla="*/ 185572 w 290008"/>
                <a:gd name="connsiteY16" fmla="*/ 15762 h 359743"/>
                <a:gd name="connsiteX17" fmla="*/ 174934 w 290008"/>
                <a:gd name="connsiteY17" fmla="*/ 49513 h 359743"/>
                <a:gd name="connsiteX18" fmla="*/ 201073 w 290008"/>
                <a:gd name="connsiteY18" fmla="*/ 66354 h 359743"/>
                <a:gd name="connsiteX19" fmla="*/ 227172 w 290008"/>
                <a:gd name="connsiteY19" fmla="*/ 42288 h 359743"/>
                <a:gd name="connsiteX20" fmla="*/ 257598 w 290008"/>
                <a:gd name="connsiteY20" fmla="*/ 75580 h 359743"/>
                <a:gd name="connsiteX21" fmla="*/ 231370 w 290008"/>
                <a:gd name="connsiteY21" fmla="*/ 99357 h 359743"/>
                <a:gd name="connsiteX22" fmla="*/ 245825 w 290008"/>
                <a:gd name="connsiteY22" fmla="*/ 126836 h 359743"/>
                <a:gd name="connsiteX23" fmla="*/ 280320 w 290008"/>
                <a:gd name="connsiteY23" fmla="*/ 119104 h 359743"/>
                <a:gd name="connsiteX24" fmla="*/ 290008 w 290008"/>
                <a:gd name="connsiteY24" fmla="*/ 162950 h 359743"/>
                <a:gd name="connsiteX25" fmla="*/ 255513 w 290008"/>
                <a:gd name="connsiteY25" fmla="*/ 170681 h 359743"/>
                <a:gd name="connsiteX26" fmla="*/ 254044 w 290008"/>
                <a:gd name="connsiteY26" fmla="*/ 201689 h 359743"/>
                <a:gd name="connsiteX27" fmla="*/ 287924 w 290008"/>
                <a:gd name="connsiteY27" fmla="*/ 212617 h 359743"/>
                <a:gd name="connsiteX28" fmla="*/ 274455 w 290008"/>
                <a:gd name="connsiteY28" fmla="*/ 255098 h 359743"/>
                <a:gd name="connsiteX29" fmla="*/ 240495 w 290008"/>
                <a:gd name="connsiteY29" fmla="*/ 244381 h 359743"/>
                <a:gd name="connsiteX30" fmla="*/ 223993 w 290008"/>
                <a:gd name="connsiteY30" fmla="*/ 270887 h 359743"/>
                <a:gd name="connsiteX31" fmla="*/ 247849 w 290008"/>
                <a:gd name="connsiteY31" fmla="*/ 296907 h 359743"/>
                <a:gd name="connsiteX32" fmla="*/ 214846 w 290008"/>
                <a:gd name="connsiteY32" fmla="*/ 327203 h 359743"/>
                <a:gd name="connsiteX33" fmla="*/ 190860 w 290008"/>
                <a:gd name="connsiteY33" fmla="*/ 300895 h 359743"/>
                <a:gd name="connsiteX34" fmla="*/ 163093 w 290008"/>
                <a:gd name="connsiteY34" fmla="*/ 315481 h 359743"/>
                <a:gd name="connsiteX35" fmla="*/ 170824 w 290008"/>
                <a:gd name="connsiteY35" fmla="*/ 349976 h 359743"/>
                <a:gd name="connsiteX36" fmla="*/ 127189 w 290008"/>
                <a:gd name="connsiteY36" fmla="*/ 359743 h 359743"/>
                <a:gd name="connsiteX37" fmla="*/ 119536 w 290008"/>
                <a:gd name="connsiteY37" fmla="*/ 325039 h 359743"/>
                <a:gd name="connsiteX38" fmla="*/ 88240 w 290008"/>
                <a:gd name="connsiteY38" fmla="*/ 323700 h 359743"/>
                <a:gd name="connsiteX39" fmla="*/ 77810 w 290008"/>
                <a:gd name="connsiteY39" fmla="*/ 357529 h 359743"/>
                <a:gd name="connsiteX40" fmla="*/ 34831 w 290008"/>
                <a:gd name="connsiteY40" fmla="*/ 344111 h 359743"/>
                <a:gd name="connsiteX41" fmla="*/ 45758 w 290008"/>
                <a:gd name="connsiteY41" fmla="*/ 310230 h 359743"/>
                <a:gd name="connsiteX42" fmla="*/ 19330 w 290008"/>
                <a:gd name="connsiteY42" fmla="*/ 293519 h 359743"/>
                <a:gd name="connsiteX43" fmla="*/ 0 w 290008"/>
                <a:gd name="connsiteY43" fmla="*/ 311241 h 359743"/>
                <a:gd name="connsiteX44" fmla="*/ 0 w 290008"/>
                <a:gd name="connsiteY44" fmla="*/ 37858 h 359743"/>
                <a:gd name="connsiteX45" fmla="*/ 5845 w 290008"/>
                <a:gd name="connsiteY45" fmla="*/ 32540 h 359743"/>
                <a:gd name="connsiteX46" fmla="*/ 29622 w 290008"/>
                <a:gd name="connsiteY46" fmla="*/ 58768 h 359743"/>
                <a:gd name="connsiteX47" fmla="*/ 57310 w 290008"/>
                <a:gd name="connsiteY47" fmla="*/ 44392 h 359743"/>
                <a:gd name="connsiteX48" fmla="*/ 49578 w 290008"/>
                <a:gd name="connsiteY48" fmla="*/ 9897 h 35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0008" h="359743">
                  <a:moveTo>
                    <a:pt x="104816" y="129301"/>
                  </a:moveTo>
                  <a:cubicBezTo>
                    <a:pt x="111415" y="128677"/>
                    <a:pt x="118242" y="129338"/>
                    <a:pt x="124947" y="131461"/>
                  </a:cubicBezTo>
                  <a:cubicBezTo>
                    <a:pt x="151767" y="139953"/>
                    <a:pt x="166680" y="168540"/>
                    <a:pt x="158085" y="195623"/>
                  </a:cubicBezTo>
                  <a:cubicBezTo>
                    <a:pt x="149777" y="222577"/>
                    <a:pt x="121006" y="237476"/>
                    <a:pt x="94186" y="228983"/>
                  </a:cubicBezTo>
                  <a:cubicBezTo>
                    <a:pt x="67366" y="220491"/>
                    <a:pt x="52452" y="191905"/>
                    <a:pt x="61047" y="164821"/>
                  </a:cubicBezTo>
                  <a:cubicBezTo>
                    <a:pt x="67278" y="144606"/>
                    <a:pt x="85019" y="131172"/>
                    <a:pt x="104816" y="129301"/>
                  </a:cubicBezTo>
                  <a:close/>
                  <a:moveTo>
                    <a:pt x="100796" y="79554"/>
                  </a:moveTo>
                  <a:cubicBezTo>
                    <a:pt x="61673" y="83200"/>
                    <a:pt x="26710" y="109676"/>
                    <a:pt x="14047" y="149713"/>
                  </a:cubicBezTo>
                  <a:cubicBezTo>
                    <a:pt x="-2678" y="202679"/>
                    <a:pt x="26804" y="259287"/>
                    <a:pt x="80057" y="275882"/>
                  </a:cubicBezTo>
                  <a:cubicBezTo>
                    <a:pt x="133023" y="292607"/>
                    <a:pt x="189552" y="263334"/>
                    <a:pt x="206565" y="210239"/>
                  </a:cubicBezTo>
                  <a:cubicBezTo>
                    <a:pt x="223160" y="156985"/>
                    <a:pt x="193599" y="100587"/>
                    <a:pt x="140634" y="83861"/>
                  </a:cubicBezTo>
                  <a:cubicBezTo>
                    <a:pt x="127340" y="79660"/>
                    <a:pt x="113837" y="78339"/>
                    <a:pt x="100796" y="79554"/>
                  </a:cubicBezTo>
                  <a:close/>
                  <a:moveTo>
                    <a:pt x="93503" y="0"/>
                  </a:moveTo>
                  <a:lnTo>
                    <a:pt x="101155" y="34704"/>
                  </a:lnTo>
                  <a:cubicBezTo>
                    <a:pt x="111234" y="33980"/>
                    <a:pt x="121832" y="34410"/>
                    <a:pt x="132243" y="35964"/>
                  </a:cubicBezTo>
                  <a:lnTo>
                    <a:pt x="142882" y="2214"/>
                  </a:lnTo>
                  <a:lnTo>
                    <a:pt x="185572" y="15762"/>
                  </a:lnTo>
                  <a:lnTo>
                    <a:pt x="174934" y="49513"/>
                  </a:lnTo>
                  <a:cubicBezTo>
                    <a:pt x="184365" y="54283"/>
                    <a:pt x="193061" y="59731"/>
                    <a:pt x="201073" y="66354"/>
                  </a:cubicBezTo>
                  <a:lnTo>
                    <a:pt x="227172" y="42288"/>
                  </a:lnTo>
                  <a:lnTo>
                    <a:pt x="257598" y="75580"/>
                  </a:lnTo>
                  <a:lnTo>
                    <a:pt x="231370" y="99357"/>
                  </a:lnTo>
                  <a:cubicBezTo>
                    <a:pt x="237255" y="107805"/>
                    <a:pt x="242037" y="117269"/>
                    <a:pt x="245825" y="126836"/>
                  </a:cubicBezTo>
                  <a:lnTo>
                    <a:pt x="280320" y="119104"/>
                  </a:lnTo>
                  <a:lnTo>
                    <a:pt x="290008" y="162950"/>
                  </a:lnTo>
                  <a:lnTo>
                    <a:pt x="255513" y="170681"/>
                  </a:lnTo>
                  <a:cubicBezTo>
                    <a:pt x="256158" y="180969"/>
                    <a:pt x="255599" y="191278"/>
                    <a:pt x="254044" y="201689"/>
                  </a:cubicBezTo>
                  <a:lnTo>
                    <a:pt x="287924" y="212617"/>
                  </a:lnTo>
                  <a:lnTo>
                    <a:pt x="274455" y="255098"/>
                  </a:lnTo>
                  <a:lnTo>
                    <a:pt x="240495" y="244381"/>
                  </a:lnTo>
                  <a:cubicBezTo>
                    <a:pt x="235934" y="253891"/>
                    <a:pt x="230407" y="262796"/>
                    <a:pt x="223993" y="270887"/>
                  </a:cubicBezTo>
                  <a:lnTo>
                    <a:pt x="247849" y="296907"/>
                  </a:lnTo>
                  <a:lnTo>
                    <a:pt x="214846" y="327203"/>
                  </a:lnTo>
                  <a:lnTo>
                    <a:pt x="190860" y="300895"/>
                  </a:lnTo>
                  <a:cubicBezTo>
                    <a:pt x="182124" y="306911"/>
                    <a:pt x="172947" y="311563"/>
                    <a:pt x="163093" y="315481"/>
                  </a:cubicBezTo>
                  <a:lnTo>
                    <a:pt x="170824" y="349976"/>
                  </a:lnTo>
                  <a:lnTo>
                    <a:pt x="127189" y="359743"/>
                  </a:lnTo>
                  <a:lnTo>
                    <a:pt x="119536" y="325039"/>
                  </a:lnTo>
                  <a:cubicBezTo>
                    <a:pt x="109249" y="325683"/>
                    <a:pt x="98860" y="325334"/>
                    <a:pt x="88240" y="323700"/>
                  </a:cubicBezTo>
                  <a:lnTo>
                    <a:pt x="77810" y="357529"/>
                  </a:lnTo>
                  <a:lnTo>
                    <a:pt x="34831" y="344111"/>
                  </a:lnTo>
                  <a:lnTo>
                    <a:pt x="45758" y="310230"/>
                  </a:lnTo>
                  <a:cubicBezTo>
                    <a:pt x="36326" y="305460"/>
                    <a:pt x="27421" y="299933"/>
                    <a:pt x="19330" y="293519"/>
                  </a:cubicBezTo>
                  <a:lnTo>
                    <a:pt x="0" y="311241"/>
                  </a:lnTo>
                  <a:lnTo>
                    <a:pt x="0" y="37858"/>
                  </a:lnTo>
                  <a:lnTo>
                    <a:pt x="5845" y="32540"/>
                  </a:lnTo>
                  <a:lnTo>
                    <a:pt x="29622" y="58768"/>
                  </a:lnTo>
                  <a:cubicBezTo>
                    <a:pt x="38488" y="53042"/>
                    <a:pt x="47744" y="48179"/>
                    <a:pt x="57310" y="44392"/>
                  </a:cubicBezTo>
                  <a:lnTo>
                    <a:pt x="49578" y="9897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585816137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073590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24/07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4071224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B50CD552-C10E-614A-B810-77E320220E26}" type="datetimeFigureOut">
              <a:rPr lang="en-US" smtClean="0"/>
              <a:pPr/>
              <a:t>7/2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9998EADF-C030-F84C-ADA0-FD2E39B5A3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30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9" r:id="rId3"/>
    <p:sldLayoutId id="2147483670" r:id="rId4"/>
    <p:sldLayoutId id="2147483673" r:id="rId5"/>
    <p:sldLayoutId id="2147483671" r:id="rId6"/>
    <p:sldLayoutId id="2147483674" r:id="rId7"/>
    <p:sldLayoutId id="2147483672" r:id="rId8"/>
    <p:sldLayoutId id="214748370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8813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4135C5-14D0-49FF-9EC5-C47D763B3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D3A9A-74ED-46AD-AB81-3E60E073A5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89BFDD-53DF-4A38-96A8-53BBC6B8CA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B50059-896C-4A6B-8A45-F2CE78948863}" type="datetimeFigureOut">
              <a:rPr lang="id-ID" smtClean="0"/>
              <a:t>24/07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A6C90-AFED-440A-9989-5636ABC0D4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2C663F-E7BB-46E3-9E58-81333E8A3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47437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11B93F7-7C42-47C6-AC39-6514E80D1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1FD207-637D-416D-962E-5C7B8632C11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80000"/>
                </a:schemeClr>
              </a:gs>
              <a:gs pos="100000">
                <a:schemeClr val="bg1">
                  <a:alpha val="98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7B6DF1-4EF7-4FE8-918B-937EAE480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6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BED8-A1B0-4408-8561-9B4C3D7BF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61160"/>
            <a:ext cx="10515600" cy="4515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ADD6CC-32FE-4696-8F94-BCE37A6C2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ADDB36-6091-4D22-B5FC-D79BFD440B17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CE75-C914-42FC-A86F-1514B13101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B66DF-F157-42FA-9939-7D5C9D89A9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534A3F78-C2AF-46E8-81E7-A4A6A200BF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128"/>
          <a:stretch/>
        </p:blipFill>
        <p:spPr>
          <a:xfrm>
            <a:off x="0" y="-655320"/>
            <a:ext cx="220897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0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3EDC94-7668-44E5-B048-83B563401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75CAD0-0975-42BF-897A-241E1EEE23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0AB3C-9A47-4062-B791-978270FA8E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04C58-FA62-45F4-A96E-40C49D52AEA5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237D5-379D-4047-B911-4FE50AA49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DF3A8-5F07-4A96-AD0D-71AF8CE789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1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0CD552-C10E-614A-B810-77E320220E26}" type="datetimeFigureOut">
              <a:rPr lang="en-US" smtClean="0"/>
              <a:t>7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47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.xml"/><Relationship Id="rId6" Type="http://schemas.microsoft.com/office/2007/relationships/diagramDrawing" Target="../diagrams/drawing1.xml"/><Relationship Id="rId11" Type="http://schemas.openxmlformats.org/officeDocument/2006/relationships/image" Target="../media/image11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0.jp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A0358E8-D565-1998-147B-AFADF4FB30FE}"/>
              </a:ext>
            </a:extLst>
          </p:cNvPr>
          <p:cNvSpPr txBox="1"/>
          <p:nvPr/>
        </p:nvSpPr>
        <p:spPr>
          <a:xfrm>
            <a:off x="7340447" y="6166138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GV: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ạm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Văn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oàn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BF728A-B989-486A-FCCF-6BF81B7C3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9409" y="-83976"/>
            <a:ext cx="49430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87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-13751" y="1615441"/>
            <a:ext cx="7588031" cy="5142180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3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ử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dụ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và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à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cả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biến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251909" y="1928145"/>
            <a:ext cx="68342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Khi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Sơ</a:t>
            </a:r>
            <a:r>
              <a:rPr lang="en-US" sz="2400" dirty="0"/>
              <a:t> </a:t>
            </a:r>
            <a:r>
              <a:rPr lang="en-US" sz="2400" dirty="0" err="1"/>
              <a:t>đồ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ơn</a:t>
            </a:r>
            <a:r>
              <a:rPr lang="en-US" sz="2400" dirty="0"/>
              <a:t> </a:t>
            </a:r>
            <a:r>
              <a:rPr lang="en-US" sz="2400" dirty="0" err="1"/>
              <a:t>giản</a:t>
            </a:r>
            <a:r>
              <a:rPr lang="en-US" sz="2400" dirty="0"/>
              <a:t> </a:t>
            </a:r>
            <a:r>
              <a:rPr lang="en-US" sz="2400" dirty="0" err="1"/>
              <a:t>gồm</a:t>
            </a:r>
            <a:r>
              <a:rPr lang="en-US" sz="2400" dirty="0"/>
              <a:t>: R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xác</a:t>
            </a:r>
            <a:r>
              <a:rPr lang="en-US" sz="2400" dirty="0"/>
              <a:t> </a:t>
            </a:r>
            <a:r>
              <a:rPr lang="en-US" sz="2400" dirty="0" err="1"/>
              <a:t>định</a:t>
            </a:r>
            <a:r>
              <a:rPr lang="en-US" sz="2400" dirty="0"/>
              <a:t>,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, E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nguồ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/>
              <a:t>Khi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u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U</a:t>
            </a:r>
            <a:r>
              <a:rPr lang="en-US" sz="2400" baseline="-25000" dirty="0"/>
              <a:t>Rs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U</a:t>
            </a:r>
            <a:r>
              <a:rPr lang="en-US" sz="2400" baseline="-25000" dirty="0"/>
              <a:t>R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R </a:t>
            </a:r>
            <a:r>
              <a:rPr lang="en-US" sz="2400" dirty="0" err="1"/>
              <a:t>cũng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eo.</a:t>
            </a:r>
            <a:endParaRPr lang="en-US" sz="2400" dirty="0"/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ường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R. Do </a:t>
            </a:r>
            <a:r>
              <a:rPr lang="en-US" sz="2400" dirty="0" err="1"/>
              <a:t>đó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rong</a:t>
            </a:r>
            <a:r>
              <a:rPr lang="en-US" sz="2400" dirty="0"/>
              <a:t>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.</a:t>
            </a:r>
          </a:p>
          <a:p>
            <a:pPr algn="just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14E0E-2554-DD01-6555-7507B3D1BCD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86117" y="2056093"/>
            <a:ext cx="4920981" cy="353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25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ECBA26A0-0D60-437A-A2E9-98AE8352CCD3}"/>
              </a:ext>
            </a:extLst>
          </p:cNvPr>
          <p:cNvSpPr txBox="1"/>
          <p:nvPr/>
        </p:nvSpPr>
        <p:spPr>
          <a:xfrm>
            <a:off x="1590675" y="1034850"/>
            <a:ext cx="947386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ài</a:t>
            </a:r>
            <a:r>
              <a:rPr kumimoji="0" lang="en-US" sz="32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8.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ộ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huếch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ại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uậ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á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à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ế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ị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ầu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F266DEE2-326B-4D56-89EA-1FAE6E29A400}"/>
              </a:ext>
            </a:extLst>
          </p:cNvPr>
          <p:cNvSpPr>
            <a:spLocks/>
          </p:cNvSpPr>
          <p:nvPr/>
        </p:nvSpPr>
        <p:spPr bwMode="auto">
          <a:xfrm>
            <a:off x="2469324" y="1555336"/>
            <a:ext cx="7402413" cy="4514270"/>
          </a:xfrm>
          <a:custGeom>
            <a:avLst/>
            <a:gdLst>
              <a:gd name="T0" fmla="*/ 2706 w 3017"/>
              <a:gd name="T1" fmla="*/ 955 h 1841"/>
              <a:gd name="T2" fmla="*/ 2596 w 3017"/>
              <a:gd name="T3" fmla="*/ 972 h 1841"/>
              <a:gd name="T4" fmla="*/ 2537 w 3017"/>
              <a:gd name="T5" fmla="*/ 978 h 1841"/>
              <a:gd name="T6" fmla="*/ 2326 w 3017"/>
              <a:gd name="T7" fmla="*/ 841 h 1841"/>
              <a:gd name="T8" fmla="*/ 2125 w 3017"/>
              <a:gd name="T9" fmla="*/ 656 h 1841"/>
              <a:gd name="T10" fmla="*/ 2116 w 3017"/>
              <a:gd name="T11" fmla="*/ 654 h 1841"/>
              <a:gd name="T12" fmla="*/ 2103 w 3017"/>
              <a:gd name="T13" fmla="*/ 653 h 1841"/>
              <a:gd name="T14" fmla="*/ 2004 w 3017"/>
              <a:gd name="T15" fmla="*/ 654 h 1841"/>
              <a:gd name="T16" fmla="*/ 1831 w 3017"/>
              <a:gd name="T17" fmla="*/ 481 h 1841"/>
              <a:gd name="T18" fmla="*/ 1807 w 3017"/>
              <a:gd name="T19" fmla="*/ 280 h 1841"/>
              <a:gd name="T20" fmla="*/ 1508 w 3017"/>
              <a:gd name="T21" fmla="*/ 0 h 1841"/>
              <a:gd name="T22" fmla="*/ 1209 w 3017"/>
              <a:gd name="T23" fmla="*/ 280 h 1841"/>
              <a:gd name="T24" fmla="*/ 1185 w 3017"/>
              <a:gd name="T25" fmla="*/ 481 h 1841"/>
              <a:gd name="T26" fmla="*/ 1012 w 3017"/>
              <a:gd name="T27" fmla="*/ 654 h 1841"/>
              <a:gd name="T28" fmla="*/ 913 w 3017"/>
              <a:gd name="T29" fmla="*/ 653 h 1841"/>
              <a:gd name="T30" fmla="*/ 900 w 3017"/>
              <a:gd name="T31" fmla="*/ 654 h 1841"/>
              <a:gd name="T32" fmla="*/ 891 w 3017"/>
              <a:gd name="T33" fmla="*/ 656 h 1841"/>
              <a:gd name="T34" fmla="*/ 691 w 3017"/>
              <a:gd name="T35" fmla="*/ 841 h 1841"/>
              <a:gd name="T36" fmla="*/ 479 w 3017"/>
              <a:gd name="T37" fmla="*/ 978 h 1841"/>
              <a:gd name="T38" fmla="*/ 420 w 3017"/>
              <a:gd name="T39" fmla="*/ 972 h 1841"/>
              <a:gd name="T40" fmla="*/ 310 w 3017"/>
              <a:gd name="T41" fmla="*/ 955 h 1841"/>
              <a:gd name="T42" fmla="*/ 44 w 3017"/>
              <a:gd name="T43" fmla="*/ 1250 h 1841"/>
              <a:gd name="T44" fmla="*/ 446 w 3017"/>
              <a:gd name="T45" fmla="*/ 1263 h 1841"/>
              <a:gd name="T46" fmla="*/ 492 w 3017"/>
              <a:gd name="T47" fmla="*/ 1196 h 1841"/>
              <a:gd name="T48" fmla="*/ 705 w 3017"/>
              <a:gd name="T49" fmla="*/ 1062 h 1841"/>
              <a:gd name="T50" fmla="*/ 859 w 3017"/>
              <a:gd name="T51" fmla="*/ 1110 h 1841"/>
              <a:gd name="T52" fmla="*/ 947 w 3017"/>
              <a:gd name="T53" fmla="*/ 1339 h 1841"/>
              <a:gd name="T54" fmla="*/ 929 w 3017"/>
              <a:gd name="T55" fmla="*/ 1395 h 1841"/>
              <a:gd name="T56" fmla="*/ 891 w 3017"/>
              <a:gd name="T57" fmla="*/ 1500 h 1841"/>
              <a:gd name="T58" fmla="*/ 1128 w 3017"/>
              <a:gd name="T59" fmla="*/ 1819 h 1841"/>
              <a:gd name="T60" fmla="*/ 1221 w 3017"/>
              <a:gd name="T61" fmla="*/ 1428 h 1841"/>
              <a:gd name="T62" fmla="*/ 1164 w 3017"/>
              <a:gd name="T63" fmla="*/ 1369 h 1841"/>
              <a:gd name="T64" fmla="*/ 1074 w 3017"/>
              <a:gd name="T65" fmla="*/ 1134 h 1841"/>
              <a:gd name="T66" fmla="*/ 1090 w 3017"/>
              <a:gd name="T67" fmla="*/ 1080 h 1841"/>
              <a:gd name="T68" fmla="*/ 1124 w 3017"/>
              <a:gd name="T69" fmla="*/ 984 h 1841"/>
              <a:gd name="T70" fmla="*/ 1128 w 3017"/>
              <a:gd name="T71" fmla="*/ 976 h 1841"/>
              <a:gd name="T72" fmla="*/ 1129 w 3017"/>
              <a:gd name="T73" fmla="*/ 974 h 1841"/>
              <a:gd name="T74" fmla="*/ 1152 w 3017"/>
              <a:gd name="T75" fmla="*/ 903 h 1841"/>
              <a:gd name="T76" fmla="*/ 1153 w 3017"/>
              <a:gd name="T77" fmla="*/ 803 h 1841"/>
              <a:gd name="T78" fmla="*/ 1230 w 3017"/>
              <a:gd name="T79" fmla="*/ 664 h 1841"/>
              <a:gd name="T80" fmla="*/ 1467 w 3017"/>
              <a:gd name="T81" fmla="*/ 603 h 1841"/>
              <a:gd name="T82" fmla="*/ 1550 w 3017"/>
              <a:gd name="T83" fmla="*/ 603 h 1841"/>
              <a:gd name="T84" fmla="*/ 1786 w 3017"/>
              <a:gd name="T85" fmla="*/ 664 h 1841"/>
              <a:gd name="T86" fmla="*/ 1863 w 3017"/>
              <a:gd name="T87" fmla="*/ 803 h 1841"/>
              <a:gd name="T88" fmla="*/ 1864 w 3017"/>
              <a:gd name="T89" fmla="*/ 903 h 1841"/>
              <a:gd name="T90" fmla="*/ 1887 w 3017"/>
              <a:gd name="T91" fmla="*/ 974 h 1841"/>
              <a:gd name="T92" fmla="*/ 1888 w 3017"/>
              <a:gd name="T93" fmla="*/ 976 h 1841"/>
              <a:gd name="T94" fmla="*/ 1893 w 3017"/>
              <a:gd name="T95" fmla="*/ 984 h 1841"/>
              <a:gd name="T96" fmla="*/ 1926 w 3017"/>
              <a:gd name="T97" fmla="*/ 1080 h 1841"/>
              <a:gd name="T98" fmla="*/ 1942 w 3017"/>
              <a:gd name="T99" fmla="*/ 1134 h 1841"/>
              <a:gd name="T100" fmla="*/ 1852 w 3017"/>
              <a:gd name="T101" fmla="*/ 1369 h 1841"/>
              <a:gd name="T102" fmla="*/ 1796 w 3017"/>
              <a:gd name="T103" fmla="*/ 1428 h 1841"/>
              <a:gd name="T104" fmla="*/ 1888 w 3017"/>
              <a:gd name="T105" fmla="*/ 1819 h 1841"/>
              <a:gd name="T106" fmla="*/ 2125 w 3017"/>
              <a:gd name="T107" fmla="*/ 1500 h 1841"/>
              <a:gd name="T108" fmla="*/ 2087 w 3017"/>
              <a:gd name="T109" fmla="*/ 1395 h 1841"/>
              <a:gd name="T110" fmla="*/ 2069 w 3017"/>
              <a:gd name="T111" fmla="*/ 1339 h 1841"/>
              <a:gd name="T112" fmla="*/ 2132 w 3017"/>
              <a:gd name="T113" fmla="*/ 1138 h 1841"/>
              <a:gd name="T114" fmla="*/ 2312 w 3017"/>
              <a:gd name="T115" fmla="*/ 1062 h 1841"/>
              <a:gd name="T116" fmla="*/ 2524 w 3017"/>
              <a:gd name="T117" fmla="*/ 1196 h 1841"/>
              <a:gd name="T118" fmla="*/ 2570 w 3017"/>
              <a:gd name="T119" fmla="*/ 1263 h 1841"/>
              <a:gd name="T120" fmla="*/ 2972 w 3017"/>
              <a:gd name="T121" fmla="*/ 1250 h 1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17" h="1841">
                <a:moveTo>
                  <a:pt x="2861" y="966"/>
                </a:moveTo>
                <a:cubicBezTo>
                  <a:pt x="2810" y="943"/>
                  <a:pt x="2757" y="946"/>
                  <a:pt x="2706" y="955"/>
                </a:cubicBezTo>
                <a:cubicBezTo>
                  <a:pt x="2706" y="955"/>
                  <a:pt x="2706" y="955"/>
                  <a:pt x="2705" y="955"/>
                </a:cubicBezTo>
                <a:cubicBezTo>
                  <a:pt x="2657" y="963"/>
                  <a:pt x="2621" y="968"/>
                  <a:pt x="2596" y="972"/>
                </a:cubicBezTo>
                <a:cubicBezTo>
                  <a:pt x="2595" y="972"/>
                  <a:pt x="2595" y="972"/>
                  <a:pt x="2594" y="972"/>
                </a:cubicBezTo>
                <a:cubicBezTo>
                  <a:pt x="2550" y="978"/>
                  <a:pt x="2537" y="978"/>
                  <a:pt x="2537" y="978"/>
                </a:cubicBezTo>
                <a:cubicBezTo>
                  <a:pt x="2476" y="984"/>
                  <a:pt x="2415" y="958"/>
                  <a:pt x="2377" y="909"/>
                </a:cubicBezTo>
                <a:cubicBezTo>
                  <a:pt x="2377" y="909"/>
                  <a:pt x="2358" y="888"/>
                  <a:pt x="2326" y="841"/>
                </a:cubicBezTo>
                <a:cubicBezTo>
                  <a:pt x="2312" y="823"/>
                  <a:pt x="2297" y="801"/>
                  <a:pt x="2281" y="777"/>
                </a:cubicBezTo>
                <a:cubicBezTo>
                  <a:pt x="2252" y="716"/>
                  <a:pt x="2196" y="670"/>
                  <a:pt x="2125" y="656"/>
                </a:cubicBezTo>
                <a:cubicBezTo>
                  <a:pt x="2122" y="655"/>
                  <a:pt x="2119" y="655"/>
                  <a:pt x="2117" y="655"/>
                </a:cubicBezTo>
                <a:cubicBezTo>
                  <a:pt x="2116" y="655"/>
                  <a:pt x="2116" y="654"/>
                  <a:pt x="2116" y="654"/>
                </a:cubicBezTo>
                <a:cubicBezTo>
                  <a:pt x="2112" y="654"/>
                  <a:pt x="2108" y="653"/>
                  <a:pt x="2104" y="653"/>
                </a:cubicBezTo>
                <a:cubicBezTo>
                  <a:pt x="2103" y="653"/>
                  <a:pt x="2103" y="653"/>
                  <a:pt x="2103" y="653"/>
                </a:cubicBezTo>
                <a:cubicBezTo>
                  <a:pt x="2086" y="651"/>
                  <a:pt x="2069" y="652"/>
                  <a:pt x="2052" y="654"/>
                </a:cubicBezTo>
                <a:cubicBezTo>
                  <a:pt x="2036" y="656"/>
                  <a:pt x="2020" y="656"/>
                  <a:pt x="2004" y="654"/>
                </a:cubicBezTo>
                <a:cubicBezTo>
                  <a:pt x="1949" y="646"/>
                  <a:pt x="1901" y="616"/>
                  <a:pt x="1870" y="574"/>
                </a:cubicBezTo>
                <a:cubicBezTo>
                  <a:pt x="1850" y="547"/>
                  <a:pt x="1836" y="515"/>
                  <a:pt x="1831" y="481"/>
                </a:cubicBezTo>
                <a:cubicBezTo>
                  <a:pt x="1817" y="381"/>
                  <a:pt x="1817" y="381"/>
                  <a:pt x="1817" y="381"/>
                </a:cubicBezTo>
                <a:cubicBezTo>
                  <a:pt x="1812" y="348"/>
                  <a:pt x="1809" y="314"/>
                  <a:pt x="1807" y="280"/>
                </a:cubicBezTo>
                <a:cubicBezTo>
                  <a:pt x="1803" y="210"/>
                  <a:pt x="1774" y="141"/>
                  <a:pt x="1720" y="87"/>
                </a:cubicBezTo>
                <a:cubicBezTo>
                  <a:pt x="1662" y="29"/>
                  <a:pt x="1585" y="0"/>
                  <a:pt x="1508" y="0"/>
                </a:cubicBezTo>
                <a:cubicBezTo>
                  <a:pt x="1431" y="0"/>
                  <a:pt x="1354" y="29"/>
                  <a:pt x="1296" y="87"/>
                </a:cubicBezTo>
                <a:cubicBezTo>
                  <a:pt x="1242" y="141"/>
                  <a:pt x="1213" y="210"/>
                  <a:pt x="1209" y="280"/>
                </a:cubicBezTo>
                <a:cubicBezTo>
                  <a:pt x="1207" y="314"/>
                  <a:pt x="1204" y="348"/>
                  <a:pt x="1199" y="381"/>
                </a:cubicBezTo>
                <a:cubicBezTo>
                  <a:pt x="1185" y="481"/>
                  <a:pt x="1185" y="481"/>
                  <a:pt x="1185" y="481"/>
                </a:cubicBezTo>
                <a:cubicBezTo>
                  <a:pt x="1180" y="515"/>
                  <a:pt x="1166" y="547"/>
                  <a:pt x="1147" y="574"/>
                </a:cubicBezTo>
                <a:cubicBezTo>
                  <a:pt x="1115" y="616"/>
                  <a:pt x="1067" y="646"/>
                  <a:pt x="1012" y="654"/>
                </a:cubicBezTo>
                <a:cubicBezTo>
                  <a:pt x="996" y="656"/>
                  <a:pt x="980" y="656"/>
                  <a:pt x="965" y="654"/>
                </a:cubicBezTo>
                <a:cubicBezTo>
                  <a:pt x="948" y="652"/>
                  <a:pt x="930" y="651"/>
                  <a:pt x="913" y="653"/>
                </a:cubicBezTo>
                <a:cubicBezTo>
                  <a:pt x="913" y="653"/>
                  <a:pt x="913" y="653"/>
                  <a:pt x="913" y="653"/>
                </a:cubicBezTo>
                <a:cubicBezTo>
                  <a:pt x="909" y="653"/>
                  <a:pt x="904" y="654"/>
                  <a:pt x="900" y="654"/>
                </a:cubicBezTo>
                <a:cubicBezTo>
                  <a:pt x="900" y="654"/>
                  <a:pt x="900" y="655"/>
                  <a:pt x="900" y="655"/>
                </a:cubicBezTo>
                <a:cubicBezTo>
                  <a:pt x="897" y="655"/>
                  <a:pt x="894" y="655"/>
                  <a:pt x="891" y="656"/>
                </a:cubicBezTo>
                <a:cubicBezTo>
                  <a:pt x="820" y="670"/>
                  <a:pt x="764" y="716"/>
                  <a:pt x="735" y="777"/>
                </a:cubicBezTo>
                <a:cubicBezTo>
                  <a:pt x="719" y="801"/>
                  <a:pt x="704" y="823"/>
                  <a:pt x="691" y="841"/>
                </a:cubicBezTo>
                <a:cubicBezTo>
                  <a:pt x="658" y="888"/>
                  <a:pt x="639" y="909"/>
                  <a:pt x="639" y="909"/>
                </a:cubicBezTo>
                <a:cubicBezTo>
                  <a:pt x="601" y="958"/>
                  <a:pt x="541" y="984"/>
                  <a:pt x="479" y="978"/>
                </a:cubicBezTo>
                <a:cubicBezTo>
                  <a:pt x="479" y="978"/>
                  <a:pt x="466" y="978"/>
                  <a:pt x="422" y="972"/>
                </a:cubicBezTo>
                <a:cubicBezTo>
                  <a:pt x="422" y="972"/>
                  <a:pt x="421" y="972"/>
                  <a:pt x="420" y="972"/>
                </a:cubicBezTo>
                <a:cubicBezTo>
                  <a:pt x="395" y="968"/>
                  <a:pt x="360" y="963"/>
                  <a:pt x="311" y="955"/>
                </a:cubicBezTo>
                <a:cubicBezTo>
                  <a:pt x="311" y="955"/>
                  <a:pt x="310" y="955"/>
                  <a:pt x="310" y="955"/>
                </a:cubicBezTo>
                <a:cubicBezTo>
                  <a:pt x="259" y="946"/>
                  <a:pt x="206" y="943"/>
                  <a:pt x="156" y="966"/>
                </a:cubicBezTo>
                <a:cubicBezTo>
                  <a:pt x="49" y="1015"/>
                  <a:pt x="0" y="1142"/>
                  <a:pt x="44" y="1250"/>
                </a:cubicBezTo>
                <a:cubicBezTo>
                  <a:pt x="91" y="1364"/>
                  <a:pt x="222" y="1417"/>
                  <a:pt x="335" y="1369"/>
                </a:cubicBezTo>
                <a:cubicBezTo>
                  <a:pt x="385" y="1347"/>
                  <a:pt x="419" y="1306"/>
                  <a:pt x="446" y="1263"/>
                </a:cubicBezTo>
                <a:cubicBezTo>
                  <a:pt x="462" y="1238"/>
                  <a:pt x="478" y="1216"/>
                  <a:pt x="492" y="1197"/>
                </a:cubicBezTo>
                <a:cubicBezTo>
                  <a:pt x="492" y="1197"/>
                  <a:pt x="492" y="1197"/>
                  <a:pt x="492" y="1196"/>
                </a:cubicBezTo>
                <a:cubicBezTo>
                  <a:pt x="523" y="1155"/>
                  <a:pt x="545" y="1130"/>
                  <a:pt x="545" y="1130"/>
                </a:cubicBezTo>
                <a:cubicBezTo>
                  <a:pt x="583" y="1082"/>
                  <a:pt x="643" y="1056"/>
                  <a:pt x="705" y="1062"/>
                </a:cubicBezTo>
                <a:cubicBezTo>
                  <a:pt x="705" y="1062"/>
                  <a:pt x="746" y="1066"/>
                  <a:pt x="783" y="1070"/>
                </a:cubicBezTo>
                <a:cubicBezTo>
                  <a:pt x="812" y="1074"/>
                  <a:pt x="839" y="1088"/>
                  <a:pt x="859" y="1110"/>
                </a:cubicBezTo>
                <a:cubicBezTo>
                  <a:pt x="883" y="1136"/>
                  <a:pt x="911" y="1168"/>
                  <a:pt x="911" y="1168"/>
                </a:cubicBezTo>
                <a:cubicBezTo>
                  <a:pt x="952" y="1215"/>
                  <a:pt x="965" y="1280"/>
                  <a:pt x="947" y="1339"/>
                </a:cubicBezTo>
                <a:cubicBezTo>
                  <a:pt x="947" y="1339"/>
                  <a:pt x="944" y="1351"/>
                  <a:pt x="930" y="1393"/>
                </a:cubicBezTo>
                <a:cubicBezTo>
                  <a:pt x="930" y="1394"/>
                  <a:pt x="930" y="1394"/>
                  <a:pt x="929" y="1395"/>
                </a:cubicBezTo>
                <a:cubicBezTo>
                  <a:pt x="921" y="1419"/>
                  <a:pt x="909" y="1453"/>
                  <a:pt x="892" y="1499"/>
                </a:cubicBezTo>
                <a:cubicBezTo>
                  <a:pt x="891" y="1499"/>
                  <a:pt x="891" y="1500"/>
                  <a:pt x="891" y="1500"/>
                </a:cubicBezTo>
                <a:cubicBezTo>
                  <a:pt x="873" y="1548"/>
                  <a:pt x="859" y="1599"/>
                  <a:pt x="872" y="1653"/>
                </a:cubicBezTo>
                <a:cubicBezTo>
                  <a:pt x="899" y="1768"/>
                  <a:pt x="1013" y="1841"/>
                  <a:pt x="1128" y="1819"/>
                </a:cubicBezTo>
                <a:cubicBezTo>
                  <a:pt x="1249" y="1795"/>
                  <a:pt x="1327" y="1677"/>
                  <a:pt x="1302" y="1557"/>
                </a:cubicBezTo>
                <a:cubicBezTo>
                  <a:pt x="1291" y="1504"/>
                  <a:pt x="1257" y="1463"/>
                  <a:pt x="1221" y="1428"/>
                </a:cubicBezTo>
                <a:cubicBezTo>
                  <a:pt x="1199" y="1407"/>
                  <a:pt x="1180" y="1387"/>
                  <a:pt x="1164" y="1370"/>
                </a:cubicBezTo>
                <a:cubicBezTo>
                  <a:pt x="1164" y="1370"/>
                  <a:pt x="1164" y="1369"/>
                  <a:pt x="1164" y="1369"/>
                </a:cubicBezTo>
                <a:cubicBezTo>
                  <a:pt x="1129" y="1331"/>
                  <a:pt x="1110" y="1305"/>
                  <a:pt x="1110" y="1305"/>
                </a:cubicBezTo>
                <a:cubicBezTo>
                  <a:pt x="1069" y="1258"/>
                  <a:pt x="1056" y="1193"/>
                  <a:pt x="1074" y="1134"/>
                </a:cubicBezTo>
                <a:cubicBezTo>
                  <a:pt x="1074" y="1134"/>
                  <a:pt x="1077" y="1122"/>
                  <a:pt x="1090" y="1081"/>
                </a:cubicBezTo>
                <a:cubicBezTo>
                  <a:pt x="1090" y="1081"/>
                  <a:pt x="1090" y="1080"/>
                  <a:pt x="1090" y="1080"/>
                </a:cubicBezTo>
                <a:cubicBezTo>
                  <a:pt x="1098" y="1057"/>
                  <a:pt x="1108" y="1026"/>
                  <a:pt x="1123" y="984"/>
                </a:cubicBezTo>
                <a:cubicBezTo>
                  <a:pt x="1124" y="984"/>
                  <a:pt x="1124" y="984"/>
                  <a:pt x="1124" y="984"/>
                </a:cubicBezTo>
                <a:cubicBezTo>
                  <a:pt x="1124" y="982"/>
                  <a:pt x="1125" y="981"/>
                  <a:pt x="1126" y="979"/>
                </a:cubicBezTo>
                <a:cubicBezTo>
                  <a:pt x="1127" y="978"/>
                  <a:pt x="1128" y="977"/>
                  <a:pt x="1128" y="976"/>
                </a:cubicBezTo>
                <a:cubicBezTo>
                  <a:pt x="1128" y="975"/>
                  <a:pt x="1128" y="975"/>
                  <a:pt x="1129" y="975"/>
                </a:cubicBezTo>
                <a:cubicBezTo>
                  <a:pt x="1129" y="974"/>
                  <a:pt x="1129" y="974"/>
                  <a:pt x="1129" y="974"/>
                </a:cubicBezTo>
                <a:cubicBezTo>
                  <a:pt x="1140" y="953"/>
                  <a:pt x="1147" y="931"/>
                  <a:pt x="1151" y="908"/>
                </a:cubicBezTo>
                <a:cubicBezTo>
                  <a:pt x="1151" y="906"/>
                  <a:pt x="1152" y="905"/>
                  <a:pt x="1152" y="903"/>
                </a:cubicBezTo>
                <a:cubicBezTo>
                  <a:pt x="1155" y="884"/>
                  <a:pt x="1155" y="865"/>
                  <a:pt x="1152" y="845"/>
                </a:cubicBezTo>
                <a:cubicBezTo>
                  <a:pt x="1151" y="831"/>
                  <a:pt x="1151" y="817"/>
                  <a:pt x="1153" y="803"/>
                </a:cubicBezTo>
                <a:cubicBezTo>
                  <a:pt x="1154" y="797"/>
                  <a:pt x="1154" y="797"/>
                  <a:pt x="1154" y="797"/>
                </a:cubicBezTo>
                <a:cubicBezTo>
                  <a:pt x="1161" y="743"/>
                  <a:pt x="1189" y="696"/>
                  <a:pt x="1230" y="664"/>
                </a:cubicBezTo>
                <a:cubicBezTo>
                  <a:pt x="1258" y="642"/>
                  <a:pt x="1291" y="628"/>
                  <a:pt x="1328" y="623"/>
                </a:cubicBezTo>
                <a:cubicBezTo>
                  <a:pt x="1467" y="603"/>
                  <a:pt x="1467" y="603"/>
                  <a:pt x="1467" y="603"/>
                </a:cubicBezTo>
                <a:cubicBezTo>
                  <a:pt x="1481" y="601"/>
                  <a:pt x="1494" y="599"/>
                  <a:pt x="1508" y="598"/>
                </a:cubicBezTo>
                <a:cubicBezTo>
                  <a:pt x="1522" y="599"/>
                  <a:pt x="1536" y="601"/>
                  <a:pt x="1550" y="603"/>
                </a:cubicBezTo>
                <a:cubicBezTo>
                  <a:pt x="1689" y="623"/>
                  <a:pt x="1689" y="623"/>
                  <a:pt x="1689" y="623"/>
                </a:cubicBezTo>
                <a:cubicBezTo>
                  <a:pt x="1725" y="628"/>
                  <a:pt x="1759" y="642"/>
                  <a:pt x="1786" y="664"/>
                </a:cubicBezTo>
                <a:cubicBezTo>
                  <a:pt x="1827" y="696"/>
                  <a:pt x="1855" y="743"/>
                  <a:pt x="1863" y="797"/>
                </a:cubicBezTo>
                <a:cubicBezTo>
                  <a:pt x="1863" y="803"/>
                  <a:pt x="1863" y="803"/>
                  <a:pt x="1863" y="803"/>
                </a:cubicBezTo>
                <a:cubicBezTo>
                  <a:pt x="1866" y="817"/>
                  <a:pt x="1866" y="831"/>
                  <a:pt x="1864" y="845"/>
                </a:cubicBezTo>
                <a:cubicBezTo>
                  <a:pt x="1861" y="865"/>
                  <a:pt x="1862" y="884"/>
                  <a:pt x="1864" y="903"/>
                </a:cubicBezTo>
                <a:cubicBezTo>
                  <a:pt x="1865" y="905"/>
                  <a:pt x="1865" y="906"/>
                  <a:pt x="1865" y="908"/>
                </a:cubicBezTo>
                <a:cubicBezTo>
                  <a:pt x="1869" y="931"/>
                  <a:pt x="1877" y="953"/>
                  <a:pt x="1887" y="974"/>
                </a:cubicBezTo>
                <a:cubicBezTo>
                  <a:pt x="1887" y="974"/>
                  <a:pt x="1888" y="974"/>
                  <a:pt x="1888" y="975"/>
                </a:cubicBezTo>
                <a:cubicBezTo>
                  <a:pt x="1888" y="975"/>
                  <a:pt x="1888" y="975"/>
                  <a:pt x="1888" y="976"/>
                </a:cubicBezTo>
                <a:cubicBezTo>
                  <a:pt x="1889" y="977"/>
                  <a:pt x="1889" y="978"/>
                  <a:pt x="1890" y="979"/>
                </a:cubicBezTo>
                <a:cubicBezTo>
                  <a:pt x="1891" y="981"/>
                  <a:pt x="1892" y="982"/>
                  <a:pt x="1893" y="984"/>
                </a:cubicBezTo>
                <a:cubicBezTo>
                  <a:pt x="1893" y="984"/>
                  <a:pt x="1893" y="984"/>
                  <a:pt x="1893" y="984"/>
                </a:cubicBezTo>
                <a:cubicBezTo>
                  <a:pt x="1908" y="1026"/>
                  <a:pt x="1918" y="1057"/>
                  <a:pt x="1926" y="1080"/>
                </a:cubicBezTo>
                <a:cubicBezTo>
                  <a:pt x="1926" y="1080"/>
                  <a:pt x="1926" y="1081"/>
                  <a:pt x="1926" y="1081"/>
                </a:cubicBezTo>
                <a:cubicBezTo>
                  <a:pt x="1940" y="1122"/>
                  <a:pt x="1942" y="1134"/>
                  <a:pt x="1942" y="1134"/>
                </a:cubicBezTo>
                <a:cubicBezTo>
                  <a:pt x="1960" y="1193"/>
                  <a:pt x="1947" y="1258"/>
                  <a:pt x="1907" y="1305"/>
                </a:cubicBezTo>
                <a:cubicBezTo>
                  <a:pt x="1907" y="1305"/>
                  <a:pt x="1887" y="1331"/>
                  <a:pt x="1852" y="1369"/>
                </a:cubicBezTo>
                <a:cubicBezTo>
                  <a:pt x="1852" y="1369"/>
                  <a:pt x="1852" y="1370"/>
                  <a:pt x="1852" y="1370"/>
                </a:cubicBezTo>
                <a:cubicBezTo>
                  <a:pt x="1836" y="1387"/>
                  <a:pt x="1817" y="1407"/>
                  <a:pt x="1796" y="1428"/>
                </a:cubicBezTo>
                <a:cubicBezTo>
                  <a:pt x="1759" y="1463"/>
                  <a:pt x="1726" y="1504"/>
                  <a:pt x="1714" y="1557"/>
                </a:cubicBezTo>
                <a:cubicBezTo>
                  <a:pt x="1689" y="1677"/>
                  <a:pt x="1767" y="1795"/>
                  <a:pt x="1888" y="1819"/>
                </a:cubicBezTo>
                <a:cubicBezTo>
                  <a:pt x="2003" y="1841"/>
                  <a:pt x="2117" y="1768"/>
                  <a:pt x="2144" y="1653"/>
                </a:cubicBezTo>
                <a:cubicBezTo>
                  <a:pt x="2157" y="1599"/>
                  <a:pt x="2143" y="1548"/>
                  <a:pt x="2125" y="1500"/>
                </a:cubicBezTo>
                <a:cubicBezTo>
                  <a:pt x="2125" y="1500"/>
                  <a:pt x="2125" y="1499"/>
                  <a:pt x="2125" y="1499"/>
                </a:cubicBezTo>
                <a:cubicBezTo>
                  <a:pt x="2107" y="1453"/>
                  <a:pt x="2095" y="1419"/>
                  <a:pt x="2087" y="1395"/>
                </a:cubicBezTo>
                <a:cubicBezTo>
                  <a:pt x="2087" y="1394"/>
                  <a:pt x="2086" y="1394"/>
                  <a:pt x="2086" y="1393"/>
                </a:cubicBezTo>
                <a:cubicBezTo>
                  <a:pt x="2072" y="1351"/>
                  <a:pt x="2069" y="1339"/>
                  <a:pt x="2069" y="1339"/>
                </a:cubicBezTo>
                <a:cubicBezTo>
                  <a:pt x="2051" y="1280"/>
                  <a:pt x="2064" y="1215"/>
                  <a:pt x="2105" y="1168"/>
                </a:cubicBezTo>
                <a:cubicBezTo>
                  <a:pt x="2105" y="1168"/>
                  <a:pt x="2117" y="1155"/>
                  <a:pt x="2132" y="1138"/>
                </a:cubicBezTo>
                <a:cubicBezTo>
                  <a:pt x="2168" y="1098"/>
                  <a:pt x="2218" y="1072"/>
                  <a:pt x="2272" y="1066"/>
                </a:cubicBezTo>
                <a:cubicBezTo>
                  <a:pt x="2294" y="1064"/>
                  <a:pt x="2312" y="1062"/>
                  <a:pt x="2312" y="1062"/>
                </a:cubicBezTo>
                <a:cubicBezTo>
                  <a:pt x="2373" y="1056"/>
                  <a:pt x="2434" y="1082"/>
                  <a:pt x="2472" y="1130"/>
                </a:cubicBezTo>
                <a:cubicBezTo>
                  <a:pt x="2472" y="1130"/>
                  <a:pt x="2494" y="1155"/>
                  <a:pt x="2524" y="1196"/>
                </a:cubicBezTo>
                <a:cubicBezTo>
                  <a:pt x="2524" y="1197"/>
                  <a:pt x="2525" y="1197"/>
                  <a:pt x="2525" y="1197"/>
                </a:cubicBezTo>
                <a:cubicBezTo>
                  <a:pt x="2539" y="1216"/>
                  <a:pt x="2554" y="1238"/>
                  <a:pt x="2570" y="1263"/>
                </a:cubicBezTo>
                <a:cubicBezTo>
                  <a:pt x="2598" y="1306"/>
                  <a:pt x="2631" y="1347"/>
                  <a:pt x="2681" y="1369"/>
                </a:cubicBezTo>
                <a:cubicBezTo>
                  <a:pt x="2794" y="1417"/>
                  <a:pt x="2925" y="1364"/>
                  <a:pt x="2972" y="1250"/>
                </a:cubicBezTo>
                <a:cubicBezTo>
                  <a:pt x="3017" y="1142"/>
                  <a:pt x="2967" y="1015"/>
                  <a:pt x="2861" y="96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1113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2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4E8E0A5-0736-4207-A05D-AB2058F117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6368" y="1703426"/>
            <a:ext cx="1221555" cy="1224165"/>
          </a:xfrm>
          <a:prstGeom prst="ellipse">
            <a:avLst/>
          </a:pr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330ADBD-44D3-4CD4-83A7-9DEEFC712E28}"/>
              </a:ext>
            </a:extLst>
          </p:cNvPr>
          <p:cNvSpPr>
            <a:spLocks/>
          </p:cNvSpPr>
          <p:nvPr/>
        </p:nvSpPr>
        <p:spPr bwMode="auto">
          <a:xfrm>
            <a:off x="4236085" y="3238200"/>
            <a:ext cx="968369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7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7" y="0"/>
                  <a:pt x="320" y="41"/>
                  <a:pt x="357" y="129"/>
                </a:cubicBezTo>
                <a:cubicBezTo>
                  <a:pt x="395" y="217"/>
                  <a:pt x="354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F800F52-B1D9-4F20-864D-D13F965B0AF4}"/>
              </a:ext>
            </a:extLst>
          </p:cNvPr>
          <p:cNvSpPr>
            <a:spLocks/>
          </p:cNvSpPr>
          <p:nvPr/>
        </p:nvSpPr>
        <p:spPr bwMode="auto">
          <a:xfrm>
            <a:off x="2552532" y="3959909"/>
            <a:ext cx="969675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8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8" y="0"/>
                  <a:pt x="320" y="41"/>
                  <a:pt x="358" y="129"/>
                </a:cubicBezTo>
                <a:cubicBezTo>
                  <a:pt x="395" y="217"/>
                  <a:pt x="355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7E232D3-DA54-4AA4-9900-447E7C9516D9}"/>
              </a:ext>
            </a:extLst>
          </p:cNvPr>
          <p:cNvSpPr>
            <a:spLocks/>
          </p:cNvSpPr>
          <p:nvPr/>
        </p:nvSpPr>
        <p:spPr bwMode="auto">
          <a:xfrm>
            <a:off x="4630219" y="5048345"/>
            <a:ext cx="930522" cy="929217"/>
          </a:xfrm>
          <a:custGeom>
            <a:avLst/>
            <a:gdLst>
              <a:gd name="T0" fmla="*/ 225 w 379"/>
              <a:gd name="T1" fmla="*/ 360 h 379"/>
              <a:gd name="T2" fmla="*/ 19 w 379"/>
              <a:gd name="T3" fmla="*/ 225 h 379"/>
              <a:gd name="T4" fmla="*/ 154 w 379"/>
              <a:gd name="T5" fmla="*/ 19 h 379"/>
              <a:gd name="T6" fmla="*/ 360 w 379"/>
              <a:gd name="T7" fmla="*/ 154 h 379"/>
              <a:gd name="T8" fmla="*/ 225 w 379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9" h="379">
                <a:moveTo>
                  <a:pt x="225" y="360"/>
                </a:moveTo>
                <a:cubicBezTo>
                  <a:pt x="131" y="379"/>
                  <a:pt x="39" y="319"/>
                  <a:pt x="19" y="225"/>
                </a:cubicBezTo>
                <a:cubicBezTo>
                  <a:pt x="0" y="131"/>
                  <a:pt x="60" y="39"/>
                  <a:pt x="154" y="19"/>
                </a:cubicBezTo>
                <a:cubicBezTo>
                  <a:pt x="248" y="0"/>
                  <a:pt x="340" y="60"/>
                  <a:pt x="360" y="154"/>
                </a:cubicBezTo>
                <a:cubicBezTo>
                  <a:pt x="379" y="248"/>
                  <a:pt x="319" y="340"/>
                  <a:pt x="225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3593582-A3BF-4D7D-A701-536C57F069E7}"/>
              </a:ext>
            </a:extLst>
          </p:cNvPr>
          <p:cNvSpPr>
            <a:spLocks/>
          </p:cNvSpPr>
          <p:nvPr/>
        </p:nvSpPr>
        <p:spPr bwMode="auto">
          <a:xfrm>
            <a:off x="7055058" y="3238200"/>
            <a:ext cx="968369" cy="968369"/>
          </a:xfrm>
          <a:custGeom>
            <a:avLst/>
            <a:gdLst>
              <a:gd name="T0" fmla="*/ 358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8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6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20" y="354"/>
                  <a:pt x="35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53BDB2B-0690-4C01-B744-169753E192B4}"/>
              </a:ext>
            </a:extLst>
          </p:cNvPr>
          <p:cNvSpPr>
            <a:spLocks/>
          </p:cNvSpPr>
          <p:nvPr/>
        </p:nvSpPr>
        <p:spPr bwMode="auto">
          <a:xfrm>
            <a:off x="8776194" y="3959909"/>
            <a:ext cx="969675" cy="968369"/>
          </a:xfrm>
          <a:custGeom>
            <a:avLst/>
            <a:gdLst>
              <a:gd name="T0" fmla="*/ 357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7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7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5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19" y="354"/>
                  <a:pt x="357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FE718B3-6912-4FC9-926F-CDA8EA45AD67}"/>
              </a:ext>
            </a:extLst>
          </p:cNvPr>
          <p:cNvSpPr>
            <a:spLocks/>
          </p:cNvSpPr>
          <p:nvPr/>
        </p:nvSpPr>
        <p:spPr bwMode="auto">
          <a:xfrm>
            <a:off x="6698771" y="5048345"/>
            <a:ext cx="931827" cy="929217"/>
          </a:xfrm>
          <a:custGeom>
            <a:avLst/>
            <a:gdLst>
              <a:gd name="T0" fmla="*/ 154 w 380"/>
              <a:gd name="T1" fmla="*/ 360 h 379"/>
              <a:gd name="T2" fmla="*/ 360 w 380"/>
              <a:gd name="T3" fmla="*/ 225 h 379"/>
              <a:gd name="T4" fmla="*/ 226 w 380"/>
              <a:gd name="T5" fmla="*/ 19 h 379"/>
              <a:gd name="T6" fmla="*/ 20 w 380"/>
              <a:gd name="T7" fmla="*/ 154 h 379"/>
              <a:gd name="T8" fmla="*/ 154 w 380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0" h="379">
                <a:moveTo>
                  <a:pt x="154" y="360"/>
                </a:moveTo>
                <a:cubicBezTo>
                  <a:pt x="248" y="379"/>
                  <a:pt x="340" y="319"/>
                  <a:pt x="360" y="225"/>
                </a:cubicBezTo>
                <a:cubicBezTo>
                  <a:pt x="380" y="131"/>
                  <a:pt x="319" y="39"/>
                  <a:pt x="226" y="19"/>
                </a:cubicBezTo>
                <a:cubicBezTo>
                  <a:pt x="132" y="0"/>
                  <a:pt x="39" y="60"/>
                  <a:pt x="20" y="154"/>
                </a:cubicBezTo>
                <a:cubicBezTo>
                  <a:pt x="0" y="248"/>
                  <a:pt x="60" y="340"/>
                  <a:pt x="154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996ED3-514A-4516-A1CD-AFD2F97E75C7}"/>
              </a:ext>
            </a:extLst>
          </p:cNvPr>
          <p:cNvSpPr txBox="1"/>
          <p:nvPr/>
        </p:nvSpPr>
        <p:spPr>
          <a:xfrm>
            <a:off x="438049" y="2661692"/>
            <a:ext cx="331947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0BB837-5C65-4D54-B4A9-2F328F0B6410}"/>
              </a:ext>
            </a:extLst>
          </p:cNvPr>
          <p:cNvSpPr txBox="1"/>
          <p:nvPr/>
        </p:nvSpPr>
        <p:spPr>
          <a:xfrm>
            <a:off x="7138598" y="2035925"/>
            <a:ext cx="170282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ế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ị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ầu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67A7E9-30A3-4B23-A8A3-8E93F6207DE4}"/>
              </a:ext>
            </a:extLst>
          </p:cNvPr>
          <p:cNvSpPr txBox="1"/>
          <p:nvPr/>
        </p:nvSpPr>
        <p:spPr>
          <a:xfrm>
            <a:off x="9796768" y="2724157"/>
            <a:ext cx="17585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ừ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DDBEEC8-96DC-4D0D-A5C6-B6F173FDF6EC}"/>
              </a:ext>
            </a:extLst>
          </p:cNvPr>
          <p:cNvSpPr txBox="1"/>
          <p:nvPr/>
        </p:nvSpPr>
        <p:spPr>
          <a:xfrm>
            <a:off x="606622" y="4242538"/>
            <a:ext cx="14319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ệm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F0C496-CF24-4001-B09A-4D75512F702B}"/>
              </a:ext>
            </a:extLst>
          </p:cNvPr>
          <p:cNvSpPr txBox="1"/>
          <p:nvPr/>
        </p:nvSpPr>
        <p:spPr>
          <a:xfrm>
            <a:off x="2715335" y="5391159"/>
            <a:ext cx="13363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ất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2161A06-8C77-4D11-8AD1-977BC893A510}"/>
              </a:ext>
            </a:extLst>
          </p:cNvPr>
          <p:cNvSpPr txBox="1"/>
          <p:nvPr/>
        </p:nvSpPr>
        <p:spPr>
          <a:xfrm>
            <a:off x="10146531" y="4213544"/>
            <a:ext cx="2094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o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á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F63005D4-EE1D-4304-BA03-CF5DAFB2EDB6}"/>
              </a:ext>
            </a:extLst>
          </p:cNvPr>
          <p:cNvSpPr/>
          <p:nvPr/>
        </p:nvSpPr>
        <p:spPr>
          <a:xfrm>
            <a:off x="6041421" y="317535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6031DC09-41C6-4DC7-A44A-34C5BDA5B102}"/>
              </a:ext>
            </a:extLst>
          </p:cNvPr>
          <p:cNvSpPr/>
          <p:nvPr/>
        </p:nvSpPr>
        <p:spPr>
          <a:xfrm rot="18199742">
            <a:off x="7313624" y="295401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27DD955F-E6FC-4268-A981-E80E5F6B5B83}"/>
              </a:ext>
            </a:extLst>
          </p:cNvPr>
          <p:cNvSpPr/>
          <p:nvPr/>
        </p:nvSpPr>
        <p:spPr>
          <a:xfrm rot="5400000">
            <a:off x="3905123" y="3422561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B16E5084-EF09-4EE2-AD81-0F9C1812EF76}"/>
              </a:ext>
            </a:extLst>
          </p:cNvPr>
          <p:cNvSpPr/>
          <p:nvPr/>
        </p:nvSpPr>
        <p:spPr>
          <a:xfrm rot="16200000">
            <a:off x="7823098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52E31A63-8AE8-4DB0-A96C-DD79535377A7}"/>
              </a:ext>
            </a:extLst>
          </p:cNvPr>
          <p:cNvSpPr/>
          <p:nvPr/>
        </p:nvSpPr>
        <p:spPr>
          <a:xfrm rot="5400000">
            <a:off x="4256072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39120393-AE35-446B-9411-6949A49B7130}"/>
              </a:ext>
            </a:extLst>
          </p:cNvPr>
          <p:cNvSpPr/>
          <p:nvPr/>
        </p:nvSpPr>
        <p:spPr>
          <a:xfrm rot="16200000">
            <a:off x="9890826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D477B888-2B75-4502-AABF-38D02B51FBE6}"/>
              </a:ext>
            </a:extLst>
          </p:cNvPr>
          <p:cNvSpPr/>
          <p:nvPr/>
        </p:nvSpPr>
        <p:spPr>
          <a:xfrm rot="5400000">
            <a:off x="2210158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DF5A05E-ED4D-4193-A0B4-2D4BC8907AD6}"/>
              </a:ext>
            </a:extLst>
          </p:cNvPr>
          <p:cNvGrpSpPr/>
          <p:nvPr/>
        </p:nvGrpSpPr>
        <p:grpSpPr>
          <a:xfrm>
            <a:off x="2920342" y="4297250"/>
            <a:ext cx="280988" cy="293687"/>
            <a:chOff x="2920342" y="4410150"/>
            <a:chExt cx="280988" cy="293687"/>
          </a:xfrm>
          <a:solidFill>
            <a:schemeClr val="bg1"/>
          </a:solidFill>
        </p:grpSpPr>
        <p:sp>
          <p:nvSpPr>
            <p:cNvPr id="68" name="Oval 16">
              <a:extLst>
                <a:ext uri="{FF2B5EF4-FFF2-40B4-BE49-F238E27FC236}">
                  <a16:creationId xmlns:a16="http://schemas.microsoft.com/office/drawing/2014/main" id="{88F18F85-0361-413C-94B7-6DCE921EA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4155" y="441015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87D8D12E-122C-4338-ACF5-F1C77B3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342" y="4519687"/>
              <a:ext cx="144463" cy="184150"/>
            </a:xfrm>
            <a:custGeom>
              <a:avLst/>
              <a:gdLst>
                <a:gd name="T0" fmla="*/ 28 w 48"/>
                <a:gd name="T1" fmla="*/ 0 h 60"/>
                <a:gd name="T2" fmla="*/ 30 w 48"/>
                <a:gd name="T3" fmla="*/ 27 h 60"/>
                <a:gd name="T4" fmla="*/ 24 w 48"/>
                <a:gd name="T5" fmla="*/ 33 h 60"/>
                <a:gd name="T6" fmla="*/ 18 w 48"/>
                <a:gd name="T7" fmla="*/ 27 h 60"/>
                <a:gd name="T8" fmla="*/ 20 w 48"/>
                <a:gd name="T9" fmla="*/ 0 h 60"/>
                <a:gd name="T10" fmla="*/ 0 w 48"/>
                <a:gd name="T11" fmla="*/ 0 h 60"/>
                <a:gd name="T12" fmla="*/ 0 w 48"/>
                <a:gd name="T13" fmla="*/ 2 h 60"/>
                <a:gd name="T14" fmla="*/ 14 w 48"/>
                <a:gd name="T15" fmla="*/ 33 h 60"/>
                <a:gd name="T16" fmla="*/ 14 w 48"/>
                <a:gd name="T17" fmla="*/ 60 h 60"/>
                <a:gd name="T18" fmla="*/ 34 w 48"/>
                <a:gd name="T19" fmla="*/ 60 h 60"/>
                <a:gd name="T20" fmla="*/ 34 w 48"/>
                <a:gd name="T21" fmla="*/ 33 h 60"/>
                <a:gd name="T22" fmla="*/ 48 w 48"/>
                <a:gd name="T23" fmla="*/ 2 h 60"/>
                <a:gd name="T24" fmla="*/ 48 w 48"/>
                <a:gd name="T25" fmla="*/ 0 h 60"/>
                <a:gd name="T26" fmla="*/ 28 w 48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28" y="0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6DB7EBA8-1E62-456D-9216-BCAD1FA81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9567" y="4605412"/>
              <a:ext cx="131763" cy="98425"/>
            </a:xfrm>
            <a:custGeom>
              <a:avLst/>
              <a:gdLst>
                <a:gd name="T0" fmla="*/ 42 w 44"/>
                <a:gd name="T1" fmla="*/ 0 h 32"/>
                <a:gd name="T2" fmla="*/ 36 w 44"/>
                <a:gd name="T3" fmla="*/ 0 h 32"/>
                <a:gd name="T4" fmla="*/ 36 w 44"/>
                <a:gd name="T5" fmla="*/ 10 h 32"/>
                <a:gd name="T6" fmla="*/ 30 w 44"/>
                <a:gd name="T7" fmla="*/ 16 h 32"/>
                <a:gd name="T8" fmla="*/ 24 w 44"/>
                <a:gd name="T9" fmla="*/ 10 h 32"/>
                <a:gd name="T10" fmla="*/ 24 w 44"/>
                <a:gd name="T11" fmla="*/ 0 h 32"/>
                <a:gd name="T12" fmla="*/ 20 w 44"/>
                <a:gd name="T13" fmla="*/ 0 h 32"/>
                <a:gd name="T14" fmla="*/ 20 w 44"/>
                <a:gd name="T15" fmla="*/ 10 h 32"/>
                <a:gd name="T16" fmla="*/ 14 w 44"/>
                <a:gd name="T17" fmla="*/ 16 h 32"/>
                <a:gd name="T18" fmla="*/ 8 w 44"/>
                <a:gd name="T19" fmla="*/ 10 h 32"/>
                <a:gd name="T20" fmla="*/ 8 w 44"/>
                <a:gd name="T21" fmla="*/ 0 h 32"/>
                <a:gd name="T22" fmla="*/ 2 w 44"/>
                <a:gd name="T23" fmla="*/ 0 h 32"/>
                <a:gd name="T24" fmla="*/ 0 w 44"/>
                <a:gd name="T25" fmla="*/ 2 h 32"/>
                <a:gd name="T26" fmla="*/ 0 w 44"/>
                <a:gd name="T27" fmla="*/ 30 h 32"/>
                <a:gd name="T28" fmla="*/ 2 w 44"/>
                <a:gd name="T29" fmla="*/ 32 h 32"/>
                <a:gd name="T30" fmla="*/ 42 w 44"/>
                <a:gd name="T31" fmla="*/ 32 h 32"/>
                <a:gd name="T32" fmla="*/ 44 w 44"/>
                <a:gd name="T33" fmla="*/ 30 h 32"/>
                <a:gd name="T34" fmla="*/ 44 w 44"/>
                <a:gd name="T35" fmla="*/ 2 h 32"/>
                <a:gd name="T36" fmla="*/ 42 w 44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32">
                  <a:moveTo>
                    <a:pt x="42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3"/>
                    <a:pt x="33" y="16"/>
                    <a:pt x="30" y="16"/>
                  </a:cubicBezTo>
                  <a:cubicBezTo>
                    <a:pt x="27" y="16"/>
                    <a:pt x="24" y="13"/>
                    <a:pt x="24" y="1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3"/>
                    <a:pt x="17" y="16"/>
                    <a:pt x="14" y="16"/>
                  </a:cubicBezTo>
                  <a:cubicBezTo>
                    <a:pt x="11" y="16"/>
                    <a:pt x="8" y="13"/>
                    <a:pt x="8" y="1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4" y="31"/>
                    <a:pt x="44" y="3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46C081DB-DCC1-46B8-A5C7-C557AF5F7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080" y="4568900"/>
              <a:ext cx="60325" cy="7461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10 h 24"/>
                <a:gd name="T6" fmla="*/ 10 w 20"/>
                <a:gd name="T7" fmla="*/ 4 h 24"/>
                <a:gd name="T8" fmla="*/ 4 w 20"/>
                <a:gd name="T9" fmla="*/ 10 h 24"/>
                <a:gd name="T10" fmla="*/ 4 w 20"/>
                <a:gd name="T11" fmla="*/ 22 h 24"/>
                <a:gd name="T12" fmla="*/ 2 w 20"/>
                <a:gd name="T13" fmla="*/ 24 h 24"/>
                <a:gd name="T14" fmla="*/ 0 w 20"/>
                <a:gd name="T15" fmla="*/ 22 h 24"/>
                <a:gd name="T16" fmla="*/ 0 w 20"/>
                <a:gd name="T17" fmla="*/ 10 h 24"/>
                <a:gd name="T18" fmla="*/ 10 w 20"/>
                <a:gd name="T19" fmla="*/ 0 h 24"/>
                <a:gd name="T20" fmla="*/ 20 w 20"/>
                <a:gd name="T21" fmla="*/ 10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567538B-BB4A-4AF4-A7BE-2B5B32C5CDCC}"/>
              </a:ext>
            </a:extLst>
          </p:cNvPr>
          <p:cNvGrpSpPr/>
          <p:nvPr/>
        </p:nvGrpSpPr>
        <p:grpSpPr>
          <a:xfrm>
            <a:off x="4942021" y="5391159"/>
            <a:ext cx="280988" cy="293687"/>
            <a:chOff x="1747838" y="-1371600"/>
            <a:chExt cx="280988" cy="293687"/>
          </a:xfrm>
          <a:solidFill>
            <a:schemeClr val="bg1"/>
          </a:solidFill>
        </p:grpSpPr>
        <p:sp>
          <p:nvSpPr>
            <p:cNvPr id="72" name="Oval 20">
              <a:extLst>
                <a:ext uri="{FF2B5EF4-FFF2-40B4-BE49-F238E27FC236}">
                  <a16:creationId xmlns:a16="http://schemas.microsoft.com/office/drawing/2014/main" id="{962BDE1D-458B-4AD3-8DBC-4BD64EF5D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165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700848FB-753B-4869-A394-80907BE58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838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6DC60FAF-AE5C-41E2-A2EC-5BCE4CBD7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063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22 w 44"/>
                <a:gd name="T11" fmla="*/ 20 h 44"/>
                <a:gd name="T12" fmla="*/ 29 w 44"/>
                <a:gd name="T13" fmla="*/ 26 h 44"/>
                <a:gd name="T14" fmla="*/ 24 w 44"/>
                <a:gd name="T15" fmla="*/ 33 h 44"/>
                <a:gd name="T16" fmla="*/ 24 w 44"/>
                <a:gd name="T17" fmla="*/ 34 h 44"/>
                <a:gd name="T18" fmla="*/ 22 w 44"/>
                <a:gd name="T19" fmla="*/ 36 h 44"/>
                <a:gd name="T20" fmla="*/ 20 w 44"/>
                <a:gd name="T21" fmla="*/ 34 h 44"/>
                <a:gd name="T22" fmla="*/ 20 w 44"/>
                <a:gd name="T23" fmla="*/ 33 h 44"/>
                <a:gd name="T24" fmla="*/ 15 w 44"/>
                <a:gd name="T25" fmla="*/ 26 h 44"/>
                <a:gd name="T26" fmla="*/ 17 w 44"/>
                <a:gd name="T27" fmla="*/ 24 h 44"/>
                <a:gd name="T28" fmla="*/ 19 w 44"/>
                <a:gd name="T29" fmla="*/ 26 h 44"/>
                <a:gd name="T30" fmla="*/ 22 w 44"/>
                <a:gd name="T31" fmla="*/ 29 h 44"/>
                <a:gd name="T32" fmla="*/ 25 w 44"/>
                <a:gd name="T33" fmla="*/ 26 h 44"/>
                <a:gd name="T34" fmla="*/ 22 w 44"/>
                <a:gd name="T35" fmla="*/ 24 h 44"/>
                <a:gd name="T36" fmla="*/ 15 w 44"/>
                <a:gd name="T37" fmla="*/ 17 h 44"/>
                <a:gd name="T38" fmla="*/ 20 w 44"/>
                <a:gd name="T39" fmla="*/ 11 h 44"/>
                <a:gd name="T40" fmla="*/ 20 w 44"/>
                <a:gd name="T41" fmla="*/ 9 h 44"/>
                <a:gd name="T42" fmla="*/ 22 w 44"/>
                <a:gd name="T43" fmla="*/ 7 h 44"/>
                <a:gd name="T44" fmla="*/ 24 w 44"/>
                <a:gd name="T45" fmla="*/ 9 h 44"/>
                <a:gd name="T46" fmla="*/ 24 w 44"/>
                <a:gd name="T47" fmla="*/ 11 h 44"/>
                <a:gd name="T48" fmla="*/ 29 w 44"/>
                <a:gd name="T49" fmla="*/ 17 h 44"/>
                <a:gd name="T50" fmla="*/ 27 w 44"/>
                <a:gd name="T51" fmla="*/ 19 h 44"/>
                <a:gd name="T52" fmla="*/ 25 w 44"/>
                <a:gd name="T53" fmla="*/ 17 h 44"/>
                <a:gd name="T54" fmla="*/ 22 w 44"/>
                <a:gd name="T55" fmla="*/ 14 h 44"/>
                <a:gd name="T56" fmla="*/ 19 w 44"/>
                <a:gd name="T57" fmla="*/ 17 h 44"/>
                <a:gd name="T58" fmla="*/ 22 w 44"/>
                <a:gd name="T5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22" y="20"/>
                  </a:moveTo>
                  <a:cubicBezTo>
                    <a:pt x="26" y="20"/>
                    <a:pt x="29" y="23"/>
                    <a:pt x="29" y="26"/>
                  </a:cubicBezTo>
                  <a:cubicBezTo>
                    <a:pt x="29" y="29"/>
                    <a:pt x="27" y="32"/>
                    <a:pt x="24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ubicBezTo>
                    <a:pt x="21" y="36"/>
                    <a:pt x="20" y="35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7" y="32"/>
                    <a:pt x="15" y="29"/>
                    <a:pt x="15" y="26"/>
                  </a:cubicBezTo>
                  <a:cubicBezTo>
                    <a:pt x="15" y="25"/>
                    <a:pt x="16" y="24"/>
                    <a:pt x="17" y="24"/>
                  </a:cubicBezTo>
                  <a:cubicBezTo>
                    <a:pt x="18" y="24"/>
                    <a:pt x="19" y="25"/>
                    <a:pt x="19" y="26"/>
                  </a:cubicBezTo>
                  <a:cubicBezTo>
                    <a:pt x="19" y="28"/>
                    <a:pt x="21" y="29"/>
                    <a:pt x="22" y="29"/>
                  </a:cubicBezTo>
                  <a:cubicBezTo>
                    <a:pt x="23" y="29"/>
                    <a:pt x="25" y="28"/>
                    <a:pt x="25" y="26"/>
                  </a:cubicBezTo>
                  <a:cubicBezTo>
                    <a:pt x="25" y="25"/>
                    <a:pt x="23" y="24"/>
                    <a:pt x="22" y="24"/>
                  </a:cubicBezTo>
                  <a:cubicBezTo>
                    <a:pt x="18" y="24"/>
                    <a:pt x="15" y="21"/>
                    <a:pt x="15" y="17"/>
                  </a:cubicBezTo>
                  <a:cubicBezTo>
                    <a:pt x="15" y="14"/>
                    <a:pt x="17" y="12"/>
                    <a:pt x="20" y="1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7" y="12"/>
                    <a:pt x="29" y="14"/>
                    <a:pt x="29" y="17"/>
                  </a:cubicBezTo>
                  <a:cubicBezTo>
                    <a:pt x="29" y="18"/>
                    <a:pt x="28" y="19"/>
                    <a:pt x="27" y="19"/>
                  </a:cubicBezTo>
                  <a:cubicBezTo>
                    <a:pt x="26" y="19"/>
                    <a:pt x="25" y="18"/>
                    <a:pt x="25" y="17"/>
                  </a:cubicBezTo>
                  <a:cubicBezTo>
                    <a:pt x="25" y="16"/>
                    <a:pt x="23" y="14"/>
                    <a:pt x="22" y="14"/>
                  </a:cubicBezTo>
                  <a:cubicBezTo>
                    <a:pt x="21" y="14"/>
                    <a:pt x="19" y="16"/>
                    <a:pt x="19" y="17"/>
                  </a:cubicBezTo>
                  <a:cubicBezTo>
                    <a:pt x="19" y="19"/>
                    <a:pt x="21" y="20"/>
                    <a:pt x="2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3F97B1E-849C-4AA5-BE9E-A9D9ED8CFE0A}"/>
              </a:ext>
            </a:extLst>
          </p:cNvPr>
          <p:cNvGrpSpPr/>
          <p:nvPr/>
        </p:nvGrpSpPr>
        <p:grpSpPr>
          <a:xfrm>
            <a:off x="4579775" y="3575541"/>
            <a:ext cx="280988" cy="293687"/>
            <a:chOff x="2895601" y="-1371600"/>
            <a:chExt cx="280988" cy="293687"/>
          </a:xfrm>
          <a:solidFill>
            <a:schemeClr val="bg1"/>
          </a:solidFill>
        </p:grpSpPr>
        <p:sp>
          <p:nvSpPr>
            <p:cNvPr id="75" name="Oval 23">
              <a:extLst>
                <a:ext uri="{FF2B5EF4-FFF2-40B4-BE49-F238E27FC236}">
                  <a16:creationId xmlns:a16="http://schemas.microsoft.com/office/drawing/2014/main" id="{E5003C2E-DE45-473F-A52A-A63F5D4C1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FF9C7F2A-A928-4E05-892F-97C83490F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AF538474-6A42-4B90-BF9A-343226AC6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826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30 w 44"/>
                <a:gd name="T11" fmla="*/ 28 h 44"/>
                <a:gd name="T12" fmla="*/ 22 w 44"/>
                <a:gd name="T13" fmla="*/ 28 h 44"/>
                <a:gd name="T14" fmla="*/ 20 w 44"/>
                <a:gd name="T15" fmla="*/ 26 h 44"/>
                <a:gd name="T16" fmla="*/ 20 w 44"/>
                <a:gd name="T17" fmla="*/ 12 h 44"/>
                <a:gd name="T18" fmla="*/ 22 w 44"/>
                <a:gd name="T19" fmla="*/ 10 h 44"/>
                <a:gd name="T20" fmla="*/ 24 w 44"/>
                <a:gd name="T21" fmla="*/ 12 h 44"/>
                <a:gd name="T22" fmla="*/ 24 w 44"/>
                <a:gd name="T23" fmla="*/ 24 h 44"/>
                <a:gd name="T24" fmla="*/ 30 w 44"/>
                <a:gd name="T25" fmla="*/ 24 h 44"/>
                <a:gd name="T26" fmla="*/ 32 w 44"/>
                <a:gd name="T27" fmla="*/ 26 h 44"/>
                <a:gd name="T28" fmla="*/ 30 w 44"/>
                <a:gd name="T29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0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0" y="27"/>
                    <a:pt x="20" y="2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1"/>
                    <a:pt x="21" y="10"/>
                    <a:pt x="22" y="10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1" y="24"/>
                    <a:pt x="32" y="25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E6E4FAA-D374-4220-9367-8C4724050E76}"/>
              </a:ext>
            </a:extLst>
          </p:cNvPr>
          <p:cNvGrpSpPr/>
          <p:nvPr/>
        </p:nvGrpSpPr>
        <p:grpSpPr>
          <a:xfrm>
            <a:off x="9176856" y="4289189"/>
            <a:ext cx="280987" cy="293687"/>
            <a:chOff x="4616451" y="-1371600"/>
            <a:chExt cx="280987" cy="293687"/>
          </a:xfrm>
          <a:solidFill>
            <a:schemeClr val="bg1"/>
          </a:solidFill>
        </p:grpSpPr>
        <p:sp>
          <p:nvSpPr>
            <p:cNvPr id="78" name="Oval 26">
              <a:extLst>
                <a:ext uri="{FF2B5EF4-FFF2-40B4-BE49-F238E27FC236}">
                  <a16:creationId xmlns:a16="http://schemas.microsoft.com/office/drawing/2014/main" id="{49BA90F9-AA00-49C8-9564-DC8C322FE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2D3ABB90-1BE7-4C21-8B5D-2AB3740D8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A8617173-0EF8-4C4B-B7E1-FF90AA309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9488" y="-1371600"/>
              <a:ext cx="107950" cy="122237"/>
            </a:xfrm>
            <a:custGeom>
              <a:avLst/>
              <a:gdLst>
                <a:gd name="T0" fmla="*/ 35 w 36"/>
                <a:gd name="T1" fmla="*/ 0 h 40"/>
                <a:gd name="T2" fmla="*/ 33 w 36"/>
                <a:gd name="T3" fmla="*/ 0 h 40"/>
                <a:gd name="T4" fmla="*/ 26 w 36"/>
                <a:gd name="T5" fmla="*/ 3 h 40"/>
                <a:gd name="T6" fmla="*/ 20 w 36"/>
                <a:gd name="T7" fmla="*/ 1 h 40"/>
                <a:gd name="T8" fmla="*/ 16 w 36"/>
                <a:gd name="T9" fmla="*/ 1 h 40"/>
                <a:gd name="T10" fmla="*/ 10 w 36"/>
                <a:gd name="T11" fmla="*/ 3 h 40"/>
                <a:gd name="T12" fmla="*/ 3 w 36"/>
                <a:gd name="T13" fmla="*/ 0 h 40"/>
                <a:gd name="T14" fmla="*/ 1 w 36"/>
                <a:gd name="T15" fmla="*/ 0 h 40"/>
                <a:gd name="T16" fmla="*/ 0 w 36"/>
                <a:gd name="T17" fmla="*/ 2 h 40"/>
                <a:gd name="T18" fmla="*/ 0 w 36"/>
                <a:gd name="T19" fmla="*/ 26 h 40"/>
                <a:gd name="T20" fmla="*/ 0 w 36"/>
                <a:gd name="T21" fmla="*/ 26 h 40"/>
                <a:gd name="T22" fmla="*/ 17 w 36"/>
                <a:gd name="T23" fmla="*/ 40 h 40"/>
                <a:gd name="T24" fmla="*/ 18 w 36"/>
                <a:gd name="T25" fmla="*/ 40 h 40"/>
                <a:gd name="T26" fmla="*/ 19 w 36"/>
                <a:gd name="T27" fmla="*/ 40 h 40"/>
                <a:gd name="T28" fmla="*/ 36 w 36"/>
                <a:gd name="T29" fmla="*/ 26 h 40"/>
                <a:gd name="T30" fmla="*/ 36 w 36"/>
                <a:gd name="T31" fmla="*/ 26 h 40"/>
                <a:gd name="T32" fmla="*/ 36 w 36"/>
                <a:gd name="T33" fmla="*/ 2 h 40"/>
                <a:gd name="T34" fmla="*/ 35 w 36"/>
                <a:gd name="T35" fmla="*/ 0 h 40"/>
                <a:gd name="T36" fmla="*/ 26 w 36"/>
                <a:gd name="T37" fmla="*/ 20 h 40"/>
                <a:gd name="T38" fmla="*/ 20 w 36"/>
                <a:gd name="T39" fmla="*/ 20 h 40"/>
                <a:gd name="T40" fmla="*/ 20 w 36"/>
                <a:gd name="T41" fmla="*/ 26 h 40"/>
                <a:gd name="T42" fmla="*/ 18 w 36"/>
                <a:gd name="T43" fmla="*/ 28 h 40"/>
                <a:gd name="T44" fmla="*/ 16 w 36"/>
                <a:gd name="T45" fmla="*/ 26 h 40"/>
                <a:gd name="T46" fmla="*/ 16 w 36"/>
                <a:gd name="T47" fmla="*/ 20 h 40"/>
                <a:gd name="T48" fmla="*/ 10 w 36"/>
                <a:gd name="T49" fmla="*/ 20 h 40"/>
                <a:gd name="T50" fmla="*/ 8 w 36"/>
                <a:gd name="T51" fmla="*/ 18 h 40"/>
                <a:gd name="T52" fmla="*/ 10 w 36"/>
                <a:gd name="T53" fmla="*/ 16 h 40"/>
                <a:gd name="T54" fmla="*/ 16 w 36"/>
                <a:gd name="T55" fmla="*/ 16 h 40"/>
                <a:gd name="T56" fmla="*/ 16 w 36"/>
                <a:gd name="T57" fmla="*/ 10 h 40"/>
                <a:gd name="T58" fmla="*/ 18 w 36"/>
                <a:gd name="T59" fmla="*/ 8 h 40"/>
                <a:gd name="T60" fmla="*/ 20 w 36"/>
                <a:gd name="T61" fmla="*/ 10 h 40"/>
                <a:gd name="T62" fmla="*/ 20 w 36"/>
                <a:gd name="T63" fmla="*/ 16 h 40"/>
                <a:gd name="T64" fmla="*/ 26 w 36"/>
                <a:gd name="T65" fmla="*/ 16 h 40"/>
                <a:gd name="T66" fmla="*/ 28 w 36"/>
                <a:gd name="T67" fmla="*/ 18 h 40"/>
                <a:gd name="T68" fmla="*/ 26 w 36"/>
                <a:gd name="T6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0">
                  <a:moveTo>
                    <a:pt x="35" y="0"/>
                  </a:moveTo>
                  <a:cubicBezTo>
                    <a:pt x="34" y="0"/>
                    <a:pt x="33" y="0"/>
                    <a:pt x="33" y="0"/>
                  </a:cubicBezTo>
                  <a:cubicBezTo>
                    <a:pt x="30" y="2"/>
                    <a:pt x="28" y="3"/>
                    <a:pt x="26" y="3"/>
                  </a:cubicBezTo>
                  <a:cubicBezTo>
                    <a:pt x="23" y="3"/>
                    <a:pt x="21" y="2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2"/>
                    <a:pt x="13" y="3"/>
                    <a:pt x="10" y="3"/>
                  </a:cubicBezTo>
                  <a:cubicBezTo>
                    <a:pt x="8" y="3"/>
                    <a:pt x="6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3" y="36"/>
                    <a:pt x="17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9" y="40"/>
                  </a:cubicBezTo>
                  <a:cubicBezTo>
                    <a:pt x="33" y="36"/>
                    <a:pt x="36" y="27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5" y="0"/>
                  </a:cubicBezTo>
                  <a:close/>
                  <a:moveTo>
                    <a:pt x="26" y="2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8"/>
                    <a:pt x="16" y="27"/>
                    <a:pt x="16" y="26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94CE4858-BDAE-4B9D-9867-7CE1F6AE9B03}"/>
              </a:ext>
            </a:extLst>
          </p:cNvPr>
          <p:cNvGrpSpPr/>
          <p:nvPr/>
        </p:nvGrpSpPr>
        <p:grpSpPr>
          <a:xfrm>
            <a:off x="5986651" y="2168665"/>
            <a:ext cx="280988" cy="293687"/>
            <a:chOff x="3468688" y="-1371600"/>
            <a:chExt cx="280988" cy="293687"/>
          </a:xfrm>
          <a:solidFill>
            <a:schemeClr val="bg1"/>
          </a:solidFill>
        </p:grpSpPr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CCA8FF03-B1D9-44E4-AA41-8A44783DD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613" y="-1371600"/>
              <a:ext cx="119063" cy="112712"/>
            </a:xfrm>
            <a:custGeom>
              <a:avLst/>
              <a:gdLst>
                <a:gd name="T0" fmla="*/ 29 w 40"/>
                <a:gd name="T1" fmla="*/ 0 h 37"/>
                <a:gd name="T2" fmla="*/ 20 w 40"/>
                <a:gd name="T3" fmla="*/ 5 h 37"/>
                <a:gd name="T4" fmla="*/ 11 w 40"/>
                <a:gd name="T5" fmla="*/ 0 h 37"/>
                <a:gd name="T6" fmla="*/ 0 w 40"/>
                <a:gd name="T7" fmla="*/ 12 h 37"/>
                <a:gd name="T8" fmla="*/ 19 w 40"/>
                <a:gd name="T9" fmla="*/ 36 h 37"/>
                <a:gd name="T10" fmla="*/ 20 w 40"/>
                <a:gd name="T11" fmla="*/ 37 h 37"/>
                <a:gd name="T12" fmla="*/ 21 w 40"/>
                <a:gd name="T13" fmla="*/ 36 h 37"/>
                <a:gd name="T14" fmla="*/ 40 w 40"/>
                <a:gd name="T15" fmla="*/ 12 h 37"/>
                <a:gd name="T16" fmla="*/ 29 w 40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7">
                  <a:moveTo>
                    <a:pt x="29" y="0"/>
                  </a:moveTo>
                  <a:cubicBezTo>
                    <a:pt x="26" y="0"/>
                    <a:pt x="22" y="2"/>
                    <a:pt x="20" y="5"/>
                  </a:cubicBezTo>
                  <a:cubicBezTo>
                    <a:pt x="18" y="2"/>
                    <a:pt x="14" y="0"/>
                    <a:pt x="11" y="0"/>
                  </a:cubicBezTo>
                  <a:cubicBezTo>
                    <a:pt x="6" y="0"/>
                    <a:pt x="0" y="4"/>
                    <a:pt x="0" y="12"/>
                  </a:cubicBezTo>
                  <a:cubicBezTo>
                    <a:pt x="0" y="22"/>
                    <a:pt x="17" y="35"/>
                    <a:pt x="19" y="36"/>
                  </a:cubicBezTo>
                  <a:cubicBezTo>
                    <a:pt x="19" y="37"/>
                    <a:pt x="20" y="37"/>
                    <a:pt x="20" y="37"/>
                  </a:cubicBezTo>
                  <a:cubicBezTo>
                    <a:pt x="20" y="37"/>
                    <a:pt x="21" y="37"/>
                    <a:pt x="21" y="36"/>
                  </a:cubicBezTo>
                  <a:cubicBezTo>
                    <a:pt x="23" y="35"/>
                    <a:pt x="40" y="22"/>
                    <a:pt x="40" y="12"/>
                  </a:cubicBezTo>
                  <a:cubicBezTo>
                    <a:pt x="40" y="4"/>
                    <a:pt x="34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Oval 30">
              <a:extLst>
                <a:ext uri="{FF2B5EF4-FFF2-40B4-BE49-F238E27FC236}">
                  <a16:creationId xmlns:a16="http://schemas.microsoft.com/office/drawing/2014/main" id="{A2016738-FF16-4EA7-9A34-5157D0837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250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232B75E0-7203-48F6-80B3-2D7E836FE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688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0801A18-DF04-499B-B023-5D06D00351BA}"/>
              </a:ext>
            </a:extLst>
          </p:cNvPr>
          <p:cNvGrpSpPr/>
          <p:nvPr/>
        </p:nvGrpSpPr>
        <p:grpSpPr>
          <a:xfrm>
            <a:off x="7055058" y="5376819"/>
            <a:ext cx="280988" cy="293687"/>
            <a:chOff x="2320926" y="-1371600"/>
            <a:chExt cx="280988" cy="293687"/>
          </a:xfrm>
          <a:solidFill>
            <a:schemeClr val="bg1"/>
          </a:solidFill>
        </p:grpSpPr>
        <p:sp>
          <p:nvSpPr>
            <p:cNvPr id="84" name="Oval 32">
              <a:extLst>
                <a:ext uri="{FF2B5EF4-FFF2-40B4-BE49-F238E27FC236}">
                  <a16:creationId xmlns:a16="http://schemas.microsoft.com/office/drawing/2014/main" id="{D5754525-E126-43E1-93BE-5A92C1D8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4738" y="-137160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33">
              <a:extLst>
                <a:ext uri="{FF2B5EF4-FFF2-40B4-BE49-F238E27FC236}">
                  <a16:creationId xmlns:a16="http://schemas.microsoft.com/office/drawing/2014/main" id="{476894FD-68BE-455D-9CE0-CC1CD3EE0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926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0F449461-0E03-4FDC-AC77-59BCF88671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0151" y="-1371600"/>
              <a:ext cx="131763" cy="115887"/>
            </a:xfrm>
            <a:custGeom>
              <a:avLst/>
              <a:gdLst>
                <a:gd name="T0" fmla="*/ 42 w 44"/>
                <a:gd name="T1" fmla="*/ 0 h 38"/>
                <a:gd name="T2" fmla="*/ 2 w 44"/>
                <a:gd name="T3" fmla="*/ 0 h 38"/>
                <a:gd name="T4" fmla="*/ 0 w 44"/>
                <a:gd name="T5" fmla="*/ 2 h 38"/>
                <a:gd name="T6" fmla="*/ 0 w 44"/>
                <a:gd name="T7" fmla="*/ 26 h 38"/>
                <a:gd name="T8" fmla="*/ 2 w 44"/>
                <a:gd name="T9" fmla="*/ 28 h 38"/>
                <a:gd name="T10" fmla="*/ 12 w 44"/>
                <a:gd name="T11" fmla="*/ 28 h 38"/>
                <a:gd name="T12" fmla="*/ 12 w 44"/>
                <a:gd name="T13" fmla="*/ 36 h 38"/>
                <a:gd name="T14" fmla="*/ 13 w 44"/>
                <a:gd name="T15" fmla="*/ 38 h 38"/>
                <a:gd name="T16" fmla="*/ 15 w 44"/>
                <a:gd name="T17" fmla="*/ 37 h 38"/>
                <a:gd name="T18" fmla="*/ 25 w 44"/>
                <a:gd name="T19" fmla="*/ 28 h 38"/>
                <a:gd name="T20" fmla="*/ 42 w 44"/>
                <a:gd name="T21" fmla="*/ 28 h 38"/>
                <a:gd name="T22" fmla="*/ 44 w 44"/>
                <a:gd name="T23" fmla="*/ 26 h 38"/>
                <a:gd name="T24" fmla="*/ 44 w 44"/>
                <a:gd name="T25" fmla="*/ 2 h 38"/>
                <a:gd name="T26" fmla="*/ 42 w 44"/>
                <a:gd name="T27" fmla="*/ 0 h 38"/>
                <a:gd name="T28" fmla="*/ 20 w 44"/>
                <a:gd name="T29" fmla="*/ 12 h 38"/>
                <a:gd name="T30" fmla="*/ 24 w 44"/>
                <a:gd name="T31" fmla="*/ 12 h 38"/>
                <a:gd name="T32" fmla="*/ 24 w 44"/>
                <a:gd name="T33" fmla="*/ 16 h 38"/>
                <a:gd name="T34" fmla="*/ 20 w 44"/>
                <a:gd name="T35" fmla="*/ 16 h 38"/>
                <a:gd name="T36" fmla="*/ 20 w 44"/>
                <a:gd name="T37" fmla="*/ 12 h 38"/>
                <a:gd name="T38" fmla="*/ 12 w 44"/>
                <a:gd name="T39" fmla="*/ 12 h 38"/>
                <a:gd name="T40" fmla="*/ 16 w 44"/>
                <a:gd name="T41" fmla="*/ 12 h 38"/>
                <a:gd name="T42" fmla="*/ 16 w 44"/>
                <a:gd name="T43" fmla="*/ 16 h 38"/>
                <a:gd name="T44" fmla="*/ 12 w 44"/>
                <a:gd name="T45" fmla="*/ 16 h 38"/>
                <a:gd name="T46" fmla="*/ 12 w 44"/>
                <a:gd name="T47" fmla="*/ 12 h 38"/>
                <a:gd name="T48" fmla="*/ 32 w 44"/>
                <a:gd name="T49" fmla="*/ 16 h 38"/>
                <a:gd name="T50" fmla="*/ 28 w 44"/>
                <a:gd name="T51" fmla="*/ 16 h 38"/>
                <a:gd name="T52" fmla="*/ 28 w 44"/>
                <a:gd name="T53" fmla="*/ 12 h 38"/>
                <a:gd name="T54" fmla="*/ 32 w 44"/>
                <a:gd name="T55" fmla="*/ 12 h 38"/>
                <a:gd name="T56" fmla="*/ 32 w 44"/>
                <a:gd name="T5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8">
                  <a:moveTo>
                    <a:pt x="4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2" y="38"/>
                    <a:pt x="13" y="38"/>
                  </a:cubicBezTo>
                  <a:cubicBezTo>
                    <a:pt x="14" y="38"/>
                    <a:pt x="15" y="38"/>
                    <a:pt x="15" y="3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8"/>
                    <a:pt x="44" y="27"/>
                    <a:pt x="44" y="26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20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12"/>
                  </a:lnTo>
                  <a:close/>
                  <a:moveTo>
                    <a:pt x="12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2" y="16"/>
                    <a:pt x="12" y="16"/>
                    <a:pt x="12" y="16"/>
                  </a:cubicBezTo>
                  <a:lnTo>
                    <a:pt x="12" y="12"/>
                  </a:lnTo>
                  <a:close/>
                  <a:moveTo>
                    <a:pt x="32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2" y="12"/>
                    <a:pt x="32" y="12"/>
                    <a:pt x="32" y="12"/>
                  </a:cubicBez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BDBEA09-3DD7-48CA-B8C7-A9A11099480B}"/>
              </a:ext>
            </a:extLst>
          </p:cNvPr>
          <p:cNvGrpSpPr/>
          <p:nvPr/>
        </p:nvGrpSpPr>
        <p:grpSpPr>
          <a:xfrm>
            <a:off x="7398748" y="3564185"/>
            <a:ext cx="280988" cy="293687"/>
            <a:chOff x="4043363" y="-1371600"/>
            <a:chExt cx="280988" cy="293687"/>
          </a:xfrm>
          <a:solidFill>
            <a:schemeClr val="bg1"/>
          </a:solidFill>
        </p:grpSpPr>
        <p:sp>
          <p:nvSpPr>
            <p:cNvPr id="87" name="Oval 35">
              <a:extLst>
                <a:ext uri="{FF2B5EF4-FFF2-40B4-BE49-F238E27FC236}">
                  <a16:creationId xmlns:a16="http://schemas.microsoft.com/office/drawing/2014/main" id="{440BEBB0-06C9-4D07-BB77-381E06E9C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7176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36">
              <a:extLst>
                <a:ext uri="{FF2B5EF4-FFF2-40B4-BE49-F238E27FC236}">
                  <a16:creationId xmlns:a16="http://schemas.microsoft.com/office/drawing/2014/main" id="{AC28EEA4-769A-4024-824E-AF8DD0003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363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37">
              <a:extLst>
                <a:ext uri="{FF2B5EF4-FFF2-40B4-BE49-F238E27FC236}">
                  <a16:creationId xmlns:a16="http://schemas.microsoft.com/office/drawing/2014/main" id="{D7BCFDAC-AE4E-4E21-B84A-8EC8A1C0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588" y="-1371600"/>
              <a:ext cx="131763" cy="98425"/>
            </a:xfrm>
            <a:custGeom>
              <a:avLst/>
              <a:gdLst>
                <a:gd name="T0" fmla="*/ 36 w 44"/>
                <a:gd name="T1" fmla="*/ 0 h 32"/>
                <a:gd name="T2" fmla="*/ 8 w 44"/>
                <a:gd name="T3" fmla="*/ 0 h 32"/>
                <a:gd name="T4" fmla="*/ 0 w 44"/>
                <a:gd name="T5" fmla="*/ 8 h 32"/>
                <a:gd name="T6" fmla="*/ 0 w 44"/>
                <a:gd name="T7" fmla="*/ 24 h 32"/>
                <a:gd name="T8" fmla="*/ 8 w 44"/>
                <a:gd name="T9" fmla="*/ 32 h 32"/>
                <a:gd name="T10" fmla="*/ 36 w 44"/>
                <a:gd name="T11" fmla="*/ 32 h 32"/>
                <a:gd name="T12" fmla="*/ 44 w 44"/>
                <a:gd name="T13" fmla="*/ 24 h 32"/>
                <a:gd name="T14" fmla="*/ 44 w 44"/>
                <a:gd name="T15" fmla="*/ 8 h 32"/>
                <a:gd name="T16" fmla="*/ 36 w 44"/>
                <a:gd name="T17" fmla="*/ 0 h 32"/>
                <a:gd name="T18" fmla="*/ 35 w 44"/>
                <a:gd name="T19" fmla="*/ 23 h 32"/>
                <a:gd name="T20" fmla="*/ 33 w 44"/>
                <a:gd name="T21" fmla="*/ 23 h 32"/>
                <a:gd name="T22" fmla="*/ 27 w 44"/>
                <a:gd name="T23" fmla="*/ 18 h 32"/>
                <a:gd name="T24" fmla="*/ 23 w 44"/>
                <a:gd name="T25" fmla="*/ 22 h 32"/>
                <a:gd name="T26" fmla="*/ 21 w 44"/>
                <a:gd name="T27" fmla="*/ 22 h 32"/>
                <a:gd name="T28" fmla="*/ 17 w 44"/>
                <a:gd name="T29" fmla="*/ 18 h 32"/>
                <a:gd name="T30" fmla="*/ 11 w 44"/>
                <a:gd name="T31" fmla="*/ 23 h 32"/>
                <a:gd name="T32" fmla="*/ 9 w 44"/>
                <a:gd name="T33" fmla="*/ 23 h 32"/>
                <a:gd name="T34" fmla="*/ 9 w 44"/>
                <a:gd name="T35" fmla="*/ 21 h 32"/>
                <a:gd name="T36" fmla="*/ 14 w 44"/>
                <a:gd name="T37" fmla="*/ 16 h 32"/>
                <a:gd name="T38" fmla="*/ 9 w 44"/>
                <a:gd name="T39" fmla="*/ 12 h 32"/>
                <a:gd name="T40" fmla="*/ 8 w 44"/>
                <a:gd name="T41" fmla="*/ 9 h 32"/>
                <a:gd name="T42" fmla="*/ 11 w 44"/>
                <a:gd name="T43" fmla="*/ 8 h 32"/>
                <a:gd name="T44" fmla="*/ 22 w 44"/>
                <a:gd name="T45" fmla="*/ 17 h 32"/>
                <a:gd name="T46" fmla="*/ 33 w 44"/>
                <a:gd name="T47" fmla="*/ 8 h 32"/>
                <a:gd name="T48" fmla="*/ 36 w 44"/>
                <a:gd name="T49" fmla="*/ 9 h 32"/>
                <a:gd name="T50" fmla="*/ 35 w 44"/>
                <a:gd name="T51" fmla="*/ 12 h 32"/>
                <a:gd name="T52" fmla="*/ 30 w 44"/>
                <a:gd name="T53" fmla="*/ 16 h 32"/>
                <a:gd name="T54" fmla="*/ 35 w 44"/>
                <a:gd name="T55" fmla="*/ 21 h 32"/>
                <a:gd name="T56" fmla="*/ 35 w 44"/>
                <a:gd name="T57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2">
                  <a:moveTo>
                    <a:pt x="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4" y="28"/>
                    <a:pt x="44" y="24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4"/>
                    <a:pt x="40" y="0"/>
                    <a:pt x="36" y="0"/>
                  </a:cubicBezTo>
                  <a:close/>
                  <a:moveTo>
                    <a:pt x="35" y="23"/>
                  </a:moveTo>
                  <a:cubicBezTo>
                    <a:pt x="35" y="24"/>
                    <a:pt x="33" y="24"/>
                    <a:pt x="33" y="23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1" y="22"/>
                    <a:pt x="21" y="22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4"/>
                    <a:pt x="9" y="24"/>
                    <a:pt x="9" y="23"/>
                  </a:cubicBezTo>
                  <a:cubicBezTo>
                    <a:pt x="8" y="23"/>
                    <a:pt x="8" y="21"/>
                    <a:pt x="9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5" y="8"/>
                    <a:pt x="36" y="9"/>
                  </a:cubicBezTo>
                  <a:cubicBezTo>
                    <a:pt x="36" y="10"/>
                    <a:pt x="36" y="11"/>
                    <a:pt x="35" y="12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3"/>
                    <a:pt x="3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9C7ECB0D-F189-4561-97E3-AB61E0E609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947" b="50859"/>
          <a:stretch/>
        </p:blipFill>
        <p:spPr>
          <a:xfrm>
            <a:off x="9176856" y="5482897"/>
            <a:ext cx="3015144" cy="1375103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963BF6C5-1B23-45AE-8EE0-DDFFCADC7D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667" t="30249" r="5313" b="1"/>
          <a:stretch/>
        </p:blipFill>
        <p:spPr>
          <a:xfrm>
            <a:off x="0" y="-2"/>
            <a:ext cx="2724858" cy="19518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E04250-9687-60EC-3149-0F89A983A06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14327">
            <a:off x="7886378" y="2143880"/>
            <a:ext cx="1689974" cy="1733996"/>
          </a:xfrm>
          <a:prstGeom prst="rect">
            <a:avLst/>
          </a:prstGeom>
        </p:spPr>
      </p:pic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1506096-E2AE-340D-87FF-BEDDBBF9F7CB}"/>
              </a:ext>
            </a:extLst>
          </p:cNvPr>
          <p:cNvSpPr/>
          <p:nvPr/>
        </p:nvSpPr>
        <p:spPr>
          <a:xfrm rot="16200000">
            <a:off x="9528483" y="2754604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386270-D858-0238-EB7D-C9321DF28F62}"/>
              </a:ext>
            </a:extLst>
          </p:cNvPr>
          <p:cNvSpPr txBox="1"/>
          <p:nvPr/>
        </p:nvSpPr>
        <p:spPr>
          <a:xfrm>
            <a:off x="8122556" y="5413122"/>
            <a:ext cx="18414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ể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ị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8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6" grpId="0"/>
      <p:bldP spid="38" grpId="0"/>
      <p:bldP spid="40" grpId="0"/>
      <p:bldP spid="42" grpId="0"/>
      <p:bldP spid="44" grpId="0"/>
      <p:bldP spid="46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BỘ KHUẾCH ĐẠI VÀ BỘ KHUẾCH ĐẠI THUẬT TOÁ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pic>
        <p:nvPicPr>
          <p:cNvPr id="30" name="Content Placeholder 29">
            <a:extLst>
              <a:ext uri="{FF2B5EF4-FFF2-40B4-BE49-F238E27FC236}">
                <a16:creationId xmlns:a16="http://schemas.microsoft.com/office/drawing/2014/main" id="{E9C4F01B-9308-307B-D2E2-562AAACA0E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57437" y="2296759"/>
            <a:ext cx="4548910" cy="1524000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1379095"/>
            <a:ext cx="11932170" cy="5126636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75866" y="1819504"/>
            <a:ext cx="6730582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dirty="0"/>
              <a:t>KN: </a:t>
            </a: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kế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làm</a:t>
            </a:r>
            <a:r>
              <a:rPr lang="en-US" sz="2300" dirty="0"/>
              <a:t> </a:t>
            </a:r>
            <a:r>
              <a:rPr lang="en-US" sz="2300" dirty="0" err="1"/>
              <a:t>tăng</a:t>
            </a:r>
            <a:r>
              <a:rPr lang="en-US" sz="2300" dirty="0"/>
              <a:t> </a:t>
            </a:r>
            <a:r>
              <a:rPr lang="en-US" sz="2300" dirty="0" err="1"/>
              <a:t>cường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lên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lần</a:t>
            </a:r>
            <a:endParaRPr lang="en-US" sz="2300" dirty="0"/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í</a:t>
            </a:r>
            <a:r>
              <a:rPr lang="en-US" sz="2300" dirty="0"/>
              <a:t> </a:t>
            </a:r>
            <a:r>
              <a:rPr lang="en-US" sz="2300" dirty="0" err="1"/>
              <a:t>tưởng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,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ầu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</a:t>
            </a:r>
            <a:r>
              <a:rPr lang="en-US" sz="2300" dirty="0" err="1"/>
              <a:t>không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méo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Cấu</a:t>
            </a:r>
            <a:r>
              <a:rPr lang="en-US" sz="2300" dirty="0"/>
              <a:t> </a:t>
            </a:r>
            <a:r>
              <a:rPr lang="en-US" sz="2300" dirty="0" err="1"/>
              <a:t>tạo</a:t>
            </a:r>
            <a:r>
              <a:rPr lang="en-US" sz="2300" dirty="0"/>
              <a:t>: transistor,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trở</a:t>
            </a:r>
            <a:r>
              <a:rPr lang="en-US" sz="2300" dirty="0"/>
              <a:t>, </a:t>
            </a:r>
            <a:r>
              <a:rPr lang="en-US" sz="2300" dirty="0" err="1"/>
              <a:t>tụ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,… </a:t>
            </a:r>
            <a:r>
              <a:rPr lang="en-US" sz="2300" dirty="0" err="1"/>
              <a:t>tích</a:t>
            </a:r>
            <a:r>
              <a:rPr lang="en-US" sz="2300" dirty="0"/>
              <a:t> </a:t>
            </a:r>
            <a:r>
              <a:rPr lang="en-US" sz="2300" dirty="0" err="1"/>
              <a:t>hợp</a:t>
            </a:r>
            <a:r>
              <a:rPr lang="en-US" sz="2300" dirty="0"/>
              <a:t> </a:t>
            </a:r>
            <a:r>
              <a:rPr lang="en-US" sz="2300" dirty="0" err="1"/>
              <a:t>trên</a:t>
            </a:r>
            <a:r>
              <a:rPr lang="en-US" sz="2300" dirty="0"/>
              <a:t> </a:t>
            </a:r>
            <a:r>
              <a:rPr lang="en-US" sz="2300" dirty="0" err="1"/>
              <a:t>một</a:t>
            </a:r>
            <a:r>
              <a:rPr lang="en-US" sz="2300" dirty="0"/>
              <a:t> </a:t>
            </a:r>
            <a:r>
              <a:rPr lang="en-US" sz="2300" dirty="0" err="1"/>
              <a:t>bản</a:t>
            </a:r>
            <a:r>
              <a:rPr lang="en-US" sz="2300" dirty="0"/>
              <a:t> </a:t>
            </a:r>
            <a:r>
              <a:rPr lang="en-US" sz="2300" dirty="0" err="1"/>
              <a:t>mạch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ân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(</a:t>
            </a:r>
            <a:r>
              <a:rPr lang="en-US" sz="2300" dirty="0" err="1"/>
              <a:t>gọi</a:t>
            </a:r>
            <a:r>
              <a:rPr lang="en-US" sz="2300" dirty="0"/>
              <a:t> </a:t>
            </a:r>
            <a:r>
              <a:rPr lang="en-US" sz="2300" dirty="0" err="1"/>
              <a:t>là</a:t>
            </a:r>
            <a:r>
              <a:rPr lang="en-US" sz="2300" dirty="0"/>
              <a:t> IC)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ùy</a:t>
            </a:r>
            <a:r>
              <a:rPr lang="en-US" sz="2300" dirty="0"/>
              <a:t> </a:t>
            </a:r>
            <a:r>
              <a:rPr lang="en-US" sz="2300" dirty="0" err="1"/>
              <a:t>chỉnh</a:t>
            </a:r>
            <a:r>
              <a:rPr lang="en-US" sz="2300" dirty="0"/>
              <a:t>, </a:t>
            </a:r>
            <a:r>
              <a:rPr lang="en-US" sz="2300" dirty="0" err="1"/>
              <a:t>thực</a:t>
            </a:r>
            <a:r>
              <a:rPr lang="en-US" sz="2300" dirty="0"/>
              <a:t> </a:t>
            </a:r>
            <a:r>
              <a:rPr lang="en-US" sz="2300" dirty="0" err="1"/>
              <a:t>hiệ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ế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sử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nhỏ</a:t>
            </a:r>
            <a:r>
              <a:rPr lang="en-US" sz="2300" dirty="0"/>
              <a:t> </a:t>
            </a:r>
            <a:r>
              <a:rPr lang="en-US" sz="2300" dirty="0" err="1"/>
              <a:t>từ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cảm</a:t>
            </a:r>
            <a:r>
              <a:rPr lang="en-US" sz="2300" dirty="0"/>
              <a:t> </a:t>
            </a:r>
            <a:r>
              <a:rPr lang="en-US" sz="2300" dirty="0" err="1"/>
              <a:t>biến</a:t>
            </a:r>
            <a:r>
              <a:rPr lang="en-US" sz="2300" dirty="0"/>
              <a:t> </a:t>
            </a:r>
            <a:r>
              <a:rPr lang="en-US" sz="2300" dirty="0" err="1"/>
              <a:t>trước</a:t>
            </a:r>
            <a:r>
              <a:rPr lang="en-US" sz="2300" dirty="0"/>
              <a:t> </a:t>
            </a:r>
            <a:r>
              <a:rPr lang="en-US" sz="2300" dirty="0" err="1"/>
              <a:t>khi</a:t>
            </a:r>
            <a:r>
              <a:rPr lang="en-US" sz="2300" dirty="0"/>
              <a:t> </a:t>
            </a:r>
            <a:r>
              <a:rPr lang="en-US" sz="2300" dirty="0" err="1"/>
              <a:t>đưa</a:t>
            </a:r>
            <a:r>
              <a:rPr lang="en-US" sz="2300" dirty="0"/>
              <a:t> </a:t>
            </a:r>
            <a:r>
              <a:rPr lang="en-US" sz="2300" dirty="0" err="1"/>
              <a:t>tới</a:t>
            </a:r>
            <a:r>
              <a:rPr lang="en-US" sz="2300" dirty="0"/>
              <a:t> </a:t>
            </a:r>
            <a:r>
              <a:rPr lang="en-US" sz="2300" dirty="0" err="1"/>
              <a:t>tầng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iếp</a:t>
            </a:r>
            <a:r>
              <a:rPr lang="en-US" sz="2300" dirty="0"/>
              <a:t> </a:t>
            </a:r>
            <a:r>
              <a:rPr lang="en-US" sz="2300" dirty="0" err="1"/>
              <a:t>theo</a:t>
            </a:r>
            <a:r>
              <a:rPr lang="en-US" sz="2300" dirty="0"/>
              <a:t>,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ứng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trong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máy</a:t>
            </a:r>
            <a:r>
              <a:rPr lang="en-US" sz="2300" dirty="0"/>
              <a:t> </a:t>
            </a:r>
            <a:r>
              <a:rPr lang="en-US" sz="2300" dirty="0" err="1"/>
              <a:t>tính</a:t>
            </a:r>
            <a:r>
              <a:rPr lang="en-US" sz="2300" dirty="0"/>
              <a:t> </a:t>
            </a:r>
            <a:r>
              <a:rPr lang="en-US" sz="2300" dirty="0" err="1"/>
              <a:t>và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tự</a:t>
            </a:r>
            <a:r>
              <a:rPr lang="en-US" sz="2300" dirty="0"/>
              <a:t> </a:t>
            </a:r>
            <a:r>
              <a:rPr lang="en-US" sz="2300" dirty="0" err="1"/>
              <a:t>động</a:t>
            </a:r>
            <a:r>
              <a:rPr lang="en-US" sz="2300" dirty="0"/>
              <a:t> </a:t>
            </a:r>
            <a:r>
              <a:rPr lang="en-US" sz="2300" dirty="0" err="1"/>
              <a:t>hóa</a:t>
            </a:r>
            <a:endParaRPr lang="en-US" sz="23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7AEBB-A98F-88A2-40E3-386A0A50D953}"/>
              </a:ext>
            </a:extLst>
          </p:cNvPr>
          <p:cNvSpPr txBox="1"/>
          <p:nvPr/>
        </p:nvSpPr>
        <p:spPr>
          <a:xfrm>
            <a:off x="7884826" y="3820759"/>
            <a:ext cx="3731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Tí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iệ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áp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rướ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và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sa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ượ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endParaRPr lang="en-US" dirty="0">
              <a:solidFill>
                <a:srgbClr val="3333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B4129D-DA16-673F-D58B-371DD94399C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63025" y="4553614"/>
            <a:ext cx="1821254" cy="182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783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0A934-1480-2953-E378-B6D423A14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Kí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bộ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huật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oán</a:t>
            </a:r>
            <a:endParaRPr lang="en-US" dirty="0">
              <a:solidFill>
                <a:srgbClr val="3333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753072-33FE-BC02-52EC-182B7F7768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370" y="2242748"/>
            <a:ext cx="5427689" cy="2629055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+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-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+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dương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-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âm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ra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ra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C93321-249C-75B8-E053-B589FACD0CB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98776" y="2110443"/>
            <a:ext cx="5063540" cy="26371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139AFB-B608-7A8D-5F2A-3AA49B746217}"/>
              </a:ext>
            </a:extLst>
          </p:cNvPr>
          <p:cNvSpPr txBox="1"/>
          <p:nvPr/>
        </p:nvSpPr>
        <p:spPr>
          <a:xfrm>
            <a:off x="432864" y="5659700"/>
            <a:ext cx="11326271" cy="1077218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</a:rPr>
              <a:t>Hầu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ế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bộ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khuếch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ạ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huậ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oá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oạ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ộng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vớ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nguồ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iệ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áp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mộ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chiều</a:t>
            </a:r>
            <a:endParaRPr lang="en-US" sz="3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DFE1E6-5067-B8F8-4261-01BDF58E75AD}"/>
              </a:ext>
            </a:extLst>
          </p:cNvPr>
          <p:cNvGrpSpPr/>
          <p:nvPr/>
        </p:nvGrpSpPr>
        <p:grpSpPr>
          <a:xfrm>
            <a:off x="8677469" y="2497476"/>
            <a:ext cx="3747893" cy="2424222"/>
            <a:chOff x="8677469" y="2497476"/>
            <a:chExt cx="3747893" cy="242422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A9B7557-108D-91D5-A7D7-4ACD8F80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780106" y="2497476"/>
              <a:ext cx="3645256" cy="188595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B97D304-4E07-6313-8F8B-7DEAA567568B}"/>
                </a:ext>
              </a:extLst>
            </p:cNvPr>
            <p:cNvSpPr txBox="1"/>
            <p:nvPr/>
          </p:nvSpPr>
          <p:spPr>
            <a:xfrm>
              <a:off x="8677469" y="4460033"/>
              <a:ext cx="32377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/>
                <a:t>Kí</a:t>
              </a:r>
              <a:r>
                <a:rPr lang="en-US" sz="2400" dirty="0"/>
                <a:t> </a:t>
              </a:r>
              <a:r>
                <a:rPr lang="en-US" sz="2400" dirty="0" err="1"/>
                <a:t>hiệu</a:t>
              </a:r>
              <a:r>
                <a:rPr lang="en-US" sz="2400" dirty="0"/>
                <a:t> </a:t>
              </a:r>
              <a:r>
                <a:rPr lang="en-US" sz="2400" dirty="0" err="1"/>
                <a:t>rút</a:t>
              </a:r>
              <a:r>
                <a:rPr lang="en-US" sz="2400" dirty="0"/>
                <a:t> </a:t>
              </a:r>
              <a:r>
                <a:rPr lang="en-US" sz="2400" dirty="0" err="1"/>
                <a:t>gọn</a:t>
              </a: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77678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74F76CD9-6EE5-4E2D-8B6B-CF260F4EBB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38" t="8299" r="22730" b="4927"/>
          <a:stretch/>
        </p:blipFill>
        <p:spPr>
          <a:xfrm>
            <a:off x="0" y="0"/>
            <a:ext cx="12192000" cy="6858001"/>
          </a:xfrm>
          <a:custGeom>
            <a:avLst/>
            <a:gdLst>
              <a:gd name="connsiteX0" fmla="*/ 0 w 12192000"/>
              <a:gd name="connsiteY0" fmla="*/ 0 h 1696825"/>
              <a:gd name="connsiteX1" fmla="*/ 12192000 w 12192000"/>
              <a:gd name="connsiteY1" fmla="*/ 0 h 1696825"/>
              <a:gd name="connsiteX2" fmla="*/ 12192000 w 12192000"/>
              <a:gd name="connsiteY2" fmla="*/ 1696825 h 1696825"/>
              <a:gd name="connsiteX3" fmla="*/ 0 w 12192000"/>
              <a:gd name="connsiteY3" fmla="*/ 1696825 h 169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696825">
                <a:moveTo>
                  <a:pt x="0" y="0"/>
                </a:moveTo>
                <a:lnTo>
                  <a:pt x="12192000" y="0"/>
                </a:lnTo>
                <a:lnTo>
                  <a:pt x="12192000" y="1696825"/>
                </a:lnTo>
                <a:lnTo>
                  <a:pt x="0" y="1696825"/>
                </a:lnTo>
                <a:close/>
              </a:path>
            </a:pathLst>
          </a:cu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F2AEC6D0-F435-4E8B-BC73-A8F22BD73162}"/>
              </a:ext>
            </a:extLst>
          </p:cNvPr>
          <p:cNvSpPr/>
          <p:nvPr/>
        </p:nvSpPr>
        <p:spPr>
          <a:xfrm>
            <a:off x="-12793" y="96864"/>
            <a:ext cx="12155487" cy="6858001"/>
          </a:xfrm>
          <a:prstGeom prst="rect">
            <a:avLst/>
          </a:prstGeom>
          <a:gradFill>
            <a:gsLst>
              <a:gs pos="95000">
                <a:srgbClr val="FFFFFF">
                  <a:alpha val="87000"/>
                </a:srgbClr>
              </a:gs>
              <a:gs pos="28000">
                <a:srgbClr val="FFFFFF"/>
              </a:gs>
              <a:gs pos="3000">
                <a:schemeClr val="bg1">
                  <a:alpha val="2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Arrow: Pentagon 1046">
            <a:extLst>
              <a:ext uri="{FF2B5EF4-FFF2-40B4-BE49-F238E27FC236}">
                <a16:creationId xmlns:a16="http://schemas.microsoft.com/office/drawing/2014/main" id="{4A4A1AD2-DD50-4ACF-B23F-0A659B4BEBF2}"/>
              </a:ext>
            </a:extLst>
          </p:cNvPr>
          <p:cNvSpPr/>
          <p:nvPr/>
        </p:nvSpPr>
        <p:spPr>
          <a:xfrm rot="10800000">
            <a:off x="8876875" y="0"/>
            <a:ext cx="3315124" cy="6858000"/>
          </a:xfrm>
          <a:prstGeom prst="homePlate">
            <a:avLst>
              <a:gd name="adj" fmla="val 7797"/>
            </a:avLst>
          </a:prstGeom>
          <a:gradFill>
            <a:gsLst>
              <a:gs pos="7000">
                <a:srgbClr val="683A1E"/>
              </a:gs>
              <a:gs pos="100000">
                <a:srgbClr val="894C2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A5376111-DFB5-4F6D-AC3F-335EF296A32F}"/>
              </a:ext>
            </a:extLst>
          </p:cNvPr>
          <p:cNvSpPr>
            <a:spLocks/>
          </p:cNvSpPr>
          <p:nvPr/>
        </p:nvSpPr>
        <p:spPr bwMode="auto">
          <a:xfrm rot="16200000">
            <a:off x="5174834" y="1439055"/>
            <a:ext cx="3855650" cy="3966499"/>
          </a:xfrm>
          <a:custGeom>
            <a:avLst/>
            <a:gdLst>
              <a:gd name="connsiteX0" fmla="*/ 3855197 w 3855650"/>
              <a:gd name="connsiteY0" fmla="*/ 1827868 h 3966499"/>
              <a:gd name="connsiteX1" fmla="*/ 3816045 w 3855650"/>
              <a:gd name="connsiteY1" fmla="*/ 1881210 h 3966499"/>
              <a:gd name="connsiteX2" fmla="*/ 3534858 w 3855650"/>
              <a:gd name="connsiteY2" fmla="*/ 1941665 h 3966499"/>
              <a:gd name="connsiteX3" fmla="*/ 3221638 w 3855650"/>
              <a:gd name="connsiteY3" fmla="*/ 2051906 h 3966499"/>
              <a:gd name="connsiteX4" fmla="*/ 2655705 w 3855650"/>
              <a:gd name="connsiteY4" fmla="*/ 2389740 h 3966499"/>
              <a:gd name="connsiteX5" fmla="*/ 2228587 w 3855650"/>
              <a:gd name="connsiteY5" fmla="*/ 2880491 h 3966499"/>
              <a:gd name="connsiteX6" fmla="*/ 2086214 w 3855650"/>
              <a:gd name="connsiteY6" fmla="*/ 3168540 h 3966499"/>
              <a:gd name="connsiteX7" fmla="*/ 2036384 w 3855650"/>
              <a:gd name="connsiteY7" fmla="*/ 3321455 h 3966499"/>
              <a:gd name="connsiteX8" fmla="*/ 2018587 w 3855650"/>
              <a:gd name="connsiteY8" fmla="*/ 3424584 h 3966499"/>
              <a:gd name="connsiteX9" fmla="*/ 2023213 w 3855650"/>
              <a:gd name="connsiteY9" fmla="*/ 3874105 h 3966499"/>
              <a:gd name="connsiteX10" fmla="*/ 2024164 w 3855650"/>
              <a:gd name="connsiteY10" fmla="*/ 3966499 h 3966499"/>
              <a:gd name="connsiteX11" fmla="*/ 1827925 w 3855650"/>
              <a:gd name="connsiteY11" fmla="*/ 3966499 h 3966499"/>
              <a:gd name="connsiteX12" fmla="*/ 1828803 w 3855650"/>
              <a:gd name="connsiteY12" fmla="*/ 3881197 h 3966499"/>
              <a:gd name="connsiteX13" fmla="*/ 1833502 w 3855650"/>
              <a:gd name="connsiteY13" fmla="*/ 3424584 h 3966499"/>
              <a:gd name="connsiteX14" fmla="*/ 1815706 w 3855650"/>
              <a:gd name="connsiteY14" fmla="*/ 3321455 h 3966499"/>
              <a:gd name="connsiteX15" fmla="*/ 1769435 w 3855650"/>
              <a:gd name="connsiteY15" fmla="*/ 3168540 h 3966499"/>
              <a:gd name="connsiteX16" fmla="*/ 1627062 w 3855650"/>
              <a:gd name="connsiteY16" fmla="*/ 2880491 h 3966499"/>
              <a:gd name="connsiteX17" fmla="*/ 1199944 w 3855650"/>
              <a:gd name="connsiteY17" fmla="*/ 2389740 h 3966499"/>
              <a:gd name="connsiteX18" fmla="*/ 634013 w 3855650"/>
              <a:gd name="connsiteY18" fmla="*/ 2051905 h 3966499"/>
              <a:gd name="connsiteX19" fmla="*/ 320792 w 3855650"/>
              <a:gd name="connsiteY19" fmla="*/ 1941664 h 3966499"/>
              <a:gd name="connsiteX20" fmla="*/ 39606 w 3855650"/>
              <a:gd name="connsiteY20" fmla="*/ 1881209 h 3966499"/>
              <a:gd name="connsiteX21" fmla="*/ 454 w 3855650"/>
              <a:gd name="connsiteY21" fmla="*/ 1827867 h 3966499"/>
              <a:gd name="connsiteX22" fmla="*/ 53843 w 3855650"/>
              <a:gd name="connsiteY22" fmla="*/ 1785193 h 3966499"/>
              <a:gd name="connsiteX23" fmla="*/ 345708 w 3855650"/>
              <a:gd name="connsiteY23" fmla="*/ 1842091 h 3966499"/>
              <a:gd name="connsiteX24" fmla="*/ 676724 w 3855650"/>
              <a:gd name="connsiteY24" fmla="*/ 1941664 h 3966499"/>
              <a:gd name="connsiteX25" fmla="*/ 1285367 w 3855650"/>
              <a:gd name="connsiteY25" fmla="*/ 2279499 h 3966499"/>
              <a:gd name="connsiteX26" fmla="*/ 1762316 w 3855650"/>
              <a:gd name="connsiteY26" fmla="*/ 2795143 h 3966499"/>
              <a:gd name="connsiteX27" fmla="*/ 1840621 w 3855650"/>
              <a:gd name="connsiteY27" fmla="*/ 2926721 h 3966499"/>
              <a:gd name="connsiteX28" fmla="*/ 1844180 w 3855650"/>
              <a:gd name="connsiteY28" fmla="*/ 2499982 h 3966499"/>
              <a:gd name="connsiteX29" fmla="*/ 1783673 w 3855650"/>
              <a:gd name="connsiteY29" fmla="*/ 2083910 h 3966499"/>
              <a:gd name="connsiteX30" fmla="*/ 1698249 w 3855650"/>
              <a:gd name="connsiteY30" fmla="*/ 1849204 h 3966499"/>
              <a:gd name="connsiteX31" fmla="*/ 1577232 w 3855650"/>
              <a:gd name="connsiteY31" fmla="*/ 1628722 h 3966499"/>
              <a:gd name="connsiteX32" fmla="*/ 1249775 w 3855650"/>
              <a:gd name="connsiteY32" fmla="*/ 1244656 h 3966499"/>
              <a:gd name="connsiteX33" fmla="*/ 1050453 w 3855650"/>
              <a:gd name="connsiteY33" fmla="*/ 1088185 h 3966499"/>
              <a:gd name="connsiteX34" fmla="*/ 947233 w 3855650"/>
              <a:gd name="connsiteY34" fmla="*/ 1020618 h 3966499"/>
              <a:gd name="connsiteX35" fmla="*/ 890284 w 3855650"/>
              <a:gd name="connsiteY35" fmla="*/ 988612 h 3966499"/>
              <a:gd name="connsiteX36" fmla="*/ 876046 w 3855650"/>
              <a:gd name="connsiteY36" fmla="*/ 981500 h 3966499"/>
              <a:gd name="connsiteX37" fmla="*/ 854690 w 3855650"/>
              <a:gd name="connsiteY37" fmla="*/ 917489 h 3966499"/>
              <a:gd name="connsiteX38" fmla="*/ 861809 w 3855650"/>
              <a:gd name="connsiteY38" fmla="*/ 903264 h 3966499"/>
              <a:gd name="connsiteX39" fmla="*/ 925877 w 3855650"/>
              <a:gd name="connsiteY39" fmla="*/ 878371 h 3966499"/>
              <a:gd name="connsiteX40" fmla="*/ 943673 w 3855650"/>
              <a:gd name="connsiteY40" fmla="*/ 889040 h 3966499"/>
              <a:gd name="connsiteX41" fmla="*/ 1004182 w 3855650"/>
              <a:gd name="connsiteY41" fmla="*/ 921045 h 3966499"/>
              <a:gd name="connsiteX42" fmla="*/ 1118080 w 3855650"/>
              <a:gd name="connsiteY42" fmla="*/ 992168 h 3966499"/>
              <a:gd name="connsiteX43" fmla="*/ 1331639 w 3855650"/>
              <a:gd name="connsiteY43" fmla="*/ 1152196 h 3966499"/>
              <a:gd name="connsiteX44" fmla="*/ 1691131 w 3855650"/>
              <a:gd name="connsiteY44" fmla="*/ 1550486 h 3966499"/>
              <a:gd name="connsiteX45" fmla="*/ 1829944 w 3855650"/>
              <a:gd name="connsiteY45" fmla="*/ 1785193 h 3966499"/>
              <a:gd name="connsiteX46" fmla="*/ 1851300 w 3855650"/>
              <a:gd name="connsiteY46" fmla="*/ 1838535 h 3966499"/>
              <a:gd name="connsiteX47" fmla="*/ 1869097 w 3855650"/>
              <a:gd name="connsiteY47" fmla="*/ 46230 h 3966499"/>
              <a:gd name="connsiteX48" fmla="*/ 1918927 w 3855650"/>
              <a:gd name="connsiteY48" fmla="*/ 0 h 3966499"/>
              <a:gd name="connsiteX49" fmla="*/ 1936724 w 3855650"/>
              <a:gd name="connsiteY49" fmla="*/ 0 h 3966499"/>
              <a:gd name="connsiteX50" fmla="*/ 1982995 w 3855650"/>
              <a:gd name="connsiteY50" fmla="*/ 46230 h 3966499"/>
              <a:gd name="connsiteX51" fmla="*/ 2004351 w 3855650"/>
              <a:gd name="connsiteY51" fmla="*/ 1838535 h 3966499"/>
              <a:gd name="connsiteX52" fmla="*/ 2025707 w 3855650"/>
              <a:gd name="connsiteY52" fmla="*/ 1785193 h 3966499"/>
              <a:gd name="connsiteX53" fmla="*/ 2160961 w 3855650"/>
              <a:gd name="connsiteY53" fmla="*/ 1550486 h 3966499"/>
              <a:gd name="connsiteX54" fmla="*/ 2520452 w 3855650"/>
              <a:gd name="connsiteY54" fmla="*/ 1152196 h 3966499"/>
              <a:gd name="connsiteX55" fmla="*/ 2737571 w 3855650"/>
              <a:gd name="connsiteY55" fmla="*/ 992168 h 3966499"/>
              <a:gd name="connsiteX56" fmla="*/ 2851469 w 3855650"/>
              <a:gd name="connsiteY56" fmla="*/ 921045 h 3966499"/>
              <a:gd name="connsiteX57" fmla="*/ 2908418 w 3855650"/>
              <a:gd name="connsiteY57" fmla="*/ 889041 h 3966499"/>
              <a:gd name="connsiteX58" fmla="*/ 2926215 w 3855650"/>
              <a:gd name="connsiteY58" fmla="*/ 878372 h 3966499"/>
              <a:gd name="connsiteX59" fmla="*/ 2993842 w 3855650"/>
              <a:gd name="connsiteY59" fmla="*/ 903265 h 3966499"/>
              <a:gd name="connsiteX60" fmla="*/ 2997401 w 3855650"/>
              <a:gd name="connsiteY60" fmla="*/ 917490 h 3966499"/>
              <a:gd name="connsiteX61" fmla="*/ 2976045 w 3855650"/>
              <a:gd name="connsiteY61" fmla="*/ 981501 h 3966499"/>
              <a:gd name="connsiteX62" fmla="*/ 2961808 w 3855650"/>
              <a:gd name="connsiteY62" fmla="*/ 988613 h 3966499"/>
              <a:gd name="connsiteX63" fmla="*/ 2908418 w 3855650"/>
              <a:gd name="connsiteY63" fmla="*/ 1020619 h 3966499"/>
              <a:gd name="connsiteX64" fmla="*/ 2801638 w 3855650"/>
              <a:gd name="connsiteY64" fmla="*/ 1088185 h 3966499"/>
              <a:gd name="connsiteX65" fmla="*/ 2602316 w 3855650"/>
              <a:gd name="connsiteY65" fmla="*/ 1244656 h 3966499"/>
              <a:gd name="connsiteX66" fmla="*/ 2274859 w 3855650"/>
              <a:gd name="connsiteY66" fmla="*/ 1628722 h 3966499"/>
              <a:gd name="connsiteX67" fmla="*/ 2157402 w 3855650"/>
              <a:gd name="connsiteY67" fmla="*/ 1849204 h 3966499"/>
              <a:gd name="connsiteX68" fmla="*/ 2071978 w 3855650"/>
              <a:gd name="connsiteY68" fmla="*/ 2083910 h 3966499"/>
              <a:gd name="connsiteX69" fmla="*/ 2011468 w 3855650"/>
              <a:gd name="connsiteY69" fmla="*/ 2499982 h 3966499"/>
              <a:gd name="connsiteX70" fmla="*/ 2015028 w 3855650"/>
              <a:gd name="connsiteY70" fmla="*/ 2926721 h 3966499"/>
              <a:gd name="connsiteX71" fmla="*/ 2093333 w 3855650"/>
              <a:gd name="connsiteY71" fmla="*/ 2795143 h 3966499"/>
              <a:gd name="connsiteX72" fmla="*/ 2570282 w 3855650"/>
              <a:gd name="connsiteY72" fmla="*/ 2279499 h 3966499"/>
              <a:gd name="connsiteX73" fmla="*/ 3178926 w 3855650"/>
              <a:gd name="connsiteY73" fmla="*/ 1941665 h 3966499"/>
              <a:gd name="connsiteX74" fmla="*/ 3506384 w 3855650"/>
              <a:gd name="connsiteY74" fmla="*/ 1842092 h 3966499"/>
              <a:gd name="connsiteX75" fmla="*/ 3798248 w 3855650"/>
              <a:gd name="connsiteY75" fmla="*/ 1785194 h 3966499"/>
              <a:gd name="connsiteX76" fmla="*/ 3855197 w 3855650"/>
              <a:gd name="connsiteY76" fmla="*/ 1827868 h 396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855650" h="3966499">
                <a:moveTo>
                  <a:pt x="3855197" y="1827868"/>
                </a:moveTo>
                <a:cubicBezTo>
                  <a:pt x="3858756" y="1852761"/>
                  <a:pt x="3840960" y="1874098"/>
                  <a:pt x="3816045" y="1881210"/>
                </a:cubicBezTo>
                <a:cubicBezTo>
                  <a:pt x="3719943" y="1898991"/>
                  <a:pt x="3627401" y="1916772"/>
                  <a:pt x="3534858" y="1941665"/>
                </a:cubicBezTo>
                <a:cubicBezTo>
                  <a:pt x="3428079" y="1973670"/>
                  <a:pt x="3321299" y="2009232"/>
                  <a:pt x="3221638" y="2051906"/>
                </a:cubicBezTo>
                <a:cubicBezTo>
                  <a:pt x="3015198" y="2137254"/>
                  <a:pt x="2822994" y="2247494"/>
                  <a:pt x="2655705" y="2389740"/>
                </a:cubicBezTo>
                <a:cubicBezTo>
                  <a:pt x="2488417" y="2528431"/>
                  <a:pt x="2342485" y="2692014"/>
                  <a:pt x="2228587" y="2880491"/>
                </a:cubicBezTo>
                <a:cubicBezTo>
                  <a:pt x="2171638" y="2972951"/>
                  <a:pt x="2121807" y="3068968"/>
                  <a:pt x="2086214" y="3168540"/>
                </a:cubicBezTo>
                <a:cubicBezTo>
                  <a:pt x="2064858" y="3218327"/>
                  <a:pt x="2050621" y="3268113"/>
                  <a:pt x="2036384" y="3321455"/>
                </a:cubicBezTo>
                <a:cubicBezTo>
                  <a:pt x="2029265" y="3353461"/>
                  <a:pt x="2022146" y="3389022"/>
                  <a:pt x="2018587" y="3424584"/>
                </a:cubicBezTo>
                <a:cubicBezTo>
                  <a:pt x="2018587" y="3424584"/>
                  <a:pt x="2018587" y="3424584"/>
                  <a:pt x="2023213" y="3874105"/>
                </a:cubicBezTo>
                <a:lnTo>
                  <a:pt x="2024164" y="3966499"/>
                </a:lnTo>
                <a:lnTo>
                  <a:pt x="1827925" y="3966499"/>
                </a:lnTo>
                <a:lnTo>
                  <a:pt x="1828803" y="3881197"/>
                </a:lnTo>
                <a:cubicBezTo>
                  <a:pt x="1830166" y="3748806"/>
                  <a:pt x="1831723" y="3597503"/>
                  <a:pt x="1833502" y="3424584"/>
                </a:cubicBezTo>
                <a:cubicBezTo>
                  <a:pt x="1829943" y="3389022"/>
                  <a:pt x="1826384" y="3353461"/>
                  <a:pt x="1815706" y="3321455"/>
                </a:cubicBezTo>
                <a:cubicBezTo>
                  <a:pt x="1805028" y="3268113"/>
                  <a:pt x="1787231" y="3218327"/>
                  <a:pt x="1769435" y="3168540"/>
                </a:cubicBezTo>
                <a:cubicBezTo>
                  <a:pt x="1730282" y="3068968"/>
                  <a:pt x="1684011" y="2972951"/>
                  <a:pt x="1627062" y="2880491"/>
                </a:cubicBezTo>
                <a:cubicBezTo>
                  <a:pt x="1513164" y="2692014"/>
                  <a:pt x="1367232" y="2528431"/>
                  <a:pt x="1199944" y="2389740"/>
                </a:cubicBezTo>
                <a:cubicBezTo>
                  <a:pt x="1029097" y="2247494"/>
                  <a:pt x="836894" y="2137253"/>
                  <a:pt x="634013" y="2051905"/>
                </a:cubicBezTo>
                <a:cubicBezTo>
                  <a:pt x="530792" y="2009231"/>
                  <a:pt x="427572" y="1973669"/>
                  <a:pt x="320792" y="1941664"/>
                </a:cubicBezTo>
                <a:cubicBezTo>
                  <a:pt x="228250" y="1916771"/>
                  <a:pt x="132148" y="1898990"/>
                  <a:pt x="39606" y="1881209"/>
                </a:cubicBezTo>
                <a:cubicBezTo>
                  <a:pt x="14691" y="1874097"/>
                  <a:pt x="-3107" y="1852760"/>
                  <a:pt x="454" y="1827867"/>
                </a:cubicBezTo>
                <a:cubicBezTo>
                  <a:pt x="4013" y="1799417"/>
                  <a:pt x="28928" y="1781637"/>
                  <a:pt x="53843" y="1785193"/>
                </a:cubicBezTo>
                <a:cubicBezTo>
                  <a:pt x="153504" y="1799417"/>
                  <a:pt x="249606" y="1817198"/>
                  <a:pt x="345708" y="1842091"/>
                </a:cubicBezTo>
                <a:cubicBezTo>
                  <a:pt x="459606" y="1866985"/>
                  <a:pt x="569945" y="1902546"/>
                  <a:pt x="676724" y="1941664"/>
                </a:cubicBezTo>
                <a:cubicBezTo>
                  <a:pt x="893843" y="2027012"/>
                  <a:pt x="1100283" y="2137253"/>
                  <a:pt x="1285367" y="2279499"/>
                </a:cubicBezTo>
                <a:cubicBezTo>
                  <a:pt x="1470452" y="2425302"/>
                  <a:pt x="1630621" y="2595998"/>
                  <a:pt x="1762316" y="2795143"/>
                </a:cubicBezTo>
                <a:cubicBezTo>
                  <a:pt x="1787231" y="2837817"/>
                  <a:pt x="1815706" y="2880491"/>
                  <a:pt x="1840621" y="2926721"/>
                </a:cubicBezTo>
                <a:cubicBezTo>
                  <a:pt x="1840621" y="2926721"/>
                  <a:pt x="1840621" y="2926721"/>
                  <a:pt x="1844180" y="2499982"/>
                </a:cubicBezTo>
                <a:cubicBezTo>
                  <a:pt x="1840621" y="2357735"/>
                  <a:pt x="1819266" y="2219045"/>
                  <a:pt x="1783673" y="2083910"/>
                </a:cubicBezTo>
                <a:cubicBezTo>
                  <a:pt x="1758758" y="2002119"/>
                  <a:pt x="1730283" y="1923883"/>
                  <a:pt x="1698249" y="1849204"/>
                </a:cubicBezTo>
                <a:cubicBezTo>
                  <a:pt x="1662656" y="1770968"/>
                  <a:pt x="1623503" y="1699845"/>
                  <a:pt x="1577232" y="1628722"/>
                </a:cubicBezTo>
                <a:cubicBezTo>
                  <a:pt x="1488249" y="1486475"/>
                  <a:pt x="1377910" y="1358453"/>
                  <a:pt x="1249775" y="1244656"/>
                </a:cubicBezTo>
                <a:cubicBezTo>
                  <a:pt x="1189266" y="1187757"/>
                  <a:pt x="1121639" y="1137971"/>
                  <a:pt x="1050453" y="1088185"/>
                </a:cubicBezTo>
                <a:cubicBezTo>
                  <a:pt x="1018419" y="1063292"/>
                  <a:pt x="982826" y="1041955"/>
                  <a:pt x="947233" y="1020618"/>
                </a:cubicBezTo>
                <a:cubicBezTo>
                  <a:pt x="925877" y="1009949"/>
                  <a:pt x="908080" y="999281"/>
                  <a:pt x="890284" y="988612"/>
                </a:cubicBezTo>
                <a:cubicBezTo>
                  <a:pt x="886724" y="985056"/>
                  <a:pt x="883165" y="981500"/>
                  <a:pt x="876046" y="981500"/>
                </a:cubicBezTo>
                <a:cubicBezTo>
                  <a:pt x="854690" y="967275"/>
                  <a:pt x="844012" y="942382"/>
                  <a:pt x="854690" y="917489"/>
                </a:cubicBezTo>
                <a:cubicBezTo>
                  <a:pt x="854690" y="917489"/>
                  <a:pt x="854690" y="917489"/>
                  <a:pt x="861809" y="903264"/>
                </a:cubicBezTo>
                <a:cubicBezTo>
                  <a:pt x="872487" y="878371"/>
                  <a:pt x="904521" y="867703"/>
                  <a:pt x="925877" y="878371"/>
                </a:cubicBezTo>
                <a:cubicBezTo>
                  <a:pt x="932995" y="881927"/>
                  <a:pt x="940114" y="885483"/>
                  <a:pt x="943673" y="889040"/>
                </a:cubicBezTo>
                <a:cubicBezTo>
                  <a:pt x="965029" y="899708"/>
                  <a:pt x="982826" y="910377"/>
                  <a:pt x="1004182" y="921045"/>
                </a:cubicBezTo>
                <a:cubicBezTo>
                  <a:pt x="1043334" y="942382"/>
                  <a:pt x="1078928" y="967275"/>
                  <a:pt x="1118080" y="992168"/>
                </a:cubicBezTo>
                <a:cubicBezTo>
                  <a:pt x="1192826" y="1041955"/>
                  <a:pt x="1264012" y="1095297"/>
                  <a:pt x="1331639" y="1152196"/>
                </a:cubicBezTo>
                <a:cubicBezTo>
                  <a:pt x="1470453" y="1269549"/>
                  <a:pt x="1591470" y="1404683"/>
                  <a:pt x="1691131" y="1550486"/>
                </a:cubicBezTo>
                <a:cubicBezTo>
                  <a:pt x="1744520" y="1625165"/>
                  <a:pt x="1787232" y="1706957"/>
                  <a:pt x="1829944" y="1785193"/>
                </a:cubicBezTo>
                <a:cubicBezTo>
                  <a:pt x="1837063" y="1802974"/>
                  <a:pt x="1844181" y="1820754"/>
                  <a:pt x="1851300" y="1838535"/>
                </a:cubicBezTo>
                <a:cubicBezTo>
                  <a:pt x="1851300" y="1838535"/>
                  <a:pt x="1851300" y="1838535"/>
                  <a:pt x="1869097" y="46230"/>
                </a:cubicBezTo>
                <a:cubicBezTo>
                  <a:pt x="1869097" y="21337"/>
                  <a:pt x="1890452" y="0"/>
                  <a:pt x="1918927" y="0"/>
                </a:cubicBezTo>
                <a:cubicBezTo>
                  <a:pt x="1918927" y="0"/>
                  <a:pt x="1918927" y="0"/>
                  <a:pt x="1936724" y="0"/>
                </a:cubicBezTo>
                <a:cubicBezTo>
                  <a:pt x="1961639" y="0"/>
                  <a:pt x="1982995" y="21337"/>
                  <a:pt x="1982995" y="46230"/>
                </a:cubicBezTo>
                <a:cubicBezTo>
                  <a:pt x="1982995" y="46230"/>
                  <a:pt x="1982995" y="46230"/>
                  <a:pt x="2004351" y="1838535"/>
                </a:cubicBezTo>
                <a:cubicBezTo>
                  <a:pt x="2011469" y="1820754"/>
                  <a:pt x="2018588" y="1802974"/>
                  <a:pt x="2025707" y="1785193"/>
                </a:cubicBezTo>
                <a:cubicBezTo>
                  <a:pt x="2064859" y="1706957"/>
                  <a:pt x="2111130" y="1625165"/>
                  <a:pt x="2160961" y="1550486"/>
                </a:cubicBezTo>
                <a:cubicBezTo>
                  <a:pt x="2264181" y="1404683"/>
                  <a:pt x="2385198" y="1269549"/>
                  <a:pt x="2520452" y="1152196"/>
                </a:cubicBezTo>
                <a:cubicBezTo>
                  <a:pt x="2588079" y="1095297"/>
                  <a:pt x="2662825" y="1041955"/>
                  <a:pt x="2737571" y="992168"/>
                </a:cubicBezTo>
                <a:cubicBezTo>
                  <a:pt x="2773164" y="967275"/>
                  <a:pt x="2812316" y="942382"/>
                  <a:pt x="2851469" y="921045"/>
                </a:cubicBezTo>
                <a:cubicBezTo>
                  <a:pt x="2869265" y="910378"/>
                  <a:pt x="2890621" y="899709"/>
                  <a:pt x="2908418" y="889041"/>
                </a:cubicBezTo>
                <a:cubicBezTo>
                  <a:pt x="2915537" y="885484"/>
                  <a:pt x="2922655" y="881928"/>
                  <a:pt x="2926215" y="878372"/>
                </a:cubicBezTo>
                <a:cubicBezTo>
                  <a:pt x="2951130" y="867704"/>
                  <a:pt x="2979604" y="878372"/>
                  <a:pt x="2993842" y="903265"/>
                </a:cubicBezTo>
                <a:cubicBezTo>
                  <a:pt x="2993842" y="903265"/>
                  <a:pt x="2993842" y="903265"/>
                  <a:pt x="2997401" y="917490"/>
                </a:cubicBezTo>
                <a:cubicBezTo>
                  <a:pt x="3008079" y="942383"/>
                  <a:pt x="3000960" y="967276"/>
                  <a:pt x="2976045" y="981501"/>
                </a:cubicBezTo>
                <a:cubicBezTo>
                  <a:pt x="2972486" y="981501"/>
                  <a:pt x="2968926" y="985057"/>
                  <a:pt x="2961808" y="988613"/>
                </a:cubicBezTo>
                <a:cubicBezTo>
                  <a:pt x="2944011" y="999282"/>
                  <a:pt x="2926215" y="1009950"/>
                  <a:pt x="2908418" y="1020619"/>
                </a:cubicBezTo>
                <a:cubicBezTo>
                  <a:pt x="2872825" y="1041956"/>
                  <a:pt x="2837232" y="1063292"/>
                  <a:pt x="2801638" y="1088185"/>
                </a:cubicBezTo>
                <a:cubicBezTo>
                  <a:pt x="2734011" y="1137971"/>
                  <a:pt x="2666384" y="1187757"/>
                  <a:pt x="2602316" y="1244656"/>
                </a:cubicBezTo>
                <a:cubicBezTo>
                  <a:pt x="2477740" y="1358453"/>
                  <a:pt x="2367401" y="1486475"/>
                  <a:pt x="2274859" y="1628722"/>
                </a:cubicBezTo>
                <a:cubicBezTo>
                  <a:pt x="2232147" y="1699845"/>
                  <a:pt x="2192995" y="1770968"/>
                  <a:pt x="2157402" y="1849204"/>
                </a:cubicBezTo>
                <a:cubicBezTo>
                  <a:pt x="2121808" y="1923883"/>
                  <a:pt x="2093334" y="2002119"/>
                  <a:pt x="2071978" y="2083910"/>
                </a:cubicBezTo>
                <a:cubicBezTo>
                  <a:pt x="2032825" y="2219045"/>
                  <a:pt x="2015028" y="2357735"/>
                  <a:pt x="2011468" y="2499982"/>
                </a:cubicBezTo>
                <a:cubicBezTo>
                  <a:pt x="2011468" y="2499982"/>
                  <a:pt x="2011468" y="2499982"/>
                  <a:pt x="2015028" y="2926721"/>
                </a:cubicBezTo>
                <a:cubicBezTo>
                  <a:pt x="2039943" y="2880491"/>
                  <a:pt x="2064858" y="2837817"/>
                  <a:pt x="2093333" y="2795143"/>
                </a:cubicBezTo>
                <a:cubicBezTo>
                  <a:pt x="2221468" y="2595998"/>
                  <a:pt x="2385197" y="2425302"/>
                  <a:pt x="2570282" y="2279499"/>
                </a:cubicBezTo>
                <a:cubicBezTo>
                  <a:pt x="2755367" y="2137253"/>
                  <a:pt x="2961808" y="2027013"/>
                  <a:pt x="3178926" y="1941665"/>
                </a:cubicBezTo>
                <a:cubicBezTo>
                  <a:pt x="3285706" y="1902547"/>
                  <a:pt x="3396045" y="1866986"/>
                  <a:pt x="3506384" y="1842092"/>
                </a:cubicBezTo>
                <a:cubicBezTo>
                  <a:pt x="3602485" y="1817199"/>
                  <a:pt x="3702146" y="1799418"/>
                  <a:pt x="3798248" y="1785194"/>
                </a:cubicBezTo>
                <a:cubicBezTo>
                  <a:pt x="3826722" y="1781638"/>
                  <a:pt x="3851638" y="1799418"/>
                  <a:pt x="3855197" y="1827868"/>
                </a:cubicBezTo>
                <a:close/>
              </a:path>
            </a:pathLst>
          </a:custGeom>
          <a:solidFill>
            <a:srgbClr val="894C2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F3A838-3AAD-426A-B761-1B5295284C3A}"/>
              </a:ext>
            </a:extLst>
          </p:cNvPr>
          <p:cNvSpPr txBox="1"/>
          <p:nvPr/>
        </p:nvSpPr>
        <p:spPr>
          <a:xfrm>
            <a:off x="2322147" y="141558"/>
            <a:ext cx="38721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ệ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ằ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ù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3333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5F6A65-AC9F-4B71-B034-232EF53722B3}"/>
              </a:ext>
            </a:extLst>
          </p:cNvPr>
          <p:cNvSpPr txBox="1"/>
          <p:nvPr/>
        </p:nvSpPr>
        <p:spPr>
          <a:xfrm>
            <a:off x="683324" y="1205086"/>
            <a:ext cx="423897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é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ỏ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à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05DC07B-103C-4C26-9784-17CA27146694}"/>
              </a:ext>
            </a:extLst>
          </p:cNvPr>
          <p:cNvSpPr txBox="1"/>
          <p:nvPr/>
        </p:nvSpPr>
        <p:spPr>
          <a:xfrm>
            <a:off x="270837" y="2792678"/>
            <a:ext cx="3583573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ă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ô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ưở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ạ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ộ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ọ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ầ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endParaRPr kumimoji="0" lang="id-ID" sz="23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11AC6D-661F-4EE8-ACD3-C3F27EBFD7ED}"/>
              </a:ext>
            </a:extLst>
          </p:cNvPr>
          <p:cNvSpPr txBox="1"/>
          <p:nvPr/>
        </p:nvSpPr>
        <p:spPr>
          <a:xfrm>
            <a:off x="2391155" y="4939659"/>
            <a:ext cx="30183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ờ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ễ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784CD7-898F-483F-B99F-253248D3D979}"/>
              </a:ext>
            </a:extLst>
          </p:cNvPr>
          <p:cNvSpPr txBox="1"/>
          <p:nvPr/>
        </p:nvSpPr>
        <p:spPr>
          <a:xfrm>
            <a:off x="3214507" y="5995684"/>
            <a:ext cx="33151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â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iễ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o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á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ì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12D482F-7EBE-4949-AD7F-9870530C2697}"/>
              </a:ext>
            </a:extLst>
          </p:cNvPr>
          <p:cNvSpPr txBox="1"/>
          <p:nvPr/>
        </p:nvSpPr>
        <p:spPr>
          <a:xfrm>
            <a:off x="9150728" y="2064607"/>
            <a:ext cx="3070823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TÍNH CHẤT CỦA BỘ KHUẾCH ĐẠI THUẬT TOÁN LÍ TƯỞNG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D4DBDB-1798-3697-D369-475C01EECC8A}"/>
              </a:ext>
            </a:extLst>
          </p:cNvPr>
          <p:cNvGrpSpPr/>
          <p:nvPr/>
        </p:nvGrpSpPr>
        <p:grpSpPr>
          <a:xfrm>
            <a:off x="6442203" y="5053684"/>
            <a:ext cx="870385" cy="1489116"/>
            <a:chOff x="5308823" y="5008938"/>
            <a:chExt cx="870385" cy="1489116"/>
          </a:xfrm>
        </p:grpSpPr>
        <p:sp>
          <p:nvSpPr>
            <p:cNvPr id="1035" name="Freeform 28">
              <a:extLst>
                <a:ext uri="{FF2B5EF4-FFF2-40B4-BE49-F238E27FC236}">
                  <a16:creationId xmlns:a16="http://schemas.microsoft.com/office/drawing/2014/main" id="{D2F4138A-DCB8-4AA2-94EE-BE1978C6C67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458" y="5318303"/>
              <a:ext cx="1489116" cy="870385"/>
            </a:xfrm>
            <a:custGeom>
              <a:avLst/>
              <a:gdLst>
                <a:gd name="T0" fmla="*/ 414 w 418"/>
                <a:gd name="T1" fmla="*/ 164 h 245"/>
                <a:gd name="T2" fmla="*/ 414 w 418"/>
                <a:gd name="T3" fmla="*/ 164 h 245"/>
                <a:gd name="T4" fmla="*/ 417 w 418"/>
                <a:gd name="T5" fmla="*/ 170 h 245"/>
                <a:gd name="T6" fmla="*/ 418 w 418"/>
                <a:gd name="T7" fmla="*/ 170 h 245"/>
                <a:gd name="T8" fmla="*/ 383 w 418"/>
                <a:gd name="T9" fmla="*/ 161 h 245"/>
                <a:gd name="T10" fmla="*/ 354 w 418"/>
                <a:gd name="T11" fmla="*/ 168 h 245"/>
                <a:gd name="T12" fmla="*/ 148 w 418"/>
                <a:gd name="T13" fmla="*/ 214 h 245"/>
                <a:gd name="T14" fmla="*/ 0 w 418"/>
                <a:gd name="T15" fmla="*/ 61 h 245"/>
                <a:gd name="T16" fmla="*/ 0 w 418"/>
                <a:gd name="T17" fmla="*/ 58 h 245"/>
                <a:gd name="T18" fmla="*/ 187 w 418"/>
                <a:gd name="T19" fmla="*/ 53 h 245"/>
                <a:gd name="T20" fmla="*/ 414 w 418"/>
                <a:gd name="T21" fmla="*/ 16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8" h="245">
                  <a:moveTo>
                    <a:pt x="414" y="164"/>
                  </a:moveTo>
                  <a:cubicBezTo>
                    <a:pt x="414" y="164"/>
                    <a:pt x="414" y="164"/>
                    <a:pt x="414" y="164"/>
                  </a:cubicBezTo>
                  <a:cubicBezTo>
                    <a:pt x="415" y="166"/>
                    <a:pt x="416" y="168"/>
                    <a:pt x="417" y="170"/>
                  </a:cubicBezTo>
                  <a:cubicBezTo>
                    <a:pt x="418" y="170"/>
                    <a:pt x="418" y="170"/>
                    <a:pt x="418" y="170"/>
                  </a:cubicBezTo>
                  <a:cubicBezTo>
                    <a:pt x="383" y="161"/>
                    <a:pt x="383" y="161"/>
                    <a:pt x="383" y="161"/>
                  </a:cubicBezTo>
                  <a:cubicBezTo>
                    <a:pt x="372" y="158"/>
                    <a:pt x="361" y="161"/>
                    <a:pt x="354" y="168"/>
                  </a:cubicBezTo>
                  <a:cubicBezTo>
                    <a:pt x="330" y="194"/>
                    <a:pt x="265" y="245"/>
                    <a:pt x="148" y="214"/>
                  </a:cubicBezTo>
                  <a:cubicBezTo>
                    <a:pt x="10" y="177"/>
                    <a:pt x="1" y="79"/>
                    <a:pt x="0" y="61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58"/>
                    <a:pt x="109" y="107"/>
                    <a:pt x="187" y="53"/>
                  </a:cubicBezTo>
                  <a:cubicBezTo>
                    <a:pt x="263" y="0"/>
                    <a:pt x="357" y="70"/>
                    <a:pt x="414" y="164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6" name="Freeform 29">
              <a:extLst>
                <a:ext uri="{FF2B5EF4-FFF2-40B4-BE49-F238E27FC236}">
                  <a16:creationId xmlns:a16="http://schemas.microsoft.com/office/drawing/2014/main" id="{94B01C55-CF70-4C8C-A522-9AC56465585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52438" y="5371283"/>
              <a:ext cx="1489116" cy="764425"/>
            </a:xfrm>
            <a:custGeom>
              <a:avLst/>
              <a:gdLst>
                <a:gd name="T0" fmla="*/ 414 w 418"/>
                <a:gd name="T1" fmla="*/ 134 h 215"/>
                <a:gd name="T2" fmla="*/ 414 w 418"/>
                <a:gd name="T3" fmla="*/ 134 h 215"/>
                <a:gd name="T4" fmla="*/ 417 w 418"/>
                <a:gd name="T5" fmla="*/ 140 h 215"/>
                <a:gd name="T6" fmla="*/ 418 w 418"/>
                <a:gd name="T7" fmla="*/ 140 h 215"/>
                <a:gd name="T8" fmla="*/ 383 w 418"/>
                <a:gd name="T9" fmla="*/ 131 h 215"/>
                <a:gd name="T10" fmla="*/ 354 w 418"/>
                <a:gd name="T11" fmla="*/ 138 h 215"/>
                <a:gd name="T12" fmla="*/ 148 w 418"/>
                <a:gd name="T13" fmla="*/ 184 h 215"/>
                <a:gd name="T14" fmla="*/ 0 w 418"/>
                <a:gd name="T15" fmla="*/ 31 h 215"/>
                <a:gd name="T16" fmla="*/ 193 w 418"/>
                <a:gd name="T17" fmla="*/ 92 h 215"/>
                <a:gd name="T18" fmla="*/ 414 w 418"/>
                <a:gd name="T19" fmla="*/ 13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8" h="215">
                  <a:moveTo>
                    <a:pt x="414" y="134"/>
                  </a:moveTo>
                  <a:cubicBezTo>
                    <a:pt x="414" y="134"/>
                    <a:pt x="414" y="134"/>
                    <a:pt x="414" y="134"/>
                  </a:cubicBezTo>
                  <a:cubicBezTo>
                    <a:pt x="416" y="137"/>
                    <a:pt x="417" y="139"/>
                    <a:pt x="417" y="140"/>
                  </a:cubicBezTo>
                  <a:cubicBezTo>
                    <a:pt x="418" y="140"/>
                    <a:pt x="418" y="140"/>
                    <a:pt x="418" y="140"/>
                  </a:cubicBezTo>
                  <a:cubicBezTo>
                    <a:pt x="383" y="131"/>
                    <a:pt x="383" y="131"/>
                    <a:pt x="383" y="131"/>
                  </a:cubicBezTo>
                  <a:cubicBezTo>
                    <a:pt x="372" y="128"/>
                    <a:pt x="361" y="131"/>
                    <a:pt x="354" y="138"/>
                  </a:cubicBezTo>
                  <a:cubicBezTo>
                    <a:pt x="330" y="164"/>
                    <a:pt x="265" y="215"/>
                    <a:pt x="148" y="184"/>
                  </a:cubicBezTo>
                  <a:cubicBezTo>
                    <a:pt x="10" y="147"/>
                    <a:pt x="1" y="49"/>
                    <a:pt x="0" y="31"/>
                  </a:cubicBezTo>
                  <a:cubicBezTo>
                    <a:pt x="37" y="90"/>
                    <a:pt x="103" y="157"/>
                    <a:pt x="193" y="92"/>
                  </a:cubicBezTo>
                  <a:cubicBezTo>
                    <a:pt x="319" y="0"/>
                    <a:pt x="397" y="107"/>
                    <a:pt x="414" y="134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48911D9-02F5-4F7B-B99C-C9758A2BBE62}"/>
                </a:ext>
              </a:extLst>
            </p:cNvPr>
            <p:cNvGrpSpPr/>
            <p:nvPr/>
          </p:nvGrpSpPr>
          <p:grpSpPr>
            <a:xfrm>
              <a:off x="5638630" y="5842354"/>
              <a:ext cx="268114" cy="279942"/>
              <a:chOff x="212726" y="-1614487"/>
              <a:chExt cx="431799" cy="450849"/>
            </a:xfrm>
            <a:solidFill>
              <a:schemeClr val="bg1"/>
            </a:solidFill>
          </p:grpSpPr>
          <p:sp>
            <p:nvSpPr>
              <p:cNvPr id="1052" name="Freeform 33">
                <a:extLst>
                  <a:ext uri="{FF2B5EF4-FFF2-40B4-BE49-F238E27FC236}">
                    <a16:creationId xmlns:a16="http://schemas.microsoft.com/office/drawing/2014/main" id="{341F0D07-E6D2-4347-A345-DC8AF54E58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000" y="-1614487"/>
                <a:ext cx="263525" cy="265112"/>
              </a:xfrm>
              <a:custGeom>
                <a:avLst/>
                <a:gdLst>
                  <a:gd name="T0" fmla="*/ 55 w 58"/>
                  <a:gd name="T1" fmla="*/ 2 h 57"/>
                  <a:gd name="T2" fmla="*/ 46 w 58"/>
                  <a:gd name="T3" fmla="*/ 3 h 57"/>
                  <a:gd name="T4" fmla="*/ 41 w 58"/>
                  <a:gd name="T5" fmla="*/ 10 h 57"/>
                  <a:gd name="T6" fmla="*/ 26 w 58"/>
                  <a:gd name="T7" fmla="*/ 5 h 57"/>
                  <a:gd name="T8" fmla="*/ 7 w 58"/>
                  <a:gd name="T9" fmla="*/ 14 h 57"/>
                  <a:gd name="T10" fmla="*/ 7 w 58"/>
                  <a:gd name="T11" fmla="*/ 17 h 57"/>
                  <a:gd name="T12" fmla="*/ 0 w 58"/>
                  <a:gd name="T13" fmla="*/ 32 h 57"/>
                  <a:gd name="T14" fmla="*/ 0 w 58"/>
                  <a:gd name="T15" fmla="*/ 33 h 57"/>
                  <a:gd name="T16" fmla="*/ 9 w 58"/>
                  <a:gd name="T17" fmla="*/ 33 h 57"/>
                  <a:gd name="T18" fmla="*/ 15 w 58"/>
                  <a:gd name="T19" fmla="*/ 39 h 57"/>
                  <a:gd name="T20" fmla="*/ 13 w 58"/>
                  <a:gd name="T21" fmla="*/ 53 h 57"/>
                  <a:gd name="T22" fmla="*/ 26 w 58"/>
                  <a:gd name="T23" fmla="*/ 57 h 57"/>
                  <a:gd name="T24" fmla="*/ 52 w 58"/>
                  <a:gd name="T25" fmla="*/ 31 h 57"/>
                  <a:gd name="T26" fmla="*/ 49 w 58"/>
                  <a:gd name="T27" fmla="*/ 19 h 57"/>
                  <a:gd name="T28" fmla="*/ 56 w 58"/>
                  <a:gd name="T29" fmla="*/ 11 h 57"/>
                  <a:gd name="T30" fmla="*/ 55 w 58"/>
                  <a:gd name="T31" fmla="*/ 2 h 57"/>
                  <a:gd name="T32" fmla="*/ 53 w 58"/>
                  <a:gd name="T33" fmla="*/ 8 h 57"/>
                  <a:gd name="T34" fmla="*/ 28 w 58"/>
                  <a:gd name="T35" fmla="*/ 41 h 57"/>
                  <a:gd name="T36" fmla="*/ 27 w 58"/>
                  <a:gd name="T37" fmla="*/ 42 h 57"/>
                  <a:gd name="T38" fmla="*/ 26 w 58"/>
                  <a:gd name="T39" fmla="*/ 42 h 57"/>
                  <a:gd name="T40" fmla="*/ 25 w 58"/>
                  <a:gd name="T41" fmla="*/ 41 h 57"/>
                  <a:gd name="T42" fmla="*/ 14 w 58"/>
                  <a:gd name="T43" fmla="*/ 30 h 57"/>
                  <a:gd name="T44" fmla="*/ 14 w 58"/>
                  <a:gd name="T45" fmla="*/ 28 h 57"/>
                  <a:gd name="T46" fmla="*/ 17 w 58"/>
                  <a:gd name="T47" fmla="*/ 28 h 57"/>
                  <a:gd name="T48" fmla="*/ 26 w 58"/>
                  <a:gd name="T49" fmla="*/ 37 h 57"/>
                  <a:gd name="T50" fmla="*/ 49 w 58"/>
                  <a:gd name="T51" fmla="*/ 6 h 57"/>
                  <a:gd name="T52" fmla="*/ 52 w 58"/>
                  <a:gd name="T53" fmla="*/ 5 h 57"/>
                  <a:gd name="T54" fmla="*/ 53 w 58"/>
                  <a:gd name="T55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57">
                    <a:moveTo>
                      <a:pt x="55" y="2"/>
                    </a:moveTo>
                    <a:cubicBezTo>
                      <a:pt x="52" y="0"/>
                      <a:pt x="48" y="1"/>
                      <a:pt x="46" y="3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7" y="7"/>
                      <a:pt x="32" y="5"/>
                      <a:pt x="26" y="5"/>
                    </a:cubicBezTo>
                    <a:cubicBezTo>
                      <a:pt x="18" y="5"/>
                      <a:pt x="11" y="8"/>
                      <a:pt x="7" y="14"/>
                    </a:cubicBezTo>
                    <a:cubicBezTo>
                      <a:pt x="7" y="15"/>
                      <a:pt x="7" y="16"/>
                      <a:pt x="7" y="17"/>
                    </a:cubicBezTo>
                    <a:cubicBezTo>
                      <a:pt x="7" y="23"/>
                      <a:pt x="4" y="28"/>
                      <a:pt x="0" y="32"/>
                    </a:cubicBezTo>
                    <a:cubicBezTo>
                      <a:pt x="0" y="32"/>
                      <a:pt x="0" y="33"/>
                      <a:pt x="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12" y="33"/>
                      <a:pt x="15" y="36"/>
                      <a:pt x="15" y="39"/>
                    </a:cubicBezTo>
                    <a:cubicBezTo>
                      <a:pt x="15" y="44"/>
                      <a:pt x="14" y="49"/>
                      <a:pt x="13" y="53"/>
                    </a:cubicBezTo>
                    <a:cubicBezTo>
                      <a:pt x="17" y="56"/>
                      <a:pt x="21" y="57"/>
                      <a:pt x="26" y="57"/>
                    </a:cubicBezTo>
                    <a:cubicBezTo>
                      <a:pt x="40" y="57"/>
                      <a:pt x="52" y="45"/>
                      <a:pt x="52" y="31"/>
                    </a:cubicBezTo>
                    <a:cubicBezTo>
                      <a:pt x="52" y="27"/>
                      <a:pt x="51" y="23"/>
                      <a:pt x="49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8" y="8"/>
                      <a:pt x="57" y="4"/>
                      <a:pt x="55" y="2"/>
                    </a:cubicBezTo>
                    <a:close/>
                    <a:moveTo>
                      <a:pt x="53" y="8"/>
                    </a:move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7" y="42"/>
                      <a:pt x="27" y="42"/>
                    </a:cubicBezTo>
                    <a:cubicBezTo>
                      <a:pt x="27" y="42"/>
                      <a:pt x="26" y="42"/>
                      <a:pt x="26" y="42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28"/>
                      <a:pt x="14" y="28"/>
                    </a:cubicBezTo>
                    <a:cubicBezTo>
                      <a:pt x="15" y="27"/>
                      <a:pt x="16" y="27"/>
                      <a:pt x="17" y="2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50" y="5"/>
                      <a:pt x="51" y="5"/>
                      <a:pt x="52" y="5"/>
                    </a:cubicBezTo>
                    <a:cubicBezTo>
                      <a:pt x="53" y="6"/>
                      <a:pt x="53" y="7"/>
                      <a:pt x="5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3" name="Oval 34">
                <a:extLst>
                  <a:ext uri="{FF2B5EF4-FFF2-40B4-BE49-F238E27FC236}">
                    <a16:creationId xmlns:a16="http://schemas.microsoft.com/office/drawing/2014/main" id="{9A0DFDE2-6C21-4A91-BE8F-2253520C72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238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4" name="Freeform 35">
                <a:extLst>
                  <a:ext uri="{FF2B5EF4-FFF2-40B4-BE49-F238E27FC236}">
                    <a16:creationId xmlns:a16="http://schemas.microsoft.com/office/drawing/2014/main" id="{52F999E5-72DF-49C7-AE68-F56728590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26" y="-1443038"/>
                <a:ext cx="219075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F5FCE5-0953-FD81-703C-F7F2D18F65C4}"/>
              </a:ext>
            </a:extLst>
          </p:cNvPr>
          <p:cNvGrpSpPr/>
          <p:nvPr/>
        </p:nvGrpSpPr>
        <p:grpSpPr>
          <a:xfrm>
            <a:off x="3900318" y="3020839"/>
            <a:ext cx="1536419" cy="836327"/>
            <a:chOff x="3047714" y="2969209"/>
            <a:chExt cx="1536419" cy="836327"/>
          </a:xfrm>
        </p:grpSpPr>
        <p:sp>
          <p:nvSpPr>
            <p:cNvPr id="1027" name="Freeform 20">
              <a:extLst>
                <a:ext uri="{FF2B5EF4-FFF2-40B4-BE49-F238E27FC236}">
                  <a16:creationId xmlns:a16="http://schemas.microsoft.com/office/drawing/2014/main" id="{0DE0D69A-1743-484A-A2CB-A4CF257D7D8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397760" y="2619163"/>
              <a:ext cx="836327" cy="1536419"/>
            </a:xfrm>
            <a:custGeom>
              <a:avLst/>
              <a:gdLst>
                <a:gd name="T0" fmla="*/ 117 w 235"/>
                <a:gd name="T1" fmla="*/ 427 h 432"/>
                <a:gd name="T2" fmla="*/ 117 w 235"/>
                <a:gd name="T3" fmla="*/ 427 h 432"/>
                <a:gd name="T4" fmla="*/ 112 w 235"/>
                <a:gd name="T5" fmla="*/ 432 h 432"/>
                <a:gd name="T6" fmla="*/ 112 w 235"/>
                <a:gd name="T7" fmla="*/ 432 h 432"/>
                <a:gd name="T8" fmla="*/ 112 w 235"/>
                <a:gd name="T9" fmla="*/ 396 h 432"/>
                <a:gd name="T10" fmla="*/ 97 w 235"/>
                <a:gd name="T11" fmla="*/ 370 h 432"/>
                <a:gd name="T12" fmla="*/ 0 w 235"/>
                <a:gd name="T13" fmla="*/ 182 h 432"/>
                <a:gd name="T14" fmla="*/ 109 w 235"/>
                <a:gd name="T15" fmla="*/ 1 h 432"/>
                <a:gd name="T16" fmla="*/ 112 w 235"/>
                <a:gd name="T17" fmla="*/ 0 h 432"/>
                <a:gd name="T18" fmla="*/ 165 w 235"/>
                <a:gd name="T19" fmla="*/ 178 h 432"/>
                <a:gd name="T20" fmla="*/ 117 w 235"/>
                <a:gd name="T21" fmla="*/ 427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5" h="432">
                  <a:moveTo>
                    <a:pt x="117" y="427"/>
                  </a:moveTo>
                  <a:cubicBezTo>
                    <a:pt x="117" y="427"/>
                    <a:pt x="117" y="427"/>
                    <a:pt x="117" y="427"/>
                  </a:cubicBezTo>
                  <a:cubicBezTo>
                    <a:pt x="115" y="429"/>
                    <a:pt x="114" y="430"/>
                    <a:pt x="112" y="432"/>
                  </a:cubicBezTo>
                  <a:cubicBezTo>
                    <a:pt x="112" y="432"/>
                    <a:pt x="112" y="432"/>
                    <a:pt x="112" y="432"/>
                  </a:cubicBezTo>
                  <a:cubicBezTo>
                    <a:pt x="112" y="396"/>
                    <a:pt x="112" y="396"/>
                    <a:pt x="112" y="396"/>
                  </a:cubicBezTo>
                  <a:cubicBezTo>
                    <a:pt x="112" y="385"/>
                    <a:pt x="106" y="375"/>
                    <a:pt x="97" y="370"/>
                  </a:cubicBezTo>
                  <a:cubicBezTo>
                    <a:pt x="66" y="354"/>
                    <a:pt x="0" y="304"/>
                    <a:pt x="0" y="182"/>
                  </a:cubicBezTo>
                  <a:cubicBezTo>
                    <a:pt x="0" y="40"/>
                    <a:pt x="92" y="6"/>
                    <a:pt x="109" y="1"/>
                  </a:cubicBezTo>
                  <a:cubicBezTo>
                    <a:pt x="111" y="0"/>
                    <a:pt x="112" y="0"/>
                    <a:pt x="112" y="0"/>
                  </a:cubicBezTo>
                  <a:cubicBezTo>
                    <a:pt x="112" y="0"/>
                    <a:pt x="93" y="117"/>
                    <a:pt x="165" y="178"/>
                  </a:cubicBezTo>
                  <a:cubicBezTo>
                    <a:pt x="235" y="239"/>
                    <a:pt x="193" y="348"/>
                    <a:pt x="117" y="427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reeform 21">
              <a:extLst>
                <a:ext uri="{FF2B5EF4-FFF2-40B4-BE49-F238E27FC236}">
                  <a16:creationId xmlns:a16="http://schemas.microsoft.com/office/drawing/2014/main" id="{C464F6BF-E956-4EF5-80A3-DE54A4A64D3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425196" y="2646599"/>
              <a:ext cx="785239" cy="1532635"/>
            </a:xfrm>
            <a:custGeom>
              <a:avLst/>
              <a:gdLst>
                <a:gd name="T0" fmla="*/ 117 w 221"/>
                <a:gd name="T1" fmla="*/ 426 h 431"/>
                <a:gd name="T2" fmla="*/ 117 w 221"/>
                <a:gd name="T3" fmla="*/ 426 h 431"/>
                <a:gd name="T4" fmla="*/ 112 w 221"/>
                <a:gd name="T5" fmla="*/ 431 h 431"/>
                <a:gd name="T6" fmla="*/ 112 w 221"/>
                <a:gd name="T7" fmla="*/ 431 h 431"/>
                <a:gd name="T8" fmla="*/ 112 w 221"/>
                <a:gd name="T9" fmla="*/ 395 h 431"/>
                <a:gd name="T10" fmla="*/ 97 w 221"/>
                <a:gd name="T11" fmla="*/ 369 h 431"/>
                <a:gd name="T12" fmla="*/ 0 w 221"/>
                <a:gd name="T13" fmla="*/ 181 h 431"/>
                <a:gd name="T14" fmla="*/ 109 w 221"/>
                <a:gd name="T15" fmla="*/ 0 h 431"/>
                <a:gd name="T16" fmla="*/ 100 w 221"/>
                <a:gd name="T17" fmla="*/ 201 h 431"/>
                <a:gd name="T18" fmla="*/ 117 w 221"/>
                <a:gd name="T19" fmla="*/ 42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431">
                  <a:moveTo>
                    <a:pt x="117" y="426"/>
                  </a:moveTo>
                  <a:cubicBezTo>
                    <a:pt x="117" y="426"/>
                    <a:pt x="117" y="426"/>
                    <a:pt x="117" y="426"/>
                  </a:cubicBezTo>
                  <a:cubicBezTo>
                    <a:pt x="114" y="429"/>
                    <a:pt x="112" y="430"/>
                    <a:pt x="112" y="431"/>
                  </a:cubicBezTo>
                  <a:cubicBezTo>
                    <a:pt x="112" y="431"/>
                    <a:pt x="112" y="431"/>
                    <a:pt x="112" y="431"/>
                  </a:cubicBezTo>
                  <a:cubicBezTo>
                    <a:pt x="112" y="395"/>
                    <a:pt x="112" y="395"/>
                    <a:pt x="112" y="395"/>
                  </a:cubicBezTo>
                  <a:cubicBezTo>
                    <a:pt x="112" y="384"/>
                    <a:pt x="106" y="374"/>
                    <a:pt x="97" y="369"/>
                  </a:cubicBezTo>
                  <a:cubicBezTo>
                    <a:pt x="66" y="353"/>
                    <a:pt x="0" y="303"/>
                    <a:pt x="0" y="181"/>
                  </a:cubicBezTo>
                  <a:cubicBezTo>
                    <a:pt x="0" y="39"/>
                    <a:pt x="92" y="5"/>
                    <a:pt x="109" y="0"/>
                  </a:cubicBezTo>
                  <a:cubicBezTo>
                    <a:pt x="61" y="50"/>
                    <a:pt x="14" y="131"/>
                    <a:pt x="100" y="201"/>
                  </a:cubicBezTo>
                  <a:cubicBezTo>
                    <a:pt x="221" y="300"/>
                    <a:pt x="139" y="402"/>
                    <a:pt x="117" y="426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52D1B38-43BB-4232-884D-BEABC9828804}"/>
                </a:ext>
              </a:extLst>
            </p:cNvPr>
            <p:cNvGrpSpPr/>
            <p:nvPr/>
          </p:nvGrpSpPr>
          <p:grpSpPr>
            <a:xfrm>
              <a:off x="3791446" y="3248880"/>
              <a:ext cx="265156" cy="276985"/>
              <a:chOff x="1957388" y="-1609725"/>
              <a:chExt cx="427037" cy="446087"/>
            </a:xfrm>
            <a:solidFill>
              <a:schemeClr val="bg1"/>
            </a:solidFill>
          </p:grpSpPr>
          <p:sp>
            <p:nvSpPr>
              <p:cNvPr id="1055" name="Freeform 36">
                <a:extLst>
                  <a:ext uri="{FF2B5EF4-FFF2-40B4-BE49-F238E27FC236}">
                    <a16:creationId xmlns:a16="http://schemas.microsoft.com/office/drawing/2014/main" id="{2BE133AD-1D08-44E5-AE81-DB48EB7AC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2338" y="-1590675"/>
                <a:ext cx="192087" cy="407987"/>
              </a:xfrm>
              <a:custGeom>
                <a:avLst/>
                <a:gdLst>
                  <a:gd name="T0" fmla="*/ 24 w 42"/>
                  <a:gd name="T1" fmla="*/ 20 h 88"/>
                  <a:gd name="T2" fmla="*/ 40 w 42"/>
                  <a:gd name="T3" fmla="*/ 20 h 88"/>
                  <a:gd name="T4" fmla="*/ 42 w 42"/>
                  <a:gd name="T5" fmla="*/ 18 h 88"/>
                  <a:gd name="T6" fmla="*/ 42 w 42"/>
                  <a:gd name="T7" fmla="*/ 2 h 88"/>
                  <a:gd name="T8" fmla="*/ 40 w 42"/>
                  <a:gd name="T9" fmla="*/ 0 h 88"/>
                  <a:gd name="T10" fmla="*/ 24 w 42"/>
                  <a:gd name="T11" fmla="*/ 0 h 88"/>
                  <a:gd name="T12" fmla="*/ 22 w 42"/>
                  <a:gd name="T13" fmla="*/ 2 h 88"/>
                  <a:gd name="T14" fmla="*/ 22 w 42"/>
                  <a:gd name="T15" fmla="*/ 8 h 88"/>
                  <a:gd name="T16" fmla="*/ 12 w 42"/>
                  <a:gd name="T17" fmla="*/ 8 h 88"/>
                  <a:gd name="T18" fmla="*/ 10 w 42"/>
                  <a:gd name="T19" fmla="*/ 10 h 88"/>
                  <a:gd name="T20" fmla="*/ 10 w 42"/>
                  <a:gd name="T21" fmla="*/ 44 h 88"/>
                  <a:gd name="T22" fmla="*/ 2 w 42"/>
                  <a:gd name="T23" fmla="*/ 44 h 88"/>
                  <a:gd name="T24" fmla="*/ 0 w 42"/>
                  <a:gd name="T25" fmla="*/ 46 h 88"/>
                  <a:gd name="T26" fmla="*/ 2 w 42"/>
                  <a:gd name="T27" fmla="*/ 48 h 88"/>
                  <a:gd name="T28" fmla="*/ 10 w 42"/>
                  <a:gd name="T29" fmla="*/ 48 h 88"/>
                  <a:gd name="T30" fmla="*/ 10 w 42"/>
                  <a:gd name="T31" fmla="*/ 78 h 88"/>
                  <a:gd name="T32" fmla="*/ 12 w 42"/>
                  <a:gd name="T33" fmla="*/ 80 h 88"/>
                  <a:gd name="T34" fmla="*/ 22 w 42"/>
                  <a:gd name="T35" fmla="*/ 80 h 88"/>
                  <a:gd name="T36" fmla="*/ 22 w 42"/>
                  <a:gd name="T37" fmla="*/ 86 h 88"/>
                  <a:gd name="T38" fmla="*/ 24 w 42"/>
                  <a:gd name="T39" fmla="*/ 88 h 88"/>
                  <a:gd name="T40" fmla="*/ 40 w 42"/>
                  <a:gd name="T41" fmla="*/ 88 h 88"/>
                  <a:gd name="T42" fmla="*/ 42 w 42"/>
                  <a:gd name="T43" fmla="*/ 86 h 88"/>
                  <a:gd name="T44" fmla="*/ 42 w 42"/>
                  <a:gd name="T45" fmla="*/ 70 h 88"/>
                  <a:gd name="T46" fmla="*/ 40 w 42"/>
                  <a:gd name="T47" fmla="*/ 68 h 88"/>
                  <a:gd name="T48" fmla="*/ 24 w 42"/>
                  <a:gd name="T49" fmla="*/ 68 h 88"/>
                  <a:gd name="T50" fmla="*/ 22 w 42"/>
                  <a:gd name="T51" fmla="*/ 70 h 88"/>
                  <a:gd name="T52" fmla="*/ 22 w 42"/>
                  <a:gd name="T53" fmla="*/ 76 h 88"/>
                  <a:gd name="T54" fmla="*/ 14 w 42"/>
                  <a:gd name="T55" fmla="*/ 76 h 88"/>
                  <a:gd name="T56" fmla="*/ 14 w 42"/>
                  <a:gd name="T57" fmla="*/ 48 h 88"/>
                  <a:gd name="T58" fmla="*/ 22 w 42"/>
                  <a:gd name="T59" fmla="*/ 48 h 88"/>
                  <a:gd name="T60" fmla="*/ 22 w 42"/>
                  <a:gd name="T61" fmla="*/ 54 h 88"/>
                  <a:gd name="T62" fmla="*/ 24 w 42"/>
                  <a:gd name="T63" fmla="*/ 56 h 88"/>
                  <a:gd name="T64" fmla="*/ 40 w 42"/>
                  <a:gd name="T65" fmla="*/ 56 h 88"/>
                  <a:gd name="T66" fmla="*/ 42 w 42"/>
                  <a:gd name="T67" fmla="*/ 54 h 88"/>
                  <a:gd name="T68" fmla="*/ 42 w 42"/>
                  <a:gd name="T69" fmla="*/ 38 h 88"/>
                  <a:gd name="T70" fmla="*/ 40 w 42"/>
                  <a:gd name="T71" fmla="*/ 36 h 88"/>
                  <a:gd name="T72" fmla="*/ 24 w 42"/>
                  <a:gd name="T73" fmla="*/ 36 h 88"/>
                  <a:gd name="T74" fmla="*/ 22 w 42"/>
                  <a:gd name="T75" fmla="*/ 38 h 88"/>
                  <a:gd name="T76" fmla="*/ 22 w 42"/>
                  <a:gd name="T77" fmla="*/ 44 h 88"/>
                  <a:gd name="T78" fmla="*/ 14 w 42"/>
                  <a:gd name="T79" fmla="*/ 44 h 88"/>
                  <a:gd name="T80" fmla="*/ 14 w 42"/>
                  <a:gd name="T81" fmla="*/ 12 h 88"/>
                  <a:gd name="T82" fmla="*/ 22 w 42"/>
                  <a:gd name="T83" fmla="*/ 12 h 88"/>
                  <a:gd name="T84" fmla="*/ 22 w 42"/>
                  <a:gd name="T85" fmla="*/ 18 h 88"/>
                  <a:gd name="T86" fmla="*/ 24 w 42"/>
                  <a:gd name="T87" fmla="*/ 2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88">
                    <a:moveTo>
                      <a:pt x="24" y="20"/>
                    </a:moveTo>
                    <a:cubicBezTo>
                      <a:pt x="40" y="20"/>
                      <a:pt x="40" y="20"/>
                      <a:pt x="40" y="20"/>
                    </a:cubicBezTo>
                    <a:cubicBezTo>
                      <a:pt x="41" y="20"/>
                      <a:pt x="42" y="19"/>
                      <a:pt x="42" y="18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1"/>
                      <a:pt x="41" y="0"/>
                      <a:pt x="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3" y="0"/>
                      <a:pt x="22" y="1"/>
                      <a:pt x="22" y="2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10" y="9"/>
                      <a:pt x="10" y="10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5"/>
                      <a:pt x="0" y="46"/>
                    </a:cubicBezTo>
                    <a:cubicBezTo>
                      <a:pt x="0" y="47"/>
                      <a:pt x="1" y="48"/>
                      <a:pt x="2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0" y="78"/>
                      <a:pt x="10" y="78"/>
                      <a:pt x="10" y="78"/>
                    </a:cubicBezTo>
                    <a:cubicBezTo>
                      <a:pt x="10" y="79"/>
                      <a:pt x="11" y="80"/>
                      <a:pt x="12" y="80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2" y="87"/>
                      <a:pt x="23" y="88"/>
                      <a:pt x="24" y="88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1" y="88"/>
                      <a:pt x="42" y="87"/>
                      <a:pt x="42" y="86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2" y="69"/>
                      <a:pt x="41" y="68"/>
                      <a:pt x="40" y="68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3" y="68"/>
                      <a:pt x="22" y="69"/>
                      <a:pt x="22" y="70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5"/>
                      <a:pt x="23" y="56"/>
                      <a:pt x="24" y="56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1" y="56"/>
                      <a:pt x="42" y="55"/>
                      <a:pt x="42" y="54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2" y="37"/>
                      <a:pt x="41" y="36"/>
                      <a:pt x="40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7"/>
                      <a:pt x="22" y="38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9"/>
                      <a:pt x="23" y="20"/>
                      <a:pt x="2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Oval 37">
                <a:extLst>
                  <a:ext uri="{FF2B5EF4-FFF2-40B4-BE49-F238E27FC236}">
                    <a16:creationId xmlns:a16="http://schemas.microsoft.com/office/drawing/2014/main" id="{14856741-3221-4FBE-B12E-EED32B133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3900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38">
                <a:extLst>
                  <a:ext uri="{FF2B5EF4-FFF2-40B4-BE49-F238E27FC236}">
                    <a16:creationId xmlns:a16="http://schemas.microsoft.com/office/drawing/2014/main" id="{769AC9B2-3A3F-46A2-BFD7-77DB627DD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7388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F6EB015-2706-3956-AC2A-0BB9E10E8388}"/>
              </a:ext>
            </a:extLst>
          </p:cNvPr>
          <p:cNvGrpSpPr/>
          <p:nvPr/>
        </p:nvGrpSpPr>
        <p:grpSpPr>
          <a:xfrm>
            <a:off x="4922296" y="1427821"/>
            <a:ext cx="1246924" cy="1135286"/>
            <a:chOff x="3908638" y="1453602"/>
            <a:chExt cx="1246924" cy="1135286"/>
          </a:xfrm>
        </p:grpSpPr>
        <p:sp>
          <p:nvSpPr>
            <p:cNvPr id="1029" name="Freeform 22">
              <a:extLst>
                <a:ext uri="{FF2B5EF4-FFF2-40B4-BE49-F238E27FC236}">
                  <a16:creationId xmlns:a16="http://schemas.microsoft.com/office/drawing/2014/main" id="{0437B39D-17C8-4C5C-AF7B-FB699FFD605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4458" y="1397784"/>
              <a:ext cx="1135285" cy="1246922"/>
            </a:xfrm>
            <a:custGeom>
              <a:avLst/>
              <a:gdLst>
                <a:gd name="T0" fmla="*/ 8 w 319"/>
                <a:gd name="T1" fmla="*/ 348 h 351"/>
                <a:gd name="T2" fmla="*/ 7 w 319"/>
                <a:gd name="T3" fmla="*/ 348 h 351"/>
                <a:gd name="T4" fmla="*/ 1 w 319"/>
                <a:gd name="T5" fmla="*/ 348 h 351"/>
                <a:gd name="T6" fmla="*/ 0 w 319"/>
                <a:gd name="T7" fmla="*/ 348 h 351"/>
                <a:gd name="T8" fmla="*/ 27 w 319"/>
                <a:gd name="T9" fmla="*/ 323 h 351"/>
                <a:gd name="T10" fmla="*/ 36 w 319"/>
                <a:gd name="T11" fmla="*/ 295 h 351"/>
                <a:gd name="T12" fmla="*/ 109 w 319"/>
                <a:gd name="T13" fmla="*/ 97 h 351"/>
                <a:gd name="T14" fmla="*/ 317 w 319"/>
                <a:gd name="T15" fmla="*/ 55 h 351"/>
                <a:gd name="T16" fmla="*/ 319 w 319"/>
                <a:gd name="T17" fmla="*/ 56 h 351"/>
                <a:gd name="T18" fmla="*/ 223 w 319"/>
                <a:gd name="T19" fmla="*/ 216 h 351"/>
                <a:gd name="T20" fmla="*/ 8 w 319"/>
                <a:gd name="T21" fmla="*/ 348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9" h="351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5" y="348"/>
                    <a:pt x="3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318" y="55"/>
                    <a:pt x="319" y="56"/>
                    <a:pt x="319" y="56"/>
                  </a:cubicBezTo>
                  <a:cubicBezTo>
                    <a:pt x="319" y="56"/>
                    <a:pt x="220" y="121"/>
                    <a:pt x="223" y="216"/>
                  </a:cubicBezTo>
                  <a:cubicBezTo>
                    <a:pt x="227" y="308"/>
                    <a:pt x="117" y="351"/>
                    <a:pt x="8" y="348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Freeform 23">
              <a:extLst>
                <a:ext uri="{FF2B5EF4-FFF2-40B4-BE49-F238E27FC236}">
                  <a16:creationId xmlns:a16="http://schemas.microsoft.com/office/drawing/2014/main" id="{D6F2C635-2755-43BF-8CB9-82089018CC6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3511" y="1406299"/>
              <a:ext cx="1127716" cy="1237461"/>
            </a:xfrm>
            <a:custGeom>
              <a:avLst/>
              <a:gdLst>
                <a:gd name="T0" fmla="*/ 8 w 317"/>
                <a:gd name="T1" fmla="*/ 348 h 348"/>
                <a:gd name="T2" fmla="*/ 7 w 317"/>
                <a:gd name="T3" fmla="*/ 348 h 348"/>
                <a:gd name="T4" fmla="*/ 1 w 317"/>
                <a:gd name="T5" fmla="*/ 348 h 348"/>
                <a:gd name="T6" fmla="*/ 0 w 317"/>
                <a:gd name="T7" fmla="*/ 348 h 348"/>
                <a:gd name="T8" fmla="*/ 27 w 317"/>
                <a:gd name="T9" fmla="*/ 323 h 348"/>
                <a:gd name="T10" fmla="*/ 36 w 317"/>
                <a:gd name="T11" fmla="*/ 295 h 348"/>
                <a:gd name="T12" fmla="*/ 109 w 317"/>
                <a:gd name="T13" fmla="*/ 97 h 348"/>
                <a:gd name="T14" fmla="*/ 317 w 317"/>
                <a:gd name="T15" fmla="*/ 55 h 348"/>
                <a:gd name="T16" fmla="*/ 162 w 317"/>
                <a:gd name="T17" fmla="*/ 184 h 348"/>
                <a:gd name="T18" fmla="*/ 8 w 317"/>
                <a:gd name="T19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348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4" y="348"/>
                    <a:pt x="1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247" y="54"/>
                    <a:pt x="155" y="73"/>
                    <a:pt x="162" y="184"/>
                  </a:cubicBezTo>
                  <a:cubicBezTo>
                    <a:pt x="171" y="340"/>
                    <a:pt x="40" y="348"/>
                    <a:pt x="8" y="34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5D529A2-66AE-453D-9926-828EA49D810B}"/>
                </a:ext>
              </a:extLst>
            </p:cNvPr>
            <p:cNvGrpSpPr/>
            <p:nvPr/>
          </p:nvGrpSpPr>
          <p:grpSpPr>
            <a:xfrm>
              <a:off x="4581088" y="1951403"/>
              <a:ext cx="265156" cy="276985"/>
              <a:chOff x="2828925" y="-1609725"/>
              <a:chExt cx="427037" cy="446087"/>
            </a:xfrm>
            <a:solidFill>
              <a:schemeClr val="bg1"/>
            </a:solidFill>
          </p:grpSpPr>
          <p:sp>
            <p:nvSpPr>
              <p:cNvPr id="34" name="Freeform 39">
                <a:extLst>
                  <a:ext uri="{FF2B5EF4-FFF2-40B4-BE49-F238E27FC236}">
                    <a16:creationId xmlns:a16="http://schemas.microsoft.com/office/drawing/2014/main" id="{648145D7-1283-4F73-99E0-3E2AC50D2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8475" y="-1385888"/>
                <a:ext cx="217487" cy="222250"/>
              </a:xfrm>
              <a:custGeom>
                <a:avLst/>
                <a:gdLst>
                  <a:gd name="T0" fmla="*/ 24 w 48"/>
                  <a:gd name="T1" fmla="*/ 0 h 48"/>
                  <a:gd name="T2" fmla="*/ 0 w 48"/>
                  <a:gd name="T3" fmla="*/ 24 h 48"/>
                  <a:gd name="T4" fmla="*/ 24 w 48"/>
                  <a:gd name="T5" fmla="*/ 48 h 48"/>
                  <a:gd name="T6" fmla="*/ 48 w 48"/>
                  <a:gd name="T7" fmla="*/ 24 h 48"/>
                  <a:gd name="T8" fmla="*/ 24 w 48"/>
                  <a:gd name="T9" fmla="*/ 0 h 48"/>
                  <a:gd name="T10" fmla="*/ 24 w 48"/>
                  <a:gd name="T11" fmla="*/ 22 h 48"/>
                  <a:gd name="T12" fmla="*/ 31 w 48"/>
                  <a:gd name="T13" fmla="*/ 29 h 48"/>
                  <a:gd name="T14" fmla="*/ 26 w 48"/>
                  <a:gd name="T15" fmla="*/ 36 h 48"/>
                  <a:gd name="T16" fmla="*/ 26 w 48"/>
                  <a:gd name="T17" fmla="*/ 37 h 48"/>
                  <a:gd name="T18" fmla="*/ 24 w 48"/>
                  <a:gd name="T19" fmla="*/ 39 h 48"/>
                  <a:gd name="T20" fmla="*/ 22 w 48"/>
                  <a:gd name="T21" fmla="*/ 37 h 48"/>
                  <a:gd name="T22" fmla="*/ 22 w 48"/>
                  <a:gd name="T23" fmla="*/ 36 h 48"/>
                  <a:gd name="T24" fmla="*/ 17 w 48"/>
                  <a:gd name="T25" fmla="*/ 29 h 48"/>
                  <a:gd name="T26" fmla="*/ 19 w 48"/>
                  <a:gd name="T27" fmla="*/ 27 h 48"/>
                  <a:gd name="T28" fmla="*/ 21 w 48"/>
                  <a:gd name="T29" fmla="*/ 29 h 48"/>
                  <a:gd name="T30" fmla="*/ 24 w 48"/>
                  <a:gd name="T31" fmla="*/ 32 h 48"/>
                  <a:gd name="T32" fmla="*/ 27 w 48"/>
                  <a:gd name="T33" fmla="*/ 29 h 48"/>
                  <a:gd name="T34" fmla="*/ 24 w 48"/>
                  <a:gd name="T35" fmla="*/ 26 h 48"/>
                  <a:gd name="T36" fmla="*/ 17 w 48"/>
                  <a:gd name="T37" fmla="*/ 19 h 48"/>
                  <a:gd name="T38" fmla="*/ 22 w 48"/>
                  <a:gd name="T39" fmla="*/ 12 h 48"/>
                  <a:gd name="T40" fmla="*/ 22 w 48"/>
                  <a:gd name="T41" fmla="*/ 10 h 48"/>
                  <a:gd name="T42" fmla="*/ 24 w 48"/>
                  <a:gd name="T43" fmla="*/ 8 h 48"/>
                  <a:gd name="T44" fmla="*/ 26 w 48"/>
                  <a:gd name="T45" fmla="*/ 10 h 48"/>
                  <a:gd name="T46" fmla="*/ 26 w 48"/>
                  <a:gd name="T47" fmla="*/ 12 h 48"/>
                  <a:gd name="T48" fmla="*/ 31 w 48"/>
                  <a:gd name="T49" fmla="*/ 19 h 48"/>
                  <a:gd name="T50" fmla="*/ 29 w 48"/>
                  <a:gd name="T51" fmla="*/ 21 h 48"/>
                  <a:gd name="T52" fmla="*/ 27 w 48"/>
                  <a:gd name="T53" fmla="*/ 19 h 48"/>
                  <a:gd name="T54" fmla="*/ 24 w 48"/>
                  <a:gd name="T55" fmla="*/ 16 h 48"/>
                  <a:gd name="T56" fmla="*/ 21 w 48"/>
                  <a:gd name="T57" fmla="*/ 19 h 48"/>
                  <a:gd name="T58" fmla="*/ 24 w 48"/>
                  <a:gd name="T59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1"/>
                      <a:pt x="37" y="0"/>
                      <a:pt x="24" y="0"/>
                    </a:cubicBezTo>
                    <a:close/>
                    <a:moveTo>
                      <a:pt x="24" y="22"/>
                    </a:moveTo>
                    <a:cubicBezTo>
                      <a:pt x="28" y="22"/>
                      <a:pt x="31" y="25"/>
                      <a:pt x="31" y="29"/>
                    </a:cubicBezTo>
                    <a:cubicBezTo>
                      <a:pt x="31" y="32"/>
                      <a:pt x="29" y="35"/>
                      <a:pt x="26" y="36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6" y="38"/>
                      <a:pt x="25" y="39"/>
                      <a:pt x="24" y="39"/>
                    </a:cubicBezTo>
                    <a:cubicBezTo>
                      <a:pt x="23" y="39"/>
                      <a:pt x="22" y="38"/>
                      <a:pt x="22" y="37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5"/>
                      <a:pt x="17" y="32"/>
                      <a:pt x="17" y="29"/>
                    </a:cubicBezTo>
                    <a:cubicBezTo>
                      <a:pt x="17" y="28"/>
                      <a:pt x="18" y="27"/>
                      <a:pt x="19" y="27"/>
                    </a:cubicBezTo>
                    <a:cubicBezTo>
                      <a:pt x="20" y="27"/>
                      <a:pt x="21" y="28"/>
                      <a:pt x="21" y="29"/>
                    </a:cubicBezTo>
                    <a:cubicBezTo>
                      <a:pt x="21" y="31"/>
                      <a:pt x="22" y="32"/>
                      <a:pt x="24" y="32"/>
                    </a:cubicBezTo>
                    <a:cubicBezTo>
                      <a:pt x="26" y="32"/>
                      <a:pt x="27" y="31"/>
                      <a:pt x="27" y="29"/>
                    </a:cubicBezTo>
                    <a:cubicBezTo>
                      <a:pt x="27" y="27"/>
                      <a:pt x="26" y="26"/>
                      <a:pt x="24" y="26"/>
                    </a:cubicBezTo>
                    <a:cubicBezTo>
                      <a:pt x="20" y="26"/>
                      <a:pt x="17" y="23"/>
                      <a:pt x="17" y="19"/>
                    </a:cubicBezTo>
                    <a:cubicBezTo>
                      <a:pt x="17" y="15"/>
                      <a:pt x="19" y="13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3" y="8"/>
                      <a:pt x="24" y="8"/>
                    </a:cubicBezTo>
                    <a:cubicBezTo>
                      <a:pt x="25" y="8"/>
                      <a:pt x="26" y="9"/>
                      <a:pt x="26" y="10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9" y="13"/>
                      <a:pt x="31" y="15"/>
                      <a:pt x="31" y="19"/>
                    </a:cubicBezTo>
                    <a:cubicBezTo>
                      <a:pt x="31" y="20"/>
                      <a:pt x="30" y="21"/>
                      <a:pt x="29" y="21"/>
                    </a:cubicBezTo>
                    <a:cubicBezTo>
                      <a:pt x="28" y="21"/>
                      <a:pt x="27" y="20"/>
                      <a:pt x="27" y="19"/>
                    </a:cubicBezTo>
                    <a:cubicBezTo>
                      <a:pt x="27" y="17"/>
                      <a:pt x="26" y="16"/>
                      <a:pt x="24" y="16"/>
                    </a:cubicBezTo>
                    <a:cubicBezTo>
                      <a:pt x="22" y="16"/>
                      <a:pt x="21" y="17"/>
                      <a:pt x="21" y="19"/>
                    </a:cubicBezTo>
                    <a:cubicBezTo>
                      <a:pt x="21" y="20"/>
                      <a:pt x="22" y="22"/>
                      <a:pt x="24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Oval 40">
                <a:extLst>
                  <a:ext uri="{FF2B5EF4-FFF2-40B4-BE49-F238E27FC236}">
                    <a16:creationId xmlns:a16="http://schemas.microsoft.com/office/drawing/2014/main" id="{DE2FFF5A-4653-4AB2-B9AC-B7FB3ED18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438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41">
                <a:extLst>
                  <a:ext uri="{FF2B5EF4-FFF2-40B4-BE49-F238E27FC236}">
                    <a16:creationId xmlns:a16="http://schemas.microsoft.com/office/drawing/2014/main" id="{A2E1A2D5-03EB-44F1-B237-75E1EAC91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8925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00C74B2-E4EE-4103-392C-5E8472BB0301}"/>
              </a:ext>
            </a:extLst>
          </p:cNvPr>
          <p:cNvGrpSpPr/>
          <p:nvPr/>
        </p:nvGrpSpPr>
        <p:grpSpPr>
          <a:xfrm>
            <a:off x="6223320" y="199404"/>
            <a:ext cx="1002153" cy="1492900"/>
            <a:chOff x="5245276" y="281787"/>
            <a:chExt cx="1002153" cy="1492900"/>
          </a:xfrm>
        </p:grpSpPr>
        <p:sp>
          <p:nvSpPr>
            <p:cNvPr id="1031" name="Freeform 24">
              <a:extLst>
                <a:ext uri="{FF2B5EF4-FFF2-40B4-BE49-F238E27FC236}">
                  <a16:creationId xmlns:a16="http://schemas.microsoft.com/office/drawing/2014/main" id="{67BA18D1-9191-4BC1-8F31-002501E2DAA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08076" y="535334"/>
              <a:ext cx="1492900" cy="985806"/>
            </a:xfrm>
            <a:custGeom>
              <a:avLst/>
              <a:gdLst>
                <a:gd name="T0" fmla="*/ 6 w 419"/>
                <a:gd name="T1" fmla="*/ 209 h 277"/>
                <a:gd name="T2" fmla="*/ 6 w 419"/>
                <a:gd name="T3" fmla="*/ 209 h 277"/>
                <a:gd name="T4" fmla="*/ 0 w 419"/>
                <a:gd name="T5" fmla="*/ 206 h 277"/>
                <a:gd name="T6" fmla="*/ 0 w 419"/>
                <a:gd name="T7" fmla="*/ 206 h 277"/>
                <a:gd name="T8" fmla="*/ 35 w 419"/>
                <a:gd name="T9" fmla="*/ 197 h 277"/>
                <a:gd name="T10" fmla="*/ 56 w 419"/>
                <a:gd name="T11" fmla="*/ 176 h 277"/>
                <a:gd name="T12" fmla="*/ 214 w 419"/>
                <a:gd name="T13" fmla="*/ 35 h 277"/>
                <a:gd name="T14" fmla="*/ 417 w 419"/>
                <a:gd name="T15" fmla="*/ 96 h 277"/>
                <a:gd name="T16" fmla="*/ 419 w 419"/>
                <a:gd name="T17" fmla="*/ 99 h 277"/>
                <a:gd name="T18" fmla="*/ 259 w 419"/>
                <a:gd name="T19" fmla="*/ 194 h 277"/>
                <a:gd name="T20" fmla="*/ 6 w 419"/>
                <a:gd name="T21" fmla="*/ 20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9" h="277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4" y="208"/>
                    <a:pt x="2" y="207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418" y="98"/>
                    <a:pt x="419" y="99"/>
                    <a:pt x="419" y="99"/>
                  </a:cubicBezTo>
                  <a:cubicBezTo>
                    <a:pt x="419" y="99"/>
                    <a:pt x="300" y="109"/>
                    <a:pt x="259" y="194"/>
                  </a:cubicBezTo>
                  <a:cubicBezTo>
                    <a:pt x="218" y="277"/>
                    <a:pt x="102" y="264"/>
                    <a:pt x="6" y="209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2" name="Freeform 25">
              <a:extLst>
                <a:ext uri="{FF2B5EF4-FFF2-40B4-BE49-F238E27FC236}">
                  <a16:creationId xmlns:a16="http://schemas.microsoft.com/office/drawing/2014/main" id="{1C1CBF53-E24F-468A-BCFB-B002132842C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298" y="527767"/>
              <a:ext cx="1485332" cy="993375"/>
            </a:xfrm>
            <a:custGeom>
              <a:avLst/>
              <a:gdLst>
                <a:gd name="T0" fmla="*/ 6 w 417"/>
                <a:gd name="T1" fmla="*/ 209 h 279"/>
                <a:gd name="T2" fmla="*/ 6 w 417"/>
                <a:gd name="T3" fmla="*/ 209 h 279"/>
                <a:gd name="T4" fmla="*/ 0 w 417"/>
                <a:gd name="T5" fmla="*/ 206 h 279"/>
                <a:gd name="T6" fmla="*/ 0 w 417"/>
                <a:gd name="T7" fmla="*/ 206 h 279"/>
                <a:gd name="T8" fmla="*/ 35 w 417"/>
                <a:gd name="T9" fmla="*/ 197 h 279"/>
                <a:gd name="T10" fmla="*/ 56 w 417"/>
                <a:gd name="T11" fmla="*/ 176 h 279"/>
                <a:gd name="T12" fmla="*/ 214 w 417"/>
                <a:gd name="T13" fmla="*/ 35 h 279"/>
                <a:gd name="T14" fmla="*/ 417 w 417"/>
                <a:gd name="T15" fmla="*/ 96 h 279"/>
                <a:gd name="T16" fmla="*/ 220 w 417"/>
                <a:gd name="T17" fmla="*/ 138 h 279"/>
                <a:gd name="T18" fmla="*/ 6 w 417"/>
                <a:gd name="T19" fmla="*/ 20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279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7"/>
                    <a:pt x="1" y="206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356" y="63"/>
                    <a:pt x="266" y="37"/>
                    <a:pt x="220" y="138"/>
                  </a:cubicBezTo>
                  <a:cubicBezTo>
                    <a:pt x="154" y="279"/>
                    <a:pt x="35" y="225"/>
                    <a:pt x="6" y="209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1418ECD-59DD-4561-8195-B562479E1759}"/>
                </a:ext>
              </a:extLst>
            </p:cNvPr>
            <p:cNvGrpSpPr/>
            <p:nvPr/>
          </p:nvGrpSpPr>
          <p:grpSpPr>
            <a:xfrm>
              <a:off x="5441488" y="653926"/>
              <a:ext cx="265156" cy="276985"/>
              <a:chOff x="3700463" y="-1609725"/>
              <a:chExt cx="427037" cy="446087"/>
            </a:xfrm>
            <a:solidFill>
              <a:schemeClr val="bg1"/>
            </a:solidFill>
          </p:grpSpPr>
          <p:sp>
            <p:nvSpPr>
              <p:cNvPr id="37" name="Freeform 42">
                <a:extLst>
                  <a:ext uri="{FF2B5EF4-FFF2-40B4-BE49-F238E27FC236}">
                    <a16:creationId xmlns:a16="http://schemas.microsoft.com/office/drawing/2014/main" id="{1050D259-B672-4C7C-8FBA-C90F0A166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500" y="-1498600"/>
                <a:ext cx="41275" cy="55562"/>
              </a:xfrm>
              <a:custGeom>
                <a:avLst/>
                <a:gdLst>
                  <a:gd name="T0" fmla="*/ 0 w 26"/>
                  <a:gd name="T1" fmla="*/ 35 h 35"/>
                  <a:gd name="T2" fmla="*/ 26 w 26"/>
                  <a:gd name="T3" fmla="*/ 35 h 35"/>
                  <a:gd name="T4" fmla="*/ 11 w 26"/>
                  <a:gd name="T5" fmla="*/ 0 h 35"/>
                  <a:gd name="T6" fmla="*/ 0 w 26"/>
                  <a:gd name="T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35">
                    <a:moveTo>
                      <a:pt x="0" y="35"/>
                    </a:moveTo>
                    <a:lnTo>
                      <a:pt x="26" y="35"/>
                    </a:lnTo>
                    <a:lnTo>
                      <a:pt x="11" y="0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43">
                <a:extLst>
                  <a:ext uri="{FF2B5EF4-FFF2-40B4-BE49-F238E27FC236}">
                    <a16:creationId xmlns:a16="http://schemas.microsoft.com/office/drawing/2014/main" id="{A2133B48-8B3C-41FB-9525-8148C0F2D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63975" y="-1590675"/>
                <a:ext cx="263525" cy="277812"/>
              </a:xfrm>
              <a:custGeom>
                <a:avLst/>
                <a:gdLst>
                  <a:gd name="T0" fmla="*/ 56 w 58"/>
                  <a:gd name="T1" fmla="*/ 0 h 60"/>
                  <a:gd name="T2" fmla="*/ 4 w 58"/>
                  <a:gd name="T3" fmla="*/ 0 h 60"/>
                  <a:gd name="T4" fmla="*/ 8 w 58"/>
                  <a:gd name="T5" fmla="*/ 12 h 60"/>
                  <a:gd name="T6" fmla="*/ 0 w 58"/>
                  <a:gd name="T7" fmla="*/ 28 h 60"/>
                  <a:gd name="T8" fmla="*/ 10 w 58"/>
                  <a:gd name="T9" fmla="*/ 28 h 60"/>
                  <a:gd name="T10" fmla="*/ 16 w 58"/>
                  <a:gd name="T11" fmla="*/ 34 h 60"/>
                  <a:gd name="T12" fmla="*/ 9 w 58"/>
                  <a:gd name="T13" fmla="*/ 60 h 60"/>
                  <a:gd name="T14" fmla="*/ 56 w 58"/>
                  <a:gd name="T15" fmla="*/ 60 h 60"/>
                  <a:gd name="T16" fmla="*/ 58 w 58"/>
                  <a:gd name="T17" fmla="*/ 58 h 60"/>
                  <a:gd name="T18" fmla="*/ 58 w 58"/>
                  <a:gd name="T19" fmla="*/ 2 h 60"/>
                  <a:gd name="T20" fmla="*/ 56 w 58"/>
                  <a:gd name="T21" fmla="*/ 0 h 60"/>
                  <a:gd name="T22" fmla="*/ 45 w 58"/>
                  <a:gd name="T23" fmla="*/ 44 h 60"/>
                  <a:gd name="T24" fmla="*/ 43 w 58"/>
                  <a:gd name="T25" fmla="*/ 43 h 60"/>
                  <a:gd name="T26" fmla="*/ 40 w 58"/>
                  <a:gd name="T27" fmla="*/ 36 h 60"/>
                  <a:gd name="T28" fmla="*/ 28 w 58"/>
                  <a:gd name="T29" fmla="*/ 36 h 60"/>
                  <a:gd name="T30" fmla="*/ 26 w 58"/>
                  <a:gd name="T31" fmla="*/ 43 h 60"/>
                  <a:gd name="T32" fmla="*/ 23 w 58"/>
                  <a:gd name="T33" fmla="*/ 44 h 60"/>
                  <a:gd name="T34" fmla="*/ 22 w 58"/>
                  <a:gd name="T35" fmla="*/ 41 h 60"/>
                  <a:gd name="T36" fmla="*/ 32 w 58"/>
                  <a:gd name="T37" fmla="*/ 14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6" y="31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7" y="60"/>
                      <a:pt x="58" y="59"/>
                      <a:pt x="58" y="58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1"/>
                      <a:pt x="57" y="0"/>
                      <a:pt x="56" y="0"/>
                    </a:cubicBezTo>
                    <a:close/>
                    <a:moveTo>
                      <a:pt x="45" y="44"/>
                    </a:move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4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3" y="12"/>
                      <a:pt x="35" y="12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Oval 44">
                <a:extLst>
                  <a:ext uri="{FF2B5EF4-FFF2-40B4-BE49-F238E27FC236}">
                    <a16:creationId xmlns:a16="http://schemas.microsoft.com/office/drawing/2014/main" id="{B59DD594-59A8-4AAA-8B0F-18619E80EC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9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45">
                <a:extLst>
                  <a:ext uri="{FF2B5EF4-FFF2-40B4-BE49-F238E27FC236}">
                    <a16:creationId xmlns:a16="http://schemas.microsoft.com/office/drawing/2014/main" id="{CA8A1842-757C-440A-8E9A-835A56CB2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63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C6CB8AB-6405-222D-2B0D-00BEB7EA8A48}"/>
              </a:ext>
            </a:extLst>
          </p:cNvPr>
          <p:cNvGrpSpPr/>
          <p:nvPr/>
        </p:nvGrpSpPr>
        <p:grpSpPr>
          <a:xfrm>
            <a:off x="5447940" y="4159216"/>
            <a:ext cx="910121" cy="1398293"/>
            <a:chOff x="4292743" y="4212346"/>
            <a:chExt cx="910121" cy="1398293"/>
          </a:xfrm>
        </p:grpSpPr>
        <p:sp>
          <p:nvSpPr>
            <p:cNvPr id="1033" name="Freeform 26">
              <a:extLst>
                <a:ext uri="{FF2B5EF4-FFF2-40B4-BE49-F238E27FC236}">
                  <a16:creationId xmlns:a16="http://schemas.microsoft.com/office/drawing/2014/main" id="{95E1F7CA-2460-4FB8-A06D-5EA462B9BB5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48657" y="4456432"/>
              <a:ext cx="1398293" cy="910121"/>
            </a:xfrm>
            <a:custGeom>
              <a:avLst/>
              <a:gdLst>
                <a:gd name="T0" fmla="*/ 391 w 393"/>
                <a:gd name="T1" fmla="*/ 221 h 256"/>
                <a:gd name="T2" fmla="*/ 391 w 393"/>
                <a:gd name="T3" fmla="*/ 221 h 256"/>
                <a:gd name="T4" fmla="*/ 393 w 393"/>
                <a:gd name="T5" fmla="*/ 227 h 256"/>
                <a:gd name="T6" fmla="*/ 393 w 393"/>
                <a:gd name="T7" fmla="*/ 228 h 256"/>
                <a:gd name="T8" fmla="*/ 362 w 393"/>
                <a:gd name="T9" fmla="*/ 209 h 256"/>
                <a:gd name="T10" fmla="*/ 333 w 393"/>
                <a:gd name="T11" fmla="*/ 208 h 256"/>
                <a:gd name="T12" fmla="*/ 122 w 393"/>
                <a:gd name="T13" fmla="*/ 192 h 256"/>
                <a:gd name="T14" fmla="*/ 25 w 393"/>
                <a:gd name="T15" fmla="*/ 3 h 256"/>
                <a:gd name="T16" fmla="*/ 26 w 393"/>
                <a:gd name="T17" fmla="*/ 0 h 256"/>
                <a:gd name="T18" fmla="*/ 206 w 393"/>
                <a:gd name="T19" fmla="*/ 49 h 256"/>
                <a:gd name="T20" fmla="*/ 391 w 393"/>
                <a:gd name="T21" fmla="*/ 22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3" h="256">
                  <a:moveTo>
                    <a:pt x="391" y="221"/>
                  </a:moveTo>
                  <a:cubicBezTo>
                    <a:pt x="391" y="221"/>
                    <a:pt x="391" y="221"/>
                    <a:pt x="391" y="221"/>
                  </a:cubicBezTo>
                  <a:cubicBezTo>
                    <a:pt x="392" y="223"/>
                    <a:pt x="392" y="225"/>
                    <a:pt x="393" y="227"/>
                  </a:cubicBezTo>
                  <a:cubicBezTo>
                    <a:pt x="393" y="228"/>
                    <a:pt x="393" y="228"/>
                    <a:pt x="393" y="228"/>
                  </a:cubicBezTo>
                  <a:cubicBezTo>
                    <a:pt x="362" y="209"/>
                    <a:pt x="362" y="209"/>
                    <a:pt x="362" y="209"/>
                  </a:cubicBezTo>
                  <a:cubicBezTo>
                    <a:pt x="353" y="203"/>
                    <a:pt x="342" y="203"/>
                    <a:pt x="333" y="208"/>
                  </a:cubicBezTo>
                  <a:cubicBezTo>
                    <a:pt x="303" y="225"/>
                    <a:pt x="225" y="256"/>
                    <a:pt x="122" y="192"/>
                  </a:cubicBezTo>
                  <a:cubicBezTo>
                    <a:pt x="0" y="117"/>
                    <a:pt x="20" y="20"/>
                    <a:pt x="25" y="3"/>
                  </a:cubicBezTo>
                  <a:cubicBezTo>
                    <a:pt x="25" y="1"/>
                    <a:pt x="26" y="0"/>
                    <a:pt x="26" y="0"/>
                  </a:cubicBezTo>
                  <a:cubicBezTo>
                    <a:pt x="26" y="0"/>
                    <a:pt x="115" y="78"/>
                    <a:pt x="206" y="49"/>
                  </a:cubicBezTo>
                  <a:cubicBezTo>
                    <a:pt x="294" y="21"/>
                    <a:pt x="364" y="114"/>
                    <a:pt x="391" y="221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4" name="Freeform 27">
              <a:extLst>
                <a:ext uri="{FF2B5EF4-FFF2-40B4-BE49-F238E27FC236}">
                  <a16:creationId xmlns:a16="http://schemas.microsoft.com/office/drawing/2014/main" id="{882E41F4-7724-4CDE-B2F6-D4FBABBC6DC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53388" y="4461163"/>
              <a:ext cx="1398293" cy="900659"/>
            </a:xfrm>
            <a:custGeom>
              <a:avLst/>
              <a:gdLst>
                <a:gd name="T0" fmla="*/ 391 w 393"/>
                <a:gd name="T1" fmla="*/ 218 h 253"/>
                <a:gd name="T2" fmla="*/ 391 w 393"/>
                <a:gd name="T3" fmla="*/ 218 h 253"/>
                <a:gd name="T4" fmla="*/ 393 w 393"/>
                <a:gd name="T5" fmla="*/ 224 h 253"/>
                <a:gd name="T6" fmla="*/ 393 w 393"/>
                <a:gd name="T7" fmla="*/ 225 h 253"/>
                <a:gd name="T8" fmla="*/ 362 w 393"/>
                <a:gd name="T9" fmla="*/ 206 h 253"/>
                <a:gd name="T10" fmla="*/ 333 w 393"/>
                <a:gd name="T11" fmla="*/ 205 h 253"/>
                <a:gd name="T12" fmla="*/ 122 w 393"/>
                <a:gd name="T13" fmla="*/ 189 h 253"/>
                <a:gd name="T14" fmla="*/ 25 w 393"/>
                <a:gd name="T15" fmla="*/ 0 h 253"/>
                <a:gd name="T16" fmla="*/ 192 w 393"/>
                <a:gd name="T17" fmla="*/ 114 h 253"/>
                <a:gd name="T18" fmla="*/ 391 w 393"/>
                <a:gd name="T19" fmla="*/ 21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3" h="253">
                  <a:moveTo>
                    <a:pt x="391" y="218"/>
                  </a:moveTo>
                  <a:cubicBezTo>
                    <a:pt x="391" y="218"/>
                    <a:pt x="391" y="218"/>
                    <a:pt x="391" y="218"/>
                  </a:cubicBezTo>
                  <a:cubicBezTo>
                    <a:pt x="392" y="221"/>
                    <a:pt x="393" y="224"/>
                    <a:pt x="393" y="224"/>
                  </a:cubicBezTo>
                  <a:cubicBezTo>
                    <a:pt x="393" y="225"/>
                    <a:pt x="393" y="225"/>
                    <a:pt x="393" y="225"/>
                  </a:cubicBezTo>
                  <a:cubicBezTo>
                    <a:pt x="362" y="206"/>
                    <a:pt x="362" y="206"/>
                    <a:pt x="362" y="206"/>
                  </a:cubicBezTo>
                  <a:cubicBezTo>
                    <a:pt x="353" y="200"/>
                    <a:pt x="342" y="200"/>
                    <a:pt x="333" y="205"/>
                  </a:cubicBezTo>
                  <a:cubicBezTo>
                    <a:pt x="303" y="222"/>
                    <a:pt x="225" y="253"/>
                    <a:pt x="122" y="189"/>
                  </a:cubicBezTo>
                  <a:cubicBezTo>
                    <a:pt x="0" y="114"/>
                    <a:pt x="20" y="17"/>
                    <a:pt x="25" y="0"/>
                  </a:cubicBezTo>
                  <a:cubicBezTo>
                    <a:pt x="43" y="67"/>
                    <a:pt x="87" y="150"/>
                    <a:pt x="192" y="114"/>
                  </a:cubicBezTo>
                  <a:cubicBezTo>
                    <a:pt x="339" y="62"/>
                    <a:pt x="383" y="187"/>
                    <a:pt x="391" y="21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BD7076E-343F-4577-8E54-D6AD96035D05}"/>
                </a:ext>
              </a:extLst>
            </p:cNvPr>
            <p:cNvGrpSpPr/>
            <p:nvPr/>
          </p:nvGrpSpPr>
          <p:grpSpPr>
            <a:xfrm>
              <a:off x="4658125" y="4546357"/>
              <a:ext cx="264171" cy="276985"/>
              <a:chOff x="1085850" y="-1609725"/>
              <a:chExt cx="425450" cy="446087"/>
            </a:xfrm>
            <a:solidFill>
              <a:schemeClr val="bg1"/>
            </a:solidFill>
          </p:grpSpPr>
          <p:sp>
            <p:nvSpPr>
              <p:cNvPr id="41" name="Oval 46">
                <a:extLst>
                  <a:ext uri="{FF2B5EF4-FFF2-40B4-BE49-F238E27FC236}">
                    <a16:creationId xmlns:a16="http://schemas.microsoft.com/office/drawing/2014/main" id="{1F74837E-CF2C-4F4F-B425-4271EE06D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7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47">
                <a:extLst>
                  <a:ext uri="{FF2B5EF4-FFF2-40B4-BE49-F238E27FC236}">
                    <a16:creationId xmlns:a16="http://schemas.microsoft.com/office/drawing/2014/main" id="{300F8CEC-5C83-47CD-9420-2E8EB3F5F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48">
                <a:extLst>
                  <a:ext uri="{FF2B5EF4-FFF2-40B4-BE49-F238E27FC236}">
                    <a16:creationId xmlns:a16="http://schemas.microsoft.com/office/drawing/2014/main" id="{FF5AD5C1-42CE-4748-8786-59D579655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7775" y="-1573213"/>
                <a:ext cx="263525" cy="317500"/>
              </a:xfrm>
              <a:custGeom>
                <a:avLst/>
                <a:gdLst>
                  <a:gd name="T0" fmla="*/ 24 w 58"/>
                  <a:gd name="T1" fmla="*/ 0 h 68"/>
                  <a:gd name="T2" fmla="*/ 8 w 58"/>
                  <a:gd name="T3" fmla="*/ 4 h 68"/>
                  <a:gd name="T4" fmla="*/ 8 w 58"/>
                  <a:gd name="T5" fmla="*/ 8 h 68"/>
                  <a:gd name="T6" fmla="*/ 0 w 58"/>
                  <a:gd name="T7" fmla="*/ 24 h 68"/>
                  <a:gd name="T8" fmla="*/ 10 w 58"/>
                  <a:gd name="T9" fmla="*/ 24 h 68"/>
                  <a:gd name="T10" fmla="*/ 16 w 58"/>
                  <a:gd name="T11" fmla="*/ 30 h 68"/>
                  <a:gd name="T12" fmla="*/ 4 w 58"/>
                  <a:gd name="T13" fmla="*/ 61 h 68"/>
                  <a:gd name="T14" fmla="*/ 24 w 58"/>
                  <a:gd name="T15" fmla="*/ 68 h 68"/>
                  <a:gd name="T16" fmla="*/ 58 w 58"/>
                  <a:gd name="T17" fmla="*/ 34 h 68"/>
                  <a:gd name="T18" fmla="*/ 24 w 58"/>
                  <a:gd name="T19" fmla="*/ 0 h 68"/>
                  <a:gd name="T20" fmla="*/ 44 w 58"/>
                  <a:gd name="T21" fmla="*/ 36 h 68"/>
                  <a:gd name="T22" fmla="*/ 24 w 58"/>
                  <a:gd name="T23" fmla="*/ 36 h 68"/>
                  <a:gd name="T24" fmla="*/ 22 w 58"/>
                  <a:gd name="T25" fmla="*/ 34 h 68"/>
                  <a:gd name="T26" fmla="*/ 22 w 58"/>
                  <a:gd name="T27" fmla="*/ 12 h 68"/>
                  <a:gd name="T28" fmla="*/ 24 w 58"/>
                  <a:gd name="T29" fmla="*/ 10 h 68"/>
                  <a:gd name="T30" fmla="*/ 26 w 58"/>
                  <a:gd name="T31" fmla="*/ 12 h 68"/>
                  <a:gd name="T32" fmla="*/ 26 w 58"/>
                  <a:gd name="T33" fmla="*/ 32 h 68"/>
                  <a:gd name="T34" fmla="*/ 44 w 58"/>
                  <a:gd name="T35" fmla="*/ 32 h 68"/>
                  <a:gd name="T36" fmla="*/ 46 w 58"/>
                  <a:gd name="T37" fmla="*/ 34 h 68"/>
                  <a:gd name="T38" fmla="*/ 44 w 58"/>
                  <a:gd name="T39" fmla="*/ 3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" h="68">
                    <a:moveTo>
                      <a:pt x="24" y="0"/>
                    </a:moveTo>
                    <a:cubicBezTo>
                      <a:pt x="18" y="0"/>
                      <a:pt x="12" y="2"/>
                      <a:pt x="8" y="4"/>
                    </a:cubicBezTo>
                    <a:cubicBezTo>
                      <a:pt x="8" y="5"/>
                      <a:pt x="8" y="7"/>
                      <a:pt x="8" y="8"/>
                    </a:cubicBezTo>
                    <a:cubicBezTo>
                      <a:pt x="8" y="15"/>
                      <a:pt x="5" y="20"/>
                      <a:pt x="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7"/>
                      <a:pt x="16" y="30"/>
                    </a:cubicBezTo>
                    <a:cubicBezTo>
                      <a:pt x="16" y="43"/>
                      <a:pt x="12" y="55"/>
                      <a:pt x="4" y="61"/>
                    </a:cubicBezTo>
                    <a:cubicBezTo>
                      <a:pt x="10" y="66"/>
                      <a:pt x="17" y="68"/>
                      <a:pt x="24" y="68"/>
                    </a:cubicBezTo>
                    <a:cubicBezTo>
                      <a:pt x="43" y="68"/>
                      <a:pt x="58" y="53"/>
                      <a:pt x="58" y="34"/>
                    </a:cubicBezTo>
                    <a:cubicBezTo>
                      <a:pt x="58" y="15"/>
                      <a:pt x="43" y="0"/>
                      <a:pt x="24" y="0"/>
                    </a:cubicBezTo>
                    <a:close/>
                    <a:moveTo>
                      <a:pt x="44" y="36"/>
                    </a:move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5"/>
                      <a:pt x="22" y="34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1"/>
                      <a:pt x="23" y="10"/>
                      <a:pt x="24" y="10"/>
                    </a:cubicBezTo>
                    <a:cubicBezTo>
                      <a:pt x="25" y="10"/>
                      <a:pt x="26" y="11"/>
                      <a:pt x="26" y="12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2"/>
                      <a:pt x="46" y="33"/>
                      <a:pt x="46" y="34"/>
                    </a:cubicBezTo>
                    <a:cubicBezTo>
                      <a:pt x="46" y="35"/>
                      <a:pt x="45" y="36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3834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52" grpId="0"/>
      <p:bldP spid="55" grpId="0"/>
      <p:bldP spid="58" grpId="0"/>
      <p:bldP spid="6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8190E-BBBB-D80E-6B53-F0365506E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79058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II. THIẾT BỊ ĐẦU 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9918E7-20EA-6ABF-6B9C-7A3EDFFAA8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34" y="4467050"/>
            <a:ext cx="10762938" cy="1779376"/>
          </a:xfrm>
        </p:spPr>
        <p:txBody>
          <a:bodyPr>
            <a:normAutofit/>
          </a:bodyPr>
          <a:lstStyle/>
          <a:p>
            <a:r>
              <a:rPr lang="en-US" dirty="0"/>
              <a:t>Relay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công</a:t>
            </a:r>
            <a:r>
              <a:rPr lang="en-US" dirty="0"/>
              <a:t> </a:t>
            </a:r>
            <a:r>
              <a:rPr lang="en-US" dirty="0" err="1"/>
              <a:t>tắc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,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hoặc</a:t>
            </a:r>
            <a:r>
              <a:rPr lang="en-US" dirty="0"/>
              <a:t> </a:t>
            </a:r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mạch</a:t>
            </a:r>
            <a:r>
              <a:rPr lang="en-US" dirty="0"/>
              <a:t> </a:t>
            </a:r>
            <a:r>
              <a:rPr lang="en-US" dirty="0" err="1"/>
              <a:t>tải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lực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.</a:t>
            </a:r>
          </a:p>
          <a:p>
            <a:r>
              <a:rPr lang="en-US" dirty="0" err="1"/>
              <a:t>Quá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(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khiển</a:t>
            </a:r>
            <a:r>
              <a:rPr lang="en-US" dirty="0"/>
              <a:t>) </a:t>
            </a:r>
            <a:r>
              <a:rPr lang="en-US" dirty="0" err="1"/>
              <a:t>cỡ</a:t>
            </a:r>
            <a:r>
              <a:rPr lang="en-US" dirty="0"/>
              <a:t> </a:t>
            </a:r>
            <a:r>
              <a:rPr lang="en-US" dirty="0" err="1"/>
              <a:t>vài</a:t>
            </a:r>
            <a:r>
              <a:rPr lang="en-US" dirty="0"/>
              <a:t> </a:t>
            </a:r>
            <a:r>
              <a:rPr lang="en-US" dirty="0" err="1"/>
              <a:t>chục</a:t>
            </a:r>
            <a:r>
              <a:rPr lang="en-US" dirty="0"/>
              <a:t> mA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BDC132-DD49-D5ED-5D7F-4CD6107FD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928" y="1699644"/>
            <a:ext cx="5581275" cy="2602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D98ACC-B1E6-7083-D803-EBE86A460740}"/>
              </a:ext>
            </a:extLst>
          </p:cNvPr>
          <p:cNvSpPr txBox="1"/>
          <p:nvPr/>
        </p:nvSpPr>
        <p:spPr>
          <a:xfrm>
            <a:off x="838200" y="1073240"/>
            <a:ext cx="27606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1. Relay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từ</a:t>
            </a: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D27FBF-B5B2-5D9D-76BC-97D3C8D8DEA5}"/>
              </a:ext>
            </a:extLst>
          </p:cNvPr>
          <p:cNvGrpSpPr/>
          <p:nvPr/>
        </p:nvGrpSpPr>
        <p:grpSpPr>
          <a:xfrm>
            <a:off x="5701327" y="1534905"/>
            <a:ext cx="6419095" cy="3222865"/>
            <a:chOff x="5701327" y="1534905"/>
            <a:chExt cx="6419095" cy="322286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2809764-9248-1AD7-E862-48DF2E432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0F7FD"/>
                </a:clrFrom>
                <a:clrTo>
                  <a:srgbClr val="F0F7F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01327" y="1886552"/>
              <a:ext cx="2628143" cy="2133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AC47A6D-2008-4C9B-1A90-7B6EA4819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86853" y="1534905"/>
              <a:ext cx="3633569" cy="32228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0966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A829-09D9-06CB-6568-B7D19B54F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368"/>
            <a:ext cx="10515600" cy="699176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C00000"/>
                </a:solidFill>
              </a:rPr>
              <a:t>Cấu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ạo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và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hoạt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động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của</a:t>
            </a:r>
            <a:r>
              <a:rPr lang="en-US" dirty="0">
                <a:solidFill>
                  <a:srgbClr val="C00000"/>
                </a:solidFill>
              </a:rPr>
              <a:t> relay </a:t>
            </a:r>
            <a:r>
              <a:rPr lang="en-US" dirty="0" err="1">
                <a:solidFill>
                  <a:srgbClr val="C00000"/>
                </a:solidFill>
              </a:rPr>
              <a:t>điện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ừ</a:t>
            </a:r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17ADE4-25A4-82A1-6C53-BF39556FF3E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5712" y="764873"/>
            <a:ext cx="4791075" cy="34766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861C36-05D4-C218-C2F4-8003B1AC2DA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68915" y="1131948"/>
            <a:ext cx="5505003" cy="2934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EB3A55-417D-92C1-EB73-97F040A7DACC}"/>
              </a:ext>
            </a:extLst>
          </p:cNvPr>
          <p:cNvSpPr txBox="1"/>
          <p:nvPr/>
        </p:nvSpPr>
        <p:spPr>
          <a:xfrm>
            <a:off x="407894" y="4132192"/>
            <a:ext cx="1069423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hưa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ách</a:t>
            </a:r>
            <a:r>
              <a:rPr lang="en-US" sz="2400" dirty="0"/>
              <a:t> </a:t>
            </a:r>
            <a:r>
              <a:rPr lang="en-US" sz="2400" dirty="0" err="1"/>
              <a:t>rờ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lực</a:t>
            </a:r>
            <a:r>
              <a:rPr lang="en-US" sz="2400" dirty="0"/>
              <a:t> </a:t>
            </a:r>
            <a:r>
              <a:rPr lang="en-US" sz="2400" dirty="0" err="1"/>
              <a:t>từ</a:t>
            </a:r>
            <a:r>
              <a:rPr lang="en-US" sz="2400" dirty="0"/>
              <a:t> </a:t>
            </a:r>
            <a:r>
              <a:rPr lang="en-US" sz="2400" dirty="0" err="1"/>
              <a:t>hút</a:t>
            </a:r>
            <a:r>
              <a:rPr lang="en-US" sz="2400" dirty="0"/>
              <a:t> </a:t>
            </a:r>
            <a:r>
              <a:rPr lang="en-US" sz="2400" dirty="0" err="1"/>
              <a:t>miếng</a:t>
            </a:r>
            <a:r>
              <a:rPr lang="en-US" sz="2400" dirty="0"/>
              <a:t> </a:t>
            </a:r>
            <a:r>
              <a:rPr lang="en-US" sz="2400" dirty="0" err="1"/>
              <a:t>sắt</a:t>
            </a:r>
            <a:r>
              <a:rPr lang="en-US" sz="2400" dirty="0"/>
              <a:t> non </a:t>
            </a:r>
            <a:r>
              <a:rPr lang="en-US" sz="2400" dirty="0" err="1"/>
              <a:t>về</a:t>
            </a:r>
            <a:r>
              <a:rPr lang="en-US" sz="2400" dirty="0"/>
              <a:t> </a:t>
            </a:r>
            <a:r>
              <a:rPr lang="en-US" sz="2400" dirty="0" err="1"/>
              <a:t>phí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xúc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endParaRPr lang="en-US" sz="2400" dirty="0"/>
          </a:p>
          <a:p>
            <a:pPr marL="285750" indent="-285750">
              <a:buFontTx/>
              <a:buChar char="-"/>
            </a:pP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cấp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relay: relay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đầ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dương</a:t>
            </a:r>
            <a:r>
              <a:rPr lang="en-US" sz="2400" dirty="0"/>
              <a:t>,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âm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0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894048B-62BE-EE8F-578B-8C0BDA448F31}"/>
              </a:ext>
            </a:extLst>
          </p:cNvPr>
          <p:cNvGrpSpPr/>
          <p:nvPr/>
        </p:nvGrpSpPr>
        <p:grpSpPr>
          <a:xfrm>
            <a:off x="220781" y="4066703"/>
            <a:ext cx="11714043" cy="2791297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32886E9-924C-637D-47FA-797AAB100D81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AC24ADF0-7ED3-C2FD-AABC-0ED4F1F18FC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7A3CD8A-4729-1397-B818-7419EF4DA92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94F30CAE-CD8E-D2F2-95D6-FCCB709B4EE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B7F2536-7E64-2B75-71A8-FD076705EAE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62F7B437-C21A-E86E-8908-9CA0B5763B0C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03B85F0-ABE8-0E8B-9161-2A17D06DBC0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85BA887-B91F-0C46-8C02-A08D11DF6587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60B05C1-E852-4542-A677-D6416661048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22413F5-146A-F9FC-6DE7-474410D9B67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8BA7C054-EEEE-25FD-AF74-3F4BE19E8D2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D66C825-160B-4556-D127-1030441AED07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62C53E5F-5160-E073-4B20-0155EA36EE4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EA61BE53-BBB6-D7A6-F908-5D75865B8575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15979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</a:rPr>
              <a:t>2. Diode </a:t>
            </a:r>
            <a:r>
              <a:rPr lang="en-US" sz="3200" b="1" dirty="0" err="1">
                <a:solidFill>
                  <a:srgbClr val="CC3300"/>
                </a:solidFill>
              </a:rPr>
              <a:t>phát</a:t>
            </a:r>
            <a:r>
              <a:rPr lang="en-US" sz="3200" b="1" dirty="0">
                <a:solidFill>
                  <a:srgbClr val="CC3300"/>
                </a:solidFill>
              </a:rPr>
              <a:t> </a:t>
            </a:r>
            <a:r>
              <a:rPr lang="en-US" sz="3200" b="1" dirty="0" err="1">
                <a:solidFill>
                  <a:srgbClr val="CC3300"/>
                </a:solidFill>
              </a:rPr>
              <a:t>quang</a:t>
            </a:r>
            <a:r>
              <a:rPr lang="en-US" sz="3200" b="1" dirty="0">
                <a:solidFill>
                  <a:srgbClr val="CC3300"/>
                </a:solidFill>
              </a:rPr>
              <a:t> (LED)</a:t>
            </a:r>
            <a:endParaRPr lang="vi-VN" sz="3200" b="1" dirty="0">
              <a:solidFill>
                <a:srgbClr val="CC3300"/>
              </a:solidFill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D278E16E-3389-EE95-8799-45FDCF5EAC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59382" y="4105419"/>
            <a:ext cx="2987077" cy="2367116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13785" y="1609724"/>
            <a:ext cx="5299270" cy="4514851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10486AB-B360-7C47-C377-A864575D7658}"/>
              </a:ext>
            </a:extLst>
          </p:cNvPr>
          <p:cNvGrpSpPr/>
          <p:nvPr/>
        </p:nvGrpSpPr>
        <p:grpSpPr>
          <a:xfrm>
            <a:off x="5676285" y="1164559"/>
            <a:ext cx="2321546" cy="1925841"/>
            <a:chOff x="6880483" y="1512541"/>
            <a:chExt cx="2321546" cy="192584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EAFAE8-4423-AE74-CECD-70EC746B7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80483" y="1512541"/>
              <a:ext cx="2190750" cy="13335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E3D7111-ACE4-28AC-3632-C64E97742DB4}"/>
                </a:ext>
              </a:extLst>
            </p:cNvPr>
            <p:cNvSpPr txBox="1"/>
            <p:nvPr/>
          </p:nvSpPr>
          <p:spPr>
            <a:xfrm>
              <a:off x="6880483" y="2976717"/>
              <a:ext cx="23215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3333FF"/>
                  </a:solidFill>
                </a:rPr>
                <a:t>Kí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hiệu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của</a:t>
              </a:r>
              <a:r>
                <a:rPr lang="en-US" sz="2400" dirty="0">
                  <a:solidFill>
                    <a:srgbClr val="3333FF"/>
                  </a:solidFill>
                </a:rPr>
                <a:t> LE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55CBFFB-20B4-968C-AE1A-C8203434AEC7}"/>
              </a:ext>
            </a:extLst>
          </p:cNvPr>
          <p:cNvSpPr txBox="1"/>
          <p:nvPr/>
        </p:nvSpPr>
        <p:spPr>
          <a:xfrm>
            <a:off x="308501" y="1834473"/>
            <a:ext cx="488847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suất</a:t>
            </a:r>
            <a:r>
              <a:rPr lang="en-US" sz="2400" dirty="0"/>
              <a:t> </a:t>
            </a:r>
            <a:r>
              <a:rPr lang="en-US" sz="2400" dirty="0" err="1"/>
              <a:t>cao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diode </a:t>
            </a:r>
            <a:r>
              <a:rPr lang="en-US" sz="2400" dirty="0" err="1"/>
              <a:t>bán</a:t>
            </a:r>
            <a:r>
              <a:rPr lang="en-US" sz="2400" dirty="0"/>
              <a:t> </a:t>
            </a:r>
            <a:r>
              <a:rPr lang="en-US" sz="2400" dirty="0" err="1"/>
              <a:t>dẫn</a:t>
            </a:r>
            <a:r>
              <a:rPr lang="en-US" sz="2400" dirty="0"/>
              <a:t>,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phát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nếu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hạy</a:t>
            </a:r>
            <a:r>
              <a:rPr lang="en-US" sz="2400" dirty="0"/>
              <a:t> </a:t>
            </a:r>
            <a:r>
              <a:rPr lang="en-US" sz="2400" dirty="0" err="1"/>
              <a:t>theo</a:t>
            </a:r>
            <a:r>
              <a:rPr lang="en-US" sz="2400" dirty="0"/>
              <a:t> </a:t>
            </a:r>
            <a:r>
              <a:rPr lang="en-US" sz="2400" dirty="0" err="1"/>
              <a:t>chiều</a:t>
            </a:r>
            <a:r>
              <a:rPr lang="en-US" sz="2400" dirty="0"/>
              <a:t> </a:t>
            </a:r>
            <a:r>
              <a:rPr lang="en-US" sz="2400" dirty="0" err="1"/>
              <a:t>thuận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phù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, </a:t>
            </a:r>
            <a:r>
              <a:rPr lang="en-US" sz="2400" dirty="0" err="1"/>
              <a:t>tuy</a:t>
            </a:r>
            <a:r>
              <a:rPr lang="en-US" sz="2400" dirty="0"/>
              <a:t> </a:t>
            </a:r>
            <a:r>
              <a:rPr lang="en-US" sz="2400" dirty="0" err="1"/>
              <a:t>nhiên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đảm</a:t>
            </a:r>
            <a:r>
              <a:rPr lang="en-US" sz="2400" dirty="0"/>
              <a:t> </a:t>
            </a:r>
            <a:r>
              <a:rPr lang="en-US" sz="2400" dirty="0" err="1"/>
              <a:t>bả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hoạt</a:t>
            </a:r>
            <a:r>
              <a:rPr lang="en-US" sz="2400" dirty="0"/>
              <a:t> </a:t>
            </a:r>
            <a:r>
              <a:rPr lang="en-US" sz="2400" dirty="0" err="1"/>
              <a:t>độ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FB9BFE8-DF23-2991-4D61-0B796189ADC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56456" y="756738"/>
            <a:ext cx="2758679" cy="34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606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3454D-4B3D-CAB6-674B-1F4C3F14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56" y="141191"/>
            <a:ext cx="4097694" cy="1325563"/>
          </a:xfrm>
        </p:spPr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Bộ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E88E9-A503-43B1-AACE-B7180BEAF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456" y="1614196"/>
            <a:ext cx="7181538" cy="4709470"/>
          </a:xfrm>
          <a:ln w="28575">
            <a:solidFill>
              <a:schemeClr val="accent4">
                <a:lumMod val="75000"/>
              </a:schemeClr>
            </a:solidFill>
          </a:ln>
        </p:spPr>
        <p:txBody>
          <a:bodyPr>
            <a:noAutofit/>
          </a:bodyPr>
          <a:lstStyle/>
          <a:p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vì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đọ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rồi</a:t>
            </a:r>
            <a:r>
              <a:rPr lang="en-US" sz="2400" dirty="0"/>
              <a:t> </a:t>
            </a:r>
            <a:r>
              <a:rPr lang="en-US" sz="2400" dirty="0" err="1"/>
              <a:t>qu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, ta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kim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hiết</a:t>
            </a:r>
            <a:r>
              <a:rPr lang="en-US" sz="2400" dirty="0"/>
              <a:t>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chuẩn</a:t>
            </a:r>
            <a:r>
              <a:rPr lang="en-US" sz="2400" dirty="0"/>
              <a:t>, </a:t>
            </a:r>
            <a:r>
              <a:rPr lang="en-US" sz="2400" dirty="0" err="1"/>
              <a:t>đồng</a:t>
            </a:r>
            <a:r>
              <a:rPr lang="en-US" sz="2400" dirty="0"/>
              <a:t> </a:t>
            </a:r>
            <a:r>
              <a:rPr lang="en-US" sz="2400" dirty="0" err="1"/>
              <a:t>thời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áy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ánh</a:t>
            </a:r>
            <a:r>
              <a:rPr lang="en-US" sz="2400" dirty="0"/>
              <a:t> </a:t>
            </a:r>
            <a:r>
              <a:rPr lang="en-US" sz="2400" dirty="0" err="1"/>
              <a:t>dấu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ghi</a:t>
            </a:r>
            <a:r>
              <a:rPr lang="en-US" sz="2400" dirty="0"/>
              <a:t> </a:t>
            </a:r>
            <a:r>
              <a:rPr lang="en-US" sz="2400" dirty="0" err="1"/>
              <a:t>lạ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vừa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húng</a:t>
            </a:r>
            <a:r>
              <a:rPr lang="en-US" sz="2400" dirty="0"/>
              <a:t> ta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vạch</a:t>
            </a:r>
            <a:r>
              <a:rPr lang="en-US" sz="2400" dirty="0"/>
              <a:t> chia </a:t>
            </a:r>
            <a:r>
              <a:rPr lang="en-US" sz="2400" dirty="0" err="1"/>
              <a:t>mới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thang chia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34FD6E-A844-7CD4-BBA8-D106C1F642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29994" y="1614196"/>
            <a:ext cx="4683304" cy="20089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B25FD87-9622-6728-B962-88FFC163A78E}"/>
              </a:ext>
            </a:extLst>
          </p:cNvPr>
          <p:cNvSpPr txBox="1"/>
          <p:nvPr/>
        </p:nvSpPr>
        <p:spPr>
          <a:xfrm>
            <a:off x="7995721" y="4143689"/>
            <a:ext cx="40034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dirty="0">
                <a:solidFill>
                  <a:srgbClr val="3333FF"/>
                </a:solidFill>
              </a:rPr>
              <a:t>Thang chia </a:t>
            </a:r>
            <a:r>
              <a:rPr lang="en-US" sz="2300" dirty="0" err="1">
                <a:solidFill>
                  <a:srgbClr val="3333FF"/>
                </a:solidFill>
              </a:rPr>
              <a:t>độ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ính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xanh</a:t>
            </a:r>
            <a:r>
              <a:rPr lang="en-US" sz="2300" dirty="0">
                <a:solidFill>
                  <a:srgbClr val="3333FF"/>
                </a:solidFill>
              </a:rPr>
              <a:t>) </a:t>
            </a:r>
            <a:r>
              <a:rPr lang="en-US" sz="2300" dirty="0" err="1">
                <a:solidFill>
                  <a:srgbClr val="3333FF"/>
                </a:solidFill>
              </a:rPr>
              <a:t>và</a:t>
            </a:r>
            <a:r>
              <a:rPr lang="en-US" sz="2300" dirty="0">
                <a:solidFill>
                  <a:srgbClr val="3333FF"/>
                </a:solidFill>
              </a:rPr>
              <a:t> phi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đỏ</a:t>
            </a:r>
            <a:r>
              <a:rPr lang="en-US" sz="2300" dirty="0">
                <a:solidFill>
                  <a:srgbClr val="3333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10299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A50D3A-5A30-4D4B-BB97-F562F524E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595"/>
            <a:ext cx="10515600" cy="97631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800" b="1" dirty="0">
                <a:solidFill>
                  <a:srgbClr val="0070C0"/>
                </a:solidFill>
              </a:rPr>
              <a:t>BÀI 9. MẠCH ĐIỆN ĐƠN GIẢN CÓ SỬ DỤNG THIẾT BỊ ĐẦU RA</a:t>
            </a:r>
            <a:endParaRPr lang="en-US" sz="3800" b="1" dirty="0">
              <a:solidFill>
                <a:srgbClr val="142B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3" name="Graphic 81">
            <a:extLst>
              <a:ext uri="{FF2B5EF4-FFF2-40B4-BE49-F238E27FC236}">
                <a16:creationId xmlns:a16="http://schemas.microsoft.com/office/drawing/2014/main" id="{3F7F9442-31ED-4C65-BFDD-785A24081049}"/>
              </a:ext>
            </a:extLst>
          </p:cNvPr>
          <p:cNvGrpSpPr/>
          <p:nvPr/>
        </p:nvGrpSpPr>
        <p:grpSpPr>
          <a:xfrm>
            <a:off x="5331130" y="-383649"/>
            <a:ext cx="3009594" cy="5411531"/>
            <a:chOff x="3919402" y="1209385"/>
            <a:chExt cx="3965010" cy="4397638"/>
          </a:xfrm>
          <a:scene3d>
            <a:camera prst="isometricOffAxis2Top"/>
            <a:lightRig rig="contrasting" dir="t">
              <a:rot lat="0" lon="0" rev="4200000"/>
            </a:lightRig>
          </a:scene3d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0436767-717A-41B1-AA1C-207743AAD95B}"/>
                </a:ext>
              </a:extLst>
            </p:cNvPr>
            <p:cNvSpPr/>
            <p:nvPr/>
          </p:nvSpPr>
          <p:spPr>
            <a:xfrm>
              <a:off x="3919402" y="2899848"/>
              <a:ext cx="2697061" cy="2707175"/>
            </a:xfrm>
            <a:custGeom>
              <a:avLst/>
              <a:gdLst>
                <a:gd name="connsiteX0" fmla="*/ 2696558 w 2697061"/>
                <a:gd name="connsiteY0" fmla="*/ 2594077 h 2707176"/>
                <a:gd name="connsiteX1" fmla="*/ 111806 w 2697061"/>
                <a:gd name="connsiteY1" fmla="*/ 1341377 h 2707176"/>
                <a:gd name="connsiteX2" fmla="*/ 115149 w 2697061"/>
                <a:gd name="connsiteY2" fmla="*/ -238 h 2707176"/>
                <a:gd name="connsiteX3" fmla="*/ 996231 w 2697061"/>
                <a:gd name="connsiteY3" fmla="*/ 310524 h 2707176"/>
                <a:gd name="connsiteX4" fmla="*/ 1665714 w 2697061"/>
                <a:gd name="connsiteY4" fmla="*/ 1709652 h 2707176"/>
                <a:gd name="connsiteX5" fmla="*/ 2390186 w 2697061"/>
                <a:gd name="connsiteY5" fmla="*/ 1711461 h 270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061" h="2707176">
                  <a:moveTo>
                    <a:pt x="2696558" y="2594077"/>
                  </a:moveTo>
                  <a:cubicBezTo>
                    <a:pt x="1636872" y="2961913"/>
                    <a:pt x="479642" y="2401062"/>
                    <a:pt x="111806" y="1341377"/>
                  </a:cubicBezTo>
                  <a:cubicBezTo>
                    <a:pt x="-39080" y="906704"/>
                    <a:pt x="-37899" y="433673"/>
                    <a:pt x="115149" y="-238"/>
                  </a:cubicBezTo>
                  <a:lnTo>
                    <a:pt x="996231" y="310524"/>
                  </a:lnTo>
                  <a:cubicBezTo>
                    <a:pt x="794748" y="881758"/>
                    <a:pt x="1094481" y="1508170"/>
                    <a:pt x="1665714" y="1709652"/>
                  </a:cubicBezTo>
                  <a:cubicBezTo>
                    <a:pt x="1900030" y="1792300"/>
                    <a:pt x="2155461" y="1792938"/>
                    <a:pt x="2390186" y="1711461"/>
                  </a:cubicBezTo>
                  <a:close/>
                </a:path>
              </a:pathLst>
            </a:custGeom>
            <a:solidFill>
              <a:srgbClr val="C38A42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9143985-2F38-488A-92E4-C78D71385EA6}"/>
                </a:ext>
              </a:extLst>
            </p:cNvPr>
            <p:cNvSpPr/>
            <p:nvPr/>
          </p:nvSpPr>
          <p:spPr>
            <a:xfrm>
              <a:off x="5495943" y="1209385"/>
              <a:ext cx="2388469" cy="1450051"/>
            </a:xfrm>
            <a:custGeom>
              <a:avLst/>
              <a:gdLst>
                <a:gd name="connsiteX0" fmla="*/ -504 w 2388469"/>
                <a:gd name="connsiteY0" fmla="*/ 112284 h 1450051"/>
                <a:gd name="connsiteX1" fmla="*/ 2387966 w 2388469"/>
                <a:gd name="connsiteY1" fmla="*/ 954723 h 1450051"/>
                <a:gd name="connsiteX2" fmla="*/ 1595629 w 2388469"/>
                <a:gd name="connsiteY2" fmla="*/ 1449813 h 1450051"/>
                <a:gd name="connsiteX3" fmla="*/ 305867 w 2388469"/>
                <a:gd name="connsiteY3" fmla="*/ 994899 h 145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8469" h="1450051">
                  <a:moveTo>
                    <a:pt x="-504" y="112284"/>
                  </a:moveTo>
                  <a:cubicBezTo>
                    <a:pt x="894684" y="-198460"/>
                    <a:pt x="1885808" y="151127"/>
                    <a:pt x="2387966" y="954723"/>
                  </a:cubicBezTo>
                  <a:lnTo>
                    <a:pt x="1595629" y="1449813"/>
                  </a:lnTo>
                  <a:cubicBezTo>
                    <a:pt x="1324471" y="1015873"/>
                    <a:pt x="789271" y="827097"/>
                    <a:pt x="305867" y="994899"/>
                  </a:cubicBezTo>
                  <a:close/>
                </a:path>
              </a:pathLst>
            </a:custGeom>
            <a:solidFill>
              <a:srgbClr val="521F6F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0F7C5F1-208B-4574-9131-8A648661BB4A}"/>
              </a:ext>
            </a:extLst>
          </p:cNvPr>
          <p:cNvCxnSpPr>
            <a:cxnSpLocks/>
          </p:cNvCxnSpPr>
          <p:nvPr/>
        </p:nvCxnSpPr>
        <p:spPr>
          <a:xfrm flipH="1">
            <a:off x="1853322" y="2911033"/>
            <a:ext cx="3149600" cy="0"/>
          </a:xfrm>
          <a:prstGeom prst="line">
            <a:avLst/>
          </a:prstGeom>
          <a:ln>
            <a:solidFill>
              <a:srgbClr val="F2BA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424FE8A-7A53-4F2E-86B9-DA24556DB73D}"/>
              </a:ext>
            </a:extLst>
          </p:cNvPr>
          <p:cNvCxnSpPr>
            <a:cxnSpLocks/>
          </p:cNvCxnSpPr>
          <p:nvPr/>
        </p:nvCxnSpPr>
        <p:spPr>
          <a:xfrm flipH="1">
            <a:off x="8368484" y="2135529"/>
            <a:ext cx="2577682" cy="0"/>
          </a:xfrm>
          <a:prstGeom prst="line">
            <a:avLst/>
          </a:prstGeom>
          <a:ln>
            <a:solidFill>
              <a:srgbClr val="834F9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F6060698-691B-4B72-8F5D-D1919D021307}"/>
              </a:ext>
            </a:extLst>
          </p:cNvPr>
          <p:cNvSpPr txBox="1"/>
          <p:nvPr/>
        </p:nvSpPr>
        <p:spPr>
          <a:xfrm>
            <a:off x="386142" y="3076665"/>
            <a:ext cx="38239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1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ẠCH ĐIỆN TẠO TÍN HIỆU ĐIỀU KHIỂN THIẾT BỊ TỰ ĐỘNG SỬ DỤNG CẢM BIẾ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B6EA3EE-9245-4638-916F-89DCCE7972FC}"/>
              </a:ext>
            </a:extLst>
          </p:cNvPr>
          <p:cNvSpPr txBox="1"/>
          <p:nvPr/>
        </p:nvSpPr>
        <p:spPr>
          <a:xfrm>
            <a:off x="9058753" y="2533777"/>
            <a:ext cx="27471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32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MẠCH ĐIỆN ỨNG DỤNG CẢM BIẾ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BB55B2-8961-78EB-64E9-3CE0C15FAF1C}"/>
              </a:ext>
            </a:extLst>
          </p:cNvPr>
          <p:cNvGrpSpPr/>
          <p:nvPr/>
        </p:nvGrpSpPr>
        <p:grpSpPr>
          <a:xfrm>
            <a:off x="2548084" y="2135529"/>
            <a:ext cx="775504" cy="775504"/>
            <a:chOff x="2479541" y="3441090"/>
            <a:chExt cx="775504" cy="77550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D02C26C-5A05-488E-8CFC-F3413B06AB0A}"/>
                </a:ext>
              </a:extLst>
            </p:cNvPr>
            <p:cNvSpPr/>
            <p:nvPr/>
          </p:nvSpPr>
          <p:spPr>
            <a:xfrm>
              <a:off x="2479541" y="3441090"/>
              <a:ext cx="775504" cy="775504"/>
            </a:xfrm>
            <a:prstGeom prst="ellipse">
              <a:avLst/>
            </a:prstGeom>
            <a:solidFill>
              <a:srgbClr val="C38A4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6" name="Graphic 135" descr="Bar chart outline">
              <a:extLst>
                <a:ext uri="{FF2B5EF4-FFF2-40B4-BE49-F238E27FC236}">
                  <a16:creationId xmlns:a16="http://schemas.microsoft.com/office/drawing/2014/main" id="{5C725E9C-21AE-4C3F-8FE9-9686A7FBD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2768" y="3569767"/>
              <a:ext cx="511334" cy="51133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BC2CAFE-B7F3-1844-EF4D-B3463BBCA15B}"/>
              </a:ext>
            </a:extLst>
          </p:cNvPr>
          <p:cNvGrpSpPr/>
          <p:nvPr/>
        </p:nvGrpSpPr>
        <p:grpSpPr>
          <a:xfrm>
            <a:off x="10545345" y="1299485"/>
            <a:ext cx="775504" cy="775504"/>
            <a:chOff x="9537539" y="2322117"/>
            <a:chExt cx="775504" cy="77550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6037637-2A43-46A0-9DD6-A4D6098ED6C7}"/>
                </a:ext>
              </a:extLst>
            </p:cNvPr>
            <p:cNvSpPr/>
            <p:nvPr/>
          </p:nvSpPr>
          <p:spPr>
            <a:xfrm>
              <a:off x="9537539" y="2322117"/>
              <a:ext cx="775504" cy="775504"/>
            </a:xfrm>
            <a:prstGeom prst="ellipse">
              <a:avLst/>
            </a:prstGeom>
            <a:solidFill>
              <a:srgbClr val="521F6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8" name="Graphic 137" descr="Continuous Improvement outline">
              <a:extLst>
                <a:ext uri="{FF2B5EF4-FFF2-40B4-BE49-F238E27FC236}">
                  <a16:creationId xmlns:a16="http://schemas.microsoft.com/office/drawing/2014/main" id="{8D816388-32FE-4CDE-A04E-C87B858FE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602115" y="2386693"/>
              <a:ext cx="646352" cy="646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4327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  <p:bldP spid="13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5F82E74-FE5D-403C-9D8C-7D05F540E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32069" y="981190"/>
            <a:ext cx="5135152" cy="493965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C6D0A67-48F0-4450-BBCE-422E97A8C241}"/>
              </a:ext>
            </a:extLst>
          </p:cNvPr>
          <p:cNvGrpSpPr/>
          <p:nvPr/>
        </p:nvGrpSpPr>
        <p:grpSpPr>
          <a:xfrm>
            <a:off x="3516537" y="3220830"/>
            <a:ext cx="8448451" cy="1377191"/>
            <a:chOff x="1160525" y="1303334"/>
            <a:chExt cx="7518384" cy="1039698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13ED1F96-F8BA-4701-802F-8A1173641FE1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2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94D76CD9-144C-4061-94F6-2B34A3B5F236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B735A37-51A7-41BA-9986-A452357AB369}"/>
                </a:ext>
              </a:extLst>
            </p:cNvPr>
            <p:cNvSpPr/>
            <p:nvPr/>
          </p:nvSpPr>
          <p:spPr>
            <a:xfrm>
              <a:off x="4628203" y="1508406"/>
              <a:ext cx="4050706" cy="64541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BỘ KHUẾCH ĐẠI THUẬT TOÁN VÀ THIẾT BỊ ĐẦU RA</a:t>
              </a:r>
              <a:endPara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C9B9F82-5DFD-47B8-9109-C55958AD492A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12" name="Freeform 1840">
                <a:extLst>
                  <a:ext uri="{FF2B5EF4-FFF2-40B4-BE49-F238E27FC236}">
                    <a16:creationId xmlns:a16="http://schemas.microsoft.com/office/drawing/2014/main" id="{582954E9-58A9-4324-B03D-CA0896C1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13" name="Freeform 1841">
                <a:extLst>
                  <a:ext uri="{FF2B5EF4-FFF2-40B4-BE49-F238E27FC236}">
                    <a16:creationId xmlns:a16="http://schemas.microsoft.com/office/drawing/2014/main" id="{DEECE2C5-B7EE-46FB-B27D-B9BAF9748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ADF0E98-5AE7-4758-B4C2-387659F2882F}"/>
              </a:ext>
            </a:extLst>
          </p:cNvPr>
          <p:cNvGrpSpPr/>
          <p:nvPr/>
        </p:nvGrpSpPr>
        <p:grpSpPr>
          <a:xfrm>
            <a:off x="3539114" y="4885956"/>
            <a:ext cx="8425874" cy="1299721"/>
            <a:chOff x="1180617" y="1311265"/>
            <a:chExt cx="7498292" cy="1039698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C07F5E40-6474-4B0F-9A73-A62D3D0B0263}"/>
                </a:ext>
              </a:extLst>
            </p:cNvPr>
            <p:cNvSpPr/>
            <p:nvPr/>
          </p:nvSpPr>
          <p:spPr>
            <a:xfrm>
              <a:off x="1180617" y="1466816"/>
              <a:ext cx="2035354" cy="728595"/>
            </a:xfrm>
            <a:prstGeom prst="homePlat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3</a:t>
              </a: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16C6D25D-88FE-4A81-882C-5ED7F2453A38}"/>
                </a:ext>
              </a:extLst>
            </p:cNvPr>
            <p:cNvSpPr/>
            <p:nvPr/>
          </p:nvSpPr>
          <p:spPr>
            <a:xfrm>
              <a:off x="2726028" y="1311265"/>
              <a:ext cx="1795842" cy="103969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604FD61-A3E5-4D8A-9F83-E5E274C315BD}"/>
                </a:ext>
              </a:extLst>
            </p:cNvPr>
            <p:cNvSpPr/>
            <p:nvPr/>
          </p:nvSpPr>
          <p:spPr>
            <a:xfrm>
              <a:off x="4628203" y="1489172"/>
              <a:ext cx="4050706" cy="68387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accent2">
                      <a:lumMod val="7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MẠCH ĐIỆN ĐƠN GIẢN CÓ SỬ DỤNG THIẾT BỊ ĐẦU RA</a:t>
              </a:r>
              <a:endParaRPr lang="en-US" sz="2400" dirty="0">
                <a:solidFill>
                  <a:schemeClr val="accent2">
                    <a:lumMod val="75000"/>
                  </a:schemeClr>
                </a:solidFill>
                <a:latin typeface="Calibri Light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2B1F360-04B2-4F45-8968-61F097A8304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20" name="Freeform 1840">
                <a:extLst>
                  <a:ext uri="{FF2B5EF4-FFF2-40B4-BE49-F238E27FC236}">
                    <a16:creationId xmlns:a16="http://schemas.microsoft.com/office/drawing/2014/main" id="{AACDD2F8-AD28-4419-9218-90F2BDB4E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21" name="Freeform 1841">
                <a:extLst>
                  <a:ext uri="{FF2B5EF4-FFF2-40B4-BE49-F238E27FC236}">
                    <a16:creationId xmlns:a16="http://schemas.microsoft.com/office/drawing/2014/main" id="{6E2A5F99-ECC9-482B-9B79-33D30ACFB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1293567-6219-BA64-E9E8-C14BC72E7D44}"/>
              </a:ext>
            </a:extLst>
          </p:cNvPr>
          <p:cNvSpPr txBox="1"/>
          <p:nvPr/>
        </p:nvSpPr>
        <p:spPr>
          <a:xfrm>
            <a:off x="227012" y="128420"/>
            <a:ext cx="1173797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en-US" sz="4000" dirty="0">
                <a:solidFill>
                  <a:srgbClr val="373545"/>
                </a:solidFill>
                <a:latin typeface="Bahnschrift"/>
              </a:rPr>
              <a:t>CHUYÊN ĐỀ 3: MỞ ĐẦU VỀ ĐIỆN TỬ HỌC</a:t>
            </a:r>
            <a:endParaRPr lang="en-ID" sz="4000" dirty="0">
              <a:solidFill>
                <a:srgbClr val="373545"/>
              </a:solidFill>
              <a:latin typeface="Bahnschrif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8935173-84AF-366C-D9AE-938ED25E9565}"/>
              </a:ext>
            </a:extLst>
          </p:cNvPr>
          <p:cNvGrpSpPr/>
          <p:nvPr/>
        </p:nvGrpSpPr>
        <p:grpSpPr>
          <a:xfrm>
            <a:off x="3516537" y="1480440"/>
            <a:ext cx="8448451" cy="1385153"/>
            <a:chOff x="1160525" y="1303334"/>
            <a:chExt cx="7518384" cy="1039698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9A4489FA-B089-99A3-1B64-F15C6BF4F0AF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rgbClr val="3494BA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Bahnschrif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019013B0-CE5A-5CCF-F198-CA1AFA2F8D9C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rgbClr val="3494B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38D5B0C-14C4-1B7B-3809-509C820AE3EF}"/>
                </a:ext>
              </a:extLst>
            </p:cNvPr>
            <p:cNvSpPr/>
            <p:nvPr/>
          </p:nvSpPr>
          <p:spPr>
            <a:xfrm>
              <a:off x="4628203" y="1676594"/>
              <a:ext cx="4050706" cy="30903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13716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494BA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</a:rPr>
                <a:t>CẢM BIẾN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2C79567-19CC-2DD1-187E-3F76E0635F0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ysClr val="window" lastClr="FFFFFF"/>
            </a:solidFill>
          </p:grpSpPr>
          <p:sp>
            <p:nvSpPr>
              <p:cNvPr id="44" name="Freeform 1840">
                <a:extLst>
                  <a:ext uri="{FF2B5EF4-FFF2-40B4-BE49-F238E27FC236}">
                    <a16:creationId xmlns:a16="http://schemas.microsoft.com/office/drawing/2014/main" id="{3115E2DA-83F7-D0C9-911C-583F7BAC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45" name="Freeform 1841">
                <a:extLst>
                  <a:ext uri="{FF2B5EF4-FFF2-40B4-BE49-F238E27FC236}">
                    <a16:creationId xmlns:a16="http://schemas.microsoft.com/office/drawing/2014/main" id="{7655B43A-F15F-E30C-1A1E-84756ED2A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996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MẠCH ĐIỆN TẠO TÍN HIỆU ĐIỀU KHIỂN THIẾT BỊ TỰ ĐỘNG SỬ DỤNG CẢM BIẾ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18DEC3E-10AE-6512-686A-D1505E51F506}"/>
              </a:ext>
            </a:extLst>
          </p:cNvPr>
          <p:cNvGrpSpPr/>
          <p:nvPr/>
        </p:nvGrpSpPr>
        <p:grpSpPr>
          <a:xfrm>
            <a:off x="281853" y="526463"/>
            <a:ext cx="11376320" cy="2102720"/>
            <a:chOff x="188232" y="1012449"/>
            <a:chExt cx="11376320" cy="210272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11AF59E-A142-A667-E221-BE810BBF2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59599" y="1012449"/>
              <a:ext cx="11304953" cy="210272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DE07AAF-D1FD-7256-80A4-B0C911D19802}"/>
                </a:ext>
              </a:extLst>
            </p:cNvPr>
            <p:cNvSpPr txBox="1"/>
            <p:nvPr/>
          </p:nvSpPr>
          <p:spPr>
            <a:xfrm>
              <a:off x="188232" y="2233481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từ</a:t>
              </a:r>
              <a:r>
                <a:rPr lang="en-US" dirty="0"/>
                <a:t> </a:t>
              </a:r>
              <a:r>
                <a:rPr lang="en-US" dirty="0" err="1"/>
                <a:t>cảm</a:t>
              </a:r>
              <a:r>
                <a:rPr lang="en-US" dirty="0"/>
                <a:t> </a:t>
              </a:r>
              <a:r>
                <a:rPr lang="en-US" dirty="0" err="1"/>
                <a:t>biến</a:t>
              </a:r>
              <a:endParaRPr lang="en-US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657DA33-65A7-B25F-1A06-B3BD035CA904}"/>
                </a:ext>
              </a:extLst>
            </p:cNvPr>
            <p:cNvSpPr txBox="1"/>
            <p:nvPr/>
          </p:nvSpPr>
          <p:spPr>
            <a:xfrm>
              <a:off x="5520950" y="2147344"/>
              <a:ext cx="1150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đầu</a:t>
              </a:r>
              <a:r>
                <a:rPr lang="en-US" dirty="0"/>
                <a:t> </a:t>
              </a:r>
              <a:r>
                <a:rPr lang="en-US" dirty="0" err="1"/>
                <a:t>ra</a:t>
              </a:r>
              <a:endParaRPr lang="en-US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BB61147-B016-7C57-CDD3-0AC0E8694AB8}"/>
                </a:ext>
              </a:extLst>
            </p:cNvPr>
            <p:cNvSpPr txBox="1"/>
            <p:nvPr/>
          </p:nvSpPr>
          <p:spPr>
            <a:xfrm>
              <a:off x="7341038" y="1825190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Mạch</a:t>
              </a:r>
              <a:r>
                <a:rPr lang="en-US" dirty="0"/>
                <a:t> </a:t>
              </a:r>
              <a:r>
                <a:rPr lang="en-US" dirty="0" err="1"/>
                <a:t>điện</a:t>
              </a: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99E392A-76B2-FB52-EF9C-B8B7AE52773B}"/>
                </a:ext>
              </a:extLst>
            </p:cNvPr>
            <p:cNvSpPr txBox="1"/>
            <p:nvPr/>
          </p:nvSpPr>
          <p:spPr>
            <a:xfrm>
              <a:off x="9327117" y="1743078"/>
              <a:ext cx="148079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hiết</a:t>
              </a:r>
              <a:r>
                <a:rPr lang="en-US" dirty="0"/>
                <a:t> </a:t>
              </a:r>
              <a:r>
                <a:rPr lang="en-US" dirty="0" err="1"/>
                <a:t>bị</a:t>
              </a:r>
              <a:r>
                <a:rPr lang="en-US" dirty="0"/>
                <a:t> </a:t>
              </a:r>
              <a:r>
                <a:rPr lang="en-US" dirty="0" err="1"/>
                <a:t>cần</a:t>
              </a:r>
              <a:r>
                <a:rPr lang="en-US" dirty="0"/>
                <a:t> </a:t>
              </a:r>
              <a:r>
                <a:rPr lang="en-US" dirty="0" err="1"/>
                <a:t>điều</a:t>
              </a:r>
              <a:r>
                <a:rPr lang="en-US" dirty="0"/>
                <a:t> </a:t>
              </a:r>
              <a:r>
                <a:rPr lang="en-US" dirty="0" err="1"/>
                <a:t>khiển</a:t>
              </a:r>
              <a:endParaRPr lang="en-US" dirty="0"/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A0B6DA86-34DD-582B-226E-7DFCD64B582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285" y="3128545"/>
            <a:ext cx="4358833" cy="380432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136328" y="2873810"/>
            <a:ext cx="7914807" cy="381642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200" dirty="0"/>
              <a:t>Nếu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+)</a:t>
            </a:r>
            <a:r>
              <a:rPr lang="en-US" sz="2200" dirty="0" err="1"/>
              <a:t>cao</a:t>
            </a:r>
            <a:r>
              <a:rPr lang="en-US" sz="2200" dirty="0"/>
              <a:t> </a:t>
            </a:r>
            <a:r>
              <a:rPr lang="en-US" sz="2200" dirty="0" err="1"/>
              <a:t>hơn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-)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(U</a:t>
            </a:r>
            <a:r>
              <a:rPr lang="en-US" sz="2200" baseline="-25000" dirty="0"/>
              <a:t>r</a:t>
            </a:r>
            <a:r>
              <a:rPr lang="en-US" sz="2200" dirty="0"/>
              <a:t>)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dương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cao</a:t>
            </a:r>
            <a:r>
              <a:rPr lang="en-US" sz="2200" dirty="0"/>
              <a:t>). </a:t>
            </a:r>
            <a:r>
              <a:rPr lang="en-US" sz="2200" dirty="0" err="1"/>
              <a:t>Ngược</a:t>
            </a:r>
            <a:r>
              <a:rPr lang="en-US" sz="2200" dirty="0"/>
              <a:t> </a:t>
            </a:r>
            <a:r>
              <a:rPr lang="en-US" sz="2200" dirty="0" err="1"/>
              <a:t>lại</a:t>
            </a:r>
            <a:r>
              <a:rPr lang="en-US" sz="2200" dirty="0"/>
              <a:t>,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âm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thấp</a:t>
            </a:r>
            <a:r>
              <a:rPr lang="en-US" sz="2200" dirty="0"/>
              <a:t>)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0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0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. 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, R</a:t>
            </a:r>
            <a:r>
              <a:rPr lang="en-US" sz="2200" baseline="-25000" dirty="0"/>
              <a:t>2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R</a:t>
            </a:r>
            <a:r>
              <a:rPr lang="en-US" sz="2200" baseline="-25000" dirty="0"/>
              <a:t>2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theo</a:t>
            </a:r>
            <a:r>
              <a:rPr lang="en-US" sz="2200" dirty="0"/>
              <a:t> </a:t>
            </a:r>
            <a:r>
              <a:rPr lang="en-US" sz="2200" dirty="0" err="1"/>
              <a:t>sự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củ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vượt</a:t>
            </a:r>
            <a:r>
              <a:rPr lang="en-US" sz="2200" dirty="0"/>
              <a:t> qua U</a:t>
            </a:r>
            <a:r>
              <a:rPr lang="en-US" sz="2200" baseline="-25000" dirty="0"/>
              <a:t>0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giá</a:t>
            </a:r>
            <a:r>
              <a:rPr lang="en-US" sz="2200" dirty="0"/>
              <a:t> </a:t>
            </a:r>
            <a:r>
              <a:rPr lang="en-US" sz="2200" dirty="0" err="1"/>
              <a:t>trị</a:t>
            </a:r>
            <a:r>
              <a:rPr lang="en-US" sz="22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nối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với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relay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: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có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đóng</a:t>
            </a:r>
            <a:r>
              <a:rPr lang="en-US" sz="2200" dirty="0"/>
              <a:t> </a:t>
            </a:r>
            <a:r>
              <a:rPr lang="en-US" sz="2200" dirty="0" err="1"/>
              <a:t>ngắt</a:t>
            </a:r>
            <a:r>
              <a:rPr lang="en-US" sz="2200" dirty="0"/>
              <a:t> </a:t>
            </a:r>
            <a:r>
              <a:rPr lang="en-US" sz="2200" dirty="0" err="1"/>
              <a:t>mạch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 </a:t>
            </a:r>
            <a:r>
              <a:rPr lang="en-US" sz="2200" dirty="0" err="1"/>
              <a:t>ngưỡng</a:t>
            </a:r>
            <a:r>
              <a:rPr lang="en-US" sz="2200" dirty="0"/>
              <a:t> </a:t>
            </a:r>
            <a:r>
              <a:rPr lang="en-US" sz="2200" dirty="0" err="1"/>
              <a:t>tự</a:t>
            </a:r>
            <a:r>
              <a:rPr lang="en-US" sz="2200" dirty="0"/>
              <a:t> </a:t>
            </a:r>
            <a:r>
              <a:rPr lang="en-US" sz="2200" dirty="0" err="1"/>
              <a:t>động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440135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50824" y="1570741"/>
            <a:ext cx="5276927" cy="360836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qua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ỏ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ú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ờ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ố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lay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ó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ạc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è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uố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è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49942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1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iếu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sáng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D5DFB7-2595-E7B2-1444-57A720CF144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13560" y="1678899"/>
            <a:ext cx="6479352" cy="389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890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36633" y="1905506"/>
            <a:ext cx="5422935" cy="44947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á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ô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ò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ò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êu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ă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â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a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56038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2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ản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báo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ò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ỉ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khí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áy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ổ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4271D4-C34E-213C-984D-390B71012F8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09532" y="1557148"/>
            <a:ext cx="6087218" cy="484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77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5CB3D-E552-DE54-B1E6-3EF035B6B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/>
              <a:t>Thiết</a:t>
            </a:r>
            <a:r>
              <a:rPr lang="en-US" dirty="0"/>
              <a:t>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rò</a:t>
            </a:r>
            <a:r>
              <a:rPr lang="en-US" dirty="0"/>
              <a:t> </a:t>
            </a:r>
            <a:r>
              <a:rPr lang="en-US" dirty="0" err="1"/>
              <a:t>rỉ</a:t>
            </a:r>
            <a:r>
              <a:rPr lang="en-US" dirty="0"/>
              <a:t> </a:t>
            </a:r>
            <a:r>
              <a:rPr lang="en-US" dirty="0" err="1"/>
              <a:t>khí</a:t>
            </a:r>
            <a:r>
              <a:rPr lang="en-US" dirty="0"/>
              <a:t> </a:t>
            </a:r>
            <a:r>
              <a:rPr lang="en-US" dirty="0" err="1"/>
              <a:t>cháy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tế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2CF1CE-2219-4A03-7412-AD82E0B5FC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2866" y="1746956"/>
            <a:ext cx="5389432" cy="474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1947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70783" y="5157814"/>
            <a:ext cx="11518733" cy="949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à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ỏ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diode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í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C7C01-73D5-D275-B46B-CABC9AAFD8E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96587" y="1618300"/>
            <a:ext cx="2400142" cy="18182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D0AAD3-C7C4-463A-2A1B-53E3F0EA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49" y="1546150"/>
            <a:ext cx="3861434" cy="198750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D3FCDA0-3BF9-5615-DB65-8BF54686A058}"/>
              </a:ext>
            </a:extLst>
          </p:cNvPr>
          <p:cNvGrpSpPr/>
          <p:nvPr/>
        </p:nvGrpSpPr>
        <p:grpSpPr>
          <a:xfrm>
            <a:off x="124626" y="4711848"/>
            <a:ext cx="12067373" cy="1987503"/>
            <a:chOff x="619432" y="1061884"/>
            <a:chExt cx="10953136" cy="455970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F67CA3-6DFA-5A24-0598-87C89472097B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5572159-3461-5F46-4EB1-9732AAE13EF8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BCDFA68-3E36-4E2F-2EC3-B2BB039D5A9F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B32DC128-C7C4-C149-3A22-0F90E8B99880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F7A9EEA-24C7-BFEA-A719-494CDCBC7F44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3C8778AE-BC84-73B7-6B4F-18A732BB3B81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3AD1F89-D82B-C0E1-2E74-4048009D30B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7B8D74-73B1-59CB-465B-06D833D03E30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206E25C-5B53-1726-C8A5-AA1B5C623AF7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9580D64-325F-430A-D99E-4FD2BE164CB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556A333E-F90F-068E-310F-43B89F23CECF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AB8FDE1-E518-9519-7ED1-EFAF8DE13C8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24AE824D-31C9-5AB0-0ED6-967AEAA1E7AD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268E1435-4702-120F-7D08-FC61632A03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F6B24322-13D5-3988-494B-939970113090}"/>
              </a:ext>
            </a:extLst>
          </p:cNvPr>
          <p:cNvSpPr txBox="1"/>
          <p:nvPr/>
        </p:nvSpPr>
        <p:spPr>
          <a:xfrm>
            <a:off x="124626" y="654452"/>
            <a:ext cx="61055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en-US" sz="2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2D196E3-30BD-EDB6-8860-E9736A7478D8}"/>
              </a:ext>
            </a:extLst>
          </p:cNvPr>
          <p:cNvGrpSpPr/>
          <p:nvPr/>
        </p:nvGrpSpPr>
        <p:grpSpPr>
          <a:xfrm>
            <a:off x="6346821" y="1618300"/>
            <a:ext cx="4959421" cy="2454888"/>
            <a:chOff x="6296729" y="1090847"/>
            <a:chExt cx="4959421" cy="245488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5978AE4-430A-93BD-3112-B108E18E3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96729" y="1090847"/>
              <a:ext cx="2238375" cy="222885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84E5582-5D60-7E26-30A1-1C1A78772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826532" y="1116117"/>
              <a:ext cx="2429618" cy="2429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653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2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5592" y="4281499"/>
            <a:ext cx="11518733" cy="2278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sẽ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ay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ế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o</a:t>
            </a:r>
            <a:r>
              <a:rPr lang="en-US" sz="2400" dirty="0">
                <a:solidFill>
                  <a:prstClr val="black"/>
                </a:solidFill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, diode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- Led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ố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ếp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ớ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R (</a:t>
            </a:r>
            <a:r>
              <a:rPr lang="en-US" sz="2400" dirty="0" err="1">
                <a:solidFill>
                  <a:prstClr val="black"/>
                </a:solidFill>
              </a:rPr>
              <a:t>tr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là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ỏng</a:t>
            </a:r>
            <a:r>
              <a:rPr lang="en-US" sz="2400" dirty="0">
                <a:solidFill>
                  <a:prstClr val="black"/>
                </a:solidFill>
              </a:rPr>
              <a:t> diode).</a:t>
            </a:r>
          </a:p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e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. Khi </a:t>
            </a:r>
            <a:r>
              <a:rPr lang="en-US" sz="2400" dirty="0" err="1">
                <a:solidFill>
                  <a:prstClr val="black"/>
                </a:solidFill>
              </a:rPr>
              <a:t>c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iế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à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ủ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, </a:t>
            </a:r>
            <a:r>
              <a:rPr lang="en-US" sz="2400" dirty="0" err="1">
                <a:solidFill>
                  <a:prstClr val="black"/>
                </a:solidFill>
              </a:rPr>
              <a:t>cườ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ộ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hiều</a:t>
            </a:r>
            <a:r>
              <a:rPr lang="en-US" sz="24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34436" y="3794667"/>
            <a:ext cx="11931972" cy="2762794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06362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142267" y="3692838"/>
            <a:ext cx="12049733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ặ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ắ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e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ướ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uố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ư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ế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 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ì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o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ạ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ườ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ă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0" y="3534188"/>
            <a:ext cx="12191999" cy="3296711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823607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4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o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hiệt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8601" y="1114218"/>
            <a:ext cx="6096001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ù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ụ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ắ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ở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ọ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ố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ù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ợ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ớ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ang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ế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baseline="0" dirty="0">
                <a:solidFill>
                  <a:prstClr val="black"/>
                </a:solidFill>
                <a:latin typeface="Calibri" panose="020F0502020204030204"/>
              </a:rPr>
              <a:t>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711C59-9C74-E052-3FA7-98119A357B5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24602" y="796146"/>
            <a:ext cx="5184778" cy="39182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48F668-E2DA-5427-4C9B-2735AB348F00}"/>
              </a:ext>
            </a:extLst>
          </p:cNvPr>
          <p:cNvSpPr txBox="1"/>
          <p:nvPr/>
        </p:nvSpPr>
        <p:spPr>
          <a:xfrm>
            <a:off x="228601" y="4580220"/>
            <a:ext cx="11518733" cy="2278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Do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ệ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á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à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iế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ằ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728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4183" y="2148146"/>
            <a:ext cx="799930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â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ọ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ảm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ơ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ác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hầy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ô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đã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hú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ý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lắ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nghe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!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59FF603-E950-DD4E-8F14-6A0F194EC9C2}"/>
              </a:ext>
            </a:extLst>
          </p:cNvPr>
          <p:cNvGrpSpPr/>
          <p:nvPr/>
        </p:nvGrpSpPr>
        <p:grpSpPr>
          <a:xfrm rot="16200000">
            <a:off x="4486486" y="-534843"/>
            <a:ext cx="9799666" cy="5611360"/>
            <a:chOff x="1662392" y="2642901"/>
            <a:chExt cx="5685889" cy="325578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A8EF25-E3E5-6B4C-BF14-199378CC7127}"/>
                </a:ext>
              </a:extLst>
            </p:cNvPr>
            <p:cNvGrpSpPr/>
            <p:nvPr/>
          </p:nvGrpSpPr>
          <p:grpSpPr>
            <a:xfrm>
              <a:off x="1795719" y="2642901"/>
              <a:ext cx="5552562" cy="3255781"/>
              <a:chOff x="1817603" y="3015753"/>
              <a:chExt cx="2987108" cy="175151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CB8180E-4C9F-2E48-9B9C-C40EF1BE3B64}"/>
                  </a:ext>
                </a:extLst>
              </p:cNvPr>
              <p:cNvGrpSpPr/>
              <p:nvPr/>
            </p:nvGrpSpPr>
            <p:grpSpPr>
              <a:xfrm>
                <a:off x="4116676" y="3887758"/>
                <a:ext cx="688035" cy="779191"/>
                <a:chOff x="6748463" y="4673600"/>
                <a:chExt cx="874712" cy="990600"/>
              </a:xfrm>
              <a:solidFill>
                <a:schemeClr val="accent3">
                  <a:lumMod val="60000"/>
                  <a:lumOff val="40000"/>
                </a:schemeClr>
              </a:solidFill>
            </p:grpSpPr>
            <p:sp>
              <p:nvSpPr>
                <p:cNvPr id="150" name="Freeform 268">
                  <a:extLst>
                    <a:ext uri="{FF2B5EF4-FFF2-40B4-BE49-F238E27FC236}">
                      <a16:creationId xmlns:a16="http://schemas.microsoft.com/office/drawing/2014/main" id="{7F7F6903-8DC7-5247-A9CF-1A97B71A5B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48475" y="4673600"/>
                  <a:ext cx="441325" cy="414338"/>
                </a:xfrm>
                <a:custGeom>
                  <a:avLst/>
                  <a:gdLst>
                    <a:gd name="T0" fmla="*/ 64 w 1224"/>
                    <a:gd name="T1" fmla="*/ 479 h 1150"/>
                    <a:gd name="T2" fmla="*/ 134 w 1224"/>
                    <a:gd name="T3" fmla="*/ 983 h 1150"/>
                    <a:gd name="T4" fmla="*/ 1167 w 1224"/>
                    <a:gd name="T5" fmla="*/ 790 h 1150"/>
                    <a:gd name="T6" fmla="*/ 1167 w 1224"/>
                    <a:gd name="T7" fmla="*/ 792 h 1150"/>
                    <a:gd name="T8" fmla="*/ 1167 w 1224"/>
                    <a:gd name="T9" fmla="*/ 790 h 1150"/>
                    <a:gd name="T10" fmla="*/ 1168 w 1224"/>
                    <a:gd name="T11" fmla="*/ 788 h 1150"/>
                    <a:gd name="T12" fmla="*/ 68 w 1224"/>
                    <a:gd name="T13" fmla="*/ 732 h 1150"/>
                    <a:gd name="T14" fmla="*/ 103 w 1224"/>
                    <a:gd name="T15" fmla="*/ 326 h 1150"/>
                    <a:gd name="T16" fmla="*/ 104 w 1224"/>
                    <a:gd name="T17" fmla="*/ 324 h 1150"/>
                    <a:gd name="T18" fmla="*/ 652 w 1224"/>
                    <a:gd name="T19" fmla="*/ 96 h 1150"/>
                    <a:gd name="T20" fmla="*/ 327 w 1224"/>
                    <a:gd name="T21" fmla="*/ 86 h 1150"/>
                    <a:gd name="T22" fmla="*/ 327 w 1224"/>
                    <a:gd name="T23" fmla="*/ 86 h 1150"/>
                    <a:gd name="T24" fmla="*/ 526 w 1224"/>
                    <a:gd name="T25" fmla="*/ 60 h 1150"/>
                    <a:gd name="T26" fmla="*/ 521 w 1224"/>
                    <a:gd name="T27" fmla="*/ 59 h 1150"/>
                    <a:gd name="T28" fmla="*/ 521 w 1224"/>
                    <a:gd name="T29" fmla="*/ 59 h 1150"/>
                    <a:gd name="T30" fmla="*/ 773 w 1224"/>
                    <a:gd name="T31" fmla="*/ 166 h 1150"/>
                    <a:gd name="T32" fmla="*/ 895 w 1224"/>
                    <a:gd name="T33" fmla="*/ 293 h 1150"/>
                    <a:gd name="T34" fmla="*/ 985 w 1224"/>
                    <a:gd name="T35" fmla="*/ 426 h 1150"/>
                    <a:gd name="T36" fmla="*/ 1049 w 1224"/>
                    <a:gd name="T37" fmla="*/ 538 h 1150"/>
                    <a:gd name="T38" fmla="*/ 1153 w 1224"/>
                    <a:gd name="T39" fmla="*/ 749 h 1150"/>
                    <a:gd name="T40" fmla="*/ 1167 w 1224"/>
                    <a:gd name="T41" fmla="*/ 787 h 1150"/>
                    <a:gd name="T42" fmla="*/ 1166 w 1224"/>
                    <a:gd name="T43" fmla="*/ 795 h 1150"/>
                    <a:gd name="T44" fmla="*/ 1107 w 1224"/>
                    <a:gd name="T45" fmla="*/ 858 h 1150"/>
                    <a:gd name="T46" fmla="*/ 1001 w 1224"/>
                    <a:gd name="T47" fmla="*/ 918 h 1150"/>
                    <a:gd name="T48" fmla="*/ 781 w 1224"/>
                    <a:gd name="T49" fmla="*/ 996 h 1150"/>
                    <a:gd name="T50" fmla="*/ 418 w 1224"/>
                    <a:gd name="T51" fmla="*/ 1085 h 1150"/>
                    <a:gd name="T52" fmla="*/ 220 w 1224"/>
                    <a:gd name="T53" fmla="*/ 1088 h 1150"/>
                    <a:gd name="T54" fmla="*/ 185 w 1224"/>
                    <a:gd name="T55" fmla="*/ 1078 h 1150"/>
                    <a:gd name="T56" fmla="*/ 174 w 1224"/>
                    <a:gd name="T57" fmla="*/ 1059 h 1150"/>
                    <a:gd name="T58" fmla="*/ 151 w 1224"/>
                    <a:gd name="T59" fmla="*/ 1035 h 1150"/>
                    <a:gd name="T60" fmla="*/ 134 w 1224"/>
                    <a:gd name="T61" fmla="*/ 984 h 1150"/>
                    <a:gd name="T62" fmla="*/ 90 w 1224"/>
                    <a:gd name="T63" fmla="*/ 857 h 1150"/>
                    <a:gd name="T64" fmla="*/ 64 w 1224"/>
                    <a:gd name="T65" fmla="*/ 479 h 1150"/>
                    <a:gd name="T66" fmla="*/ 64 w 1224"/>
                    <a:gd name="T67" fmla="*/ 477 h 1150"/>
                    <a:gd name="T68" fmla="*/ 64 w 1224"/>
                    <a:gd name="T69" fmla="*/ 477 h 1150"/>
                    <a:gd name="T70" fmla="*/ 173 w 1224"/>
                    <a:gd name="T71" fmla="*/ 205 h 1150"/>
                    <a:gd name="T72" fmla="*/ 329 w 1224"/>
                    <a:gd name="T73" fmla="*/ 85 h 1150"/>
                    <a:gd name="T74" fmla="*/ 455 w 1224"/>
                    <a:gd name="T75" fmla="*/ 0 h 1150"/>
                    <a:gd name="T76" fmla="*/ 157 w 1224"/>
                    <a:gd name="T77" fmla="*/ 138 h 1150"/>
                    <a:gd name="T78" fmla="*/ 10 w 1224"/>
                    <a:gd name="T79" fmla="*/ 466 h 1150"/>
                    <a:gd name="T80" fmla="*/ 16 w 1224"/>
                    <a:gd name="T81" fmla="*/ 763 h 1150"/>
                    <a:gd name="T82" fmla="*/ 100 w 1224"/>
                    <a:gd name="T83" fmla="*/ 1041 h 1150"/>
                    <a:gd name="T84" fmla="*/ 125 w 1224"/>
                    <a:gd name="T85" fmla="*/ 1088 h 1150"/>
                    <a:gd name="T86" fmla="*/ 173 w 1224"/>
                    <a:gd name="T87" fmla="*/ 1134 h 1150"/>
                    <a:gd name="T88" fmla="*/ 279 w 1224"/>
                    <a:gd name="T89" fmla="*/ 1148 h 1150"/>
                    <a:gd name="T90" fmla="*/ 518 w 1224"/>
                    <a:gd name="T91" fmla="*/ 1124 h 1150"/>
                    <a:gd name="T92" fmla="*/ 861 w 1224"/>
                    <a:gd name="T93" fmla="*/ 1030 h 1150"/>
                    <a:gd name="T94" fmla="*/ 1003 w 1224"/>
                    <a:gd name="T95" fmla="*/ 977 h 1150"/>
                    <a:gd name="T96" fmla="*/ 1123 w 1224"/>
                    <a:gd name="T97" fmla="*/ 915 h 1150"/>
                    <a:gd name="T98" fmla="*/ 1207 w 1224"/>
                    <a:gd name="T99" fmla="*/ 835 h 1150"/>
                    <a:gd name="T100" fmla="*/ 1217 w 1224"/>
                    <a:gd name="T101" fmla="*/ 757 h 1150"/>
                    <a:gd name="T102" fmla="*/ 1193 w 1224"/>
                    <a:gd name="T103" fmla="*/ 703 h 1150"/>
                    <a:gd name="T104" fmla="*/ 1090 w 1224"/>
                    <a:gd name="T105" fmla="*/ 497 h 1150"/>
                    <a:gd name="T106" fmla="*/ 1029 w 1224"/>
                    <a:gd name="T107" fmla="*/ 391 h 1150"/>
                    <a:gd name="T108" fmla="*/ 905 w 1224"/>
                    <a:gd name="T109" fmla="*/ 217 h 1150"/>
                    <a:gd name="T110" fmla="*/ 627 w 1224"/>
                    <a:gd name="T111" fmla="*/ 28 h 1150"/>
                    <a:gd name="T112" fmla="*/ 455 w 1224"/>
                    <a:gd name="T113" fmla="*/ 0 h 1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224" h="1150">
                      <a:moveTo>
                        <a:pt x="64" y="477"/>
                      </a:moveTo>
                      <a:lnTo>
                        <a:pt x="64" y="477"/>
                      </a:lnTo>
                      <a:cubicBezTo>
                        <a:pt x="64" y="478"/>
                        <a:pt x="64" y="478"/>
                        <a:pt x="64" y="479"/>
                      </a:cubicBezTo>
                      <a:lnTo>
                        <a:pt x="64" y="479"/>
                      </a:lnTo>
                      <a:cubicBezTo>
                        <a:pt x="64" y="478"/>
                        <a:pt x="64" y="477"/>
                        <a:pt x="64" y="477"/>
                      </a:cubicBezTo>
                      <a:close/>
                      <a:moveTo>
                        <a:pt x="131" y="978"/>
                      </a:moveTo>
                      <a:lnTo>
                        <a:pt x="131" y="978"/>
                      </a:lnTo>
                      <a:cubicBezTo>
                        <a:pt x="132" y="980"/>
                        <a:pt x="133" y="981"/>
                        <a:pt x="134" y="983"/>
                      </a:cubicBezTo>
                      <a:lnTo>
                        <a:pt x="134" y="983"/>
                      </a:lnTo>
                      <a:cubicBezTo>
                        <a:pt x="133" y="981"/>
                        <a:pt x="132" y="980"/>
                        <a:pt x="131" y="978"/>
                      </a:cubicBezTo>
                      <a:close/>
                      <a:moveTo>
                        <a:pt x="1167" y="790"/>
                      </a:move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91"/>
                        <a:pt x="1167" y="791"/>
                        <a:pt x="1167" y="792"/>
                      </a:cubicBezTo>
                      <a:lnTo>
                        <a:pt x="1167" y="792"/>
                      </a:lnTo>
                      <a:cubicBezTo>
                        <a:pt x="1167" y="791"/>
                        <a:pt x="1167" y="791"/>
                        <a:pt x="1167" y="790"/>
                      </a:cubicBezTo>
                      <a:close/>
                      <a:moveTo>
                        <a:pt x="1168" y="788"/>
                      </a:moveTo>
                      <a:lnTo>
                        <a:pt x="1168" y="788"/>
                      </a:lnTo>
                      <a:cubicBezTo>
                        <a:pt x="1167" y="789"/>
                        <a:pt x="1167" y="790"/>
                        <a:pt x="1167" y="790"/>
                      </a:cubicBez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89"/>
                        <a:pt x="1167" y="789"/>
                        <a:pt x="1168" y="788"/>
                      </a:cubicBezTo>
                      <a:close/>
                      <a:moveTo>
                        <a:pt x="68" y="732"/>
                      </a:moveTo>
                      <a:lnTo>
                        <a:pt x="68" y="732"/>
                      </a:lnTo>
                      <a:cubicBezTo>
                        <a:pt x="68" y="732"/>
                        <a:pt x="68" y="733"/>
                        <a:pt x="68" y="735"/>
                      </a:cubicBezTo>
                      <a:lnTo>
                        <a:pt x="68" y="732"/>
                      </a:lnTo>
                      <a:close/>
                      <a:moveTo>
                        <a:pt x="104" y="324"/>
                      </a:moveTo>
                      <a:lnTo>
                        <a:pt x="104" y="324"/>
                      </a:lnTo>
                      <a:cubicBezTo>
                        <a:pt x="104" y="325"/>
                        <a:pt x="103" y="325"/>
                        <a:pt x="103" y="326"/>
                      </a:cubicBezTo>
                      <a:lnTo>
                        <a:pt x="103" y="326"/>
                      </a:lnTo>
                      <a:cubicBezTo>
                        <a:pt x="103" y="325"/>
                        <a:pt x="104" y="325"/>
                        <a:pt x="104" y="324"/>
                      </a:cubicBezTo>
                      <a:close/>
                      <a:moveTo>
                        <a:pt x="106" y="319"/>
                      </a:moveTo>
                      <a:lnTo>
                        <a:pt x="106" y="319"/>
                      </a:lnTo>
                      <a:cubicBezTo>
                        <a:pt x="105" y="321"/>
                        <a:pt x="105" y="322"/>
                        <a:pt x="104" y="324"/>
                      </a:cubicBezTo>
                      <a:lnTo>
                        <a:pt x="104" y="324"/>
                      </a:lnTo>
                      <a:cubicBezTo>
                        <a:pt x="105" y="322"/>
                        <a:pt x="105" y="321"/>
                        <a:pt x="106" y="319"/>
                      </a:cubicBezTo>
                      <a:close/>
                      <a:moveTo>
                        <a:pt x="652" y="96"/>
                      </a:moveTo>
                      <a:lnTo>
                        <a:pt x="652" y="96"/>
                      </a:lnTo>
                      <a:cubicBezTo>
                        <a:pt x="653" y="97"/>
                        <a:pt x="655" y="97"/>
                        <a:pt x="657" y="98"/>
                      </a:cubicBezTo>
                      <a:lnTo>
                        <a:pt x="657" y="98"/>
                      </a:lnTo>
                      <a:cubicBezTo>
                        <a:pt x="655" y="97"/>
                        <a:pt x="653" y="97"/>
                        <a:pt x="652" y="96"/>
                      </a:cubicBezTo>
                      <a:close/>
                      <a:moveTo>
                        <a:pt x="327" y="86"/>
                      </a:moveTo>
                      <a:lnTo>
                        <a:pt x="327" y="86"/>
                      </a:lnTo>
                      <a:cubicBezTo>
                        <a:pt x="326" y="86"/>
                        <a:pt x="324" y="87"/>
                        <a:pt x="323" y="87"/>
                      </a:cubicBezTo>
                      <a:lnTo>
                        <a:pt x="323" y="87"/>
                      </a:lnTo>
                      <a:cubicBezTo>
                        <a:pt x="324" y="87"/>
                        <a:pt x="326" y="86"/>
                        <a:pt x="327" y="86"/>
                      </a:cubicBezTo>
                      <a:close/>
                      <a:moveTo>
                        <a:pt x="523" y="59"/>
                      </a:moveTo>
                      <a:lnTo>
                        <a:pt x="523" y="59"/>
                      </a:lnTo>
                      <a:cubicBezTo>
                        <a:pt x="523" y="59"/>
                        <a:pt x="524" y="59"/>
                        <a:pt x="526" y="60"/>
                      </a:cubicBezTo>
                      <a:lnTo>
                        <a:pt x="526" y="60"/>
                      </a:lnTo>
                      <a:cubicBezTo>
                        <a:pt x="524" y="59"/>
                        <a:pt x="523" y="59"/>
                        <a:pt x="523" y="59"/>
                      </a:cubicBezTo>
                      <a:close/>
                      <a:moveTo>
                        <a:pt x="518" y="59"/>
                      </a:moveTo>
                      <a:lnTo>
                        <a:pt x="518" y="59"/>
                      </a:lnTo>
                      <a:cubicBezTo>
                        <a:pt x="519" y="59"/>
                        <a:pt x="519" y="59"/>
                        <a:pt x="521" y="59"/>
                      </a:cubicBezTo>
                      <a:lnTo>
                        <a:pt x="521" y="59"/>
                      </a:lnTo>
                      <a:cubicBezTo>
                        <a:pt x="519" y="59"/>
                        <a:pt x="519" y="59"/>
                        <a:pt x="518" y="59"/>
                      </a:cubicBezTo>
                      <a:close/>
                      <a:moveTo>
                        <a:pt x="521" y="59"/>
                      </a:moveTo>
                      <a:lnTo>
                        <a:pt x="521" y="59"/>
                      </a:lnTo>
                      <a:cubicBezTo>
                        <a:pt x="566" y="66"/>
                        <a:pt x="609" y="79"/>
                        <a:pt x="651" y="96"/>
                      </a:cubicBezTo>
                      <a:lnTo>
                        <a:pt x="651" y="96"/>
                      </a:lnTo>
                      <a:cubicBezTo>
                        <a:pt x="694" y="114"/>
                        <a:pt x="735" y="138"/>
                        <a:pt x="773" y="166"/>
                      </a:cubicBezTo>
                      <a:lnTo>
                        <a:pt x="773" y="166"/>
                      </a:lnTo>
                      <a:cubicBezTo>
                        <a:pt x="794" y="183"/>
                        <a:pt x="814" y="202"/>
                        <a:pt x="834" y="221"/>
                      </a:cubicBezTo>
                      <a:lnTo>
                        <a:pt x="834" y="221"/>
                      </a:lnTo>
                      <a:cubicBezTo>
                        <a:pt x="856" y="244"/>
                        <a:pt x="876" y="268"/>
                        <a:pt x="895" y="293"/>
                      </a:cubicBezTo>
                      <a:lnTo>
                        <a:pt x="895" y="293"/>
                      </a:lnTo>
                      <a:cubicBezTo>
                        <a:pt x="917" y="321"/>
                        <a:pt x="936" y="349"/>
                        <a:pt x="955" y="379"/>
                      </a:cubicBezTo>
                      <a:lnTo>
                        <a:pt x="955" y="379"/>
                      </a:lnTo>
                      <a:cubicBezTo>
                        <a:pt x="965" y="395"/>
                        <a:pt x="976" y="410"/>
                        <a:pt x="985" y="426"/>
                      </a:cubicBezTo>
                      <a:lnTo>
                        <a:pt x="985" y="426"/>
                      </a:lnTo>
                      <a:cubicBezTo>
                        <a:pt x="996" y="445"/>
                        <a:pt x="1008" y="464"/>
                        <a:pt x="1018" y="483"/>
                      </a:cubicBezTo>
                      <a:lnTo>
                        <a:pt x="1018" y="483"/>
                      </a:lnTo>
                      <a:cubicBezTo>
                        <a:pt x="1028" y="501"/>
                        <a:pt x="1038" y="520"/>
                        <a:pt x="1049" y="538"/>
                      </a:cubicBezTo>
                      <a:lnTo>
                        <a:pt x="1049" y="538"/>
                      </a:lnTo>
                      <a:cubicBezTo>
                        <a:pt x="1067" y="574"/>
                        <a:pt x="1086" y="610"/>
                        <a:pt x="1104" y="647"/>
                      </a:cubicBezTo>
                      <a:lnTo>
                        <a:pt x="1104" y="647"/>
                      </a:lnTo>
                      <a:cubicBezTo>
                        <a:pt x="1121" y="680"/>
                        <a:pt x="1137" y="714"/>
                        <a:pt x="1153" y="749"/>
                      </a:cubicBezTo>
                      <a:lnTo>
                        <a:pt x="1153" y="749"/>
                      </a:lnTo>
                      <a:cubicBezTo>
                        <a:pt x="1155" y="755"/>
                        <a:pt x="1158" y="760"/>
                        <a:pt x="1160" y="766"/>
                      </a:cubicBezTo>
                      <a:lnTo>
                        <a:pt x="1160" y="766"/>
                      </a:lnTo>
                      <a:cubicBezTo>
                        <a:pt x="1163" y="773"/>
                        <a:pt x="1166" y="780"/>
                        <a:pt x="1167" y="787"/>
                      </a:cubicBezTo>
                      <a:lnTo>
                        <a:pt x="1167" y="787"/>
                      </a:lnTo>
                      <a:cubicBezTo>
                        <a:pt x="1167" y="789"/>
                        <a:pt x="1167" y="791"/>
                        <a:pt x="1167" y="793"/>
                      </a:cubicBezTo>
                      <a:lnTo>
                        <a:pt x="1167" y="793"/>
                      </a:lnTo>
                      <a:cubicBezTo>
                        <a:pt x="1167" y="794"/>
                        <a:pt x="1167" y="794"/>
                        <a:pt x="1166" y="795"/>
                      </a:cubicBezTo>
                      <a:lnTo>
                        <a:pt x="1166" y="795"/>
                      </a:lnTo>
                      <a:cubicBezTo>
                        <a:pt x="1164" y="800"/>
                        <a:pt x="1162" y="804"/>
                        <a:pt x="1159" y="809"/>
                      </a:cubicBezTo>
                      <a:lnTo>
                        <a:pt x="1159" y="809"/>
                      </a:lnTo>
                      <a:cubicBezTo>
                        <a:pt x="1143" y="827"/>
                        <a:pt x="1126" y="843"/>
                        <a:pt x="1107" y="858"/>
                      </a:cubicBezTo>
                      <a:lnTo>
                        <a:pt x="1107" y="858"/>
                      </a:lnTo>
                      <a:cubicBezTo>
                        <a:pt x="1086" y="874"/>
                        <a:pt x="1062" y="889"/>
                        <a:pt x="1038" y="900"/>
                      </a:cubicBezTo>
                      <a:lnTo>
                        <a:pt x="1038" y="900"/>
                      </a:lnTo>
                      <a:cubicBezTo>
                        <a:pt x="1025" y="906"/>
                        <a:pt x="1013" y="912"/>
                        <a:pt x="1001" y="918"/>
                      </a:cubicBezTo>
                      <a:lnTo>
                        <a:pt x="1001" y="918"/>
                      </a:lnTo>
                      <a:cubicBezTo>
                        <a:pt x="966" y="933"/>
                        <a:pt x="931" y="947"/>
                        <a:pt x="896" y="960"/>
                      </a:cubicBezTo>
                      <a:lnTo>
                        <a:pt x="896" y="960"/>
                      </a:lnTo>
                      <a:cubicBezTo>
                        <a:pt x="859" y="973"/>
                        <a:pt x="820" y="985"/>
                        <a:pt x="781" y="996"/>
                      </a:cubicBezTo>
                      <a:lnTo>
                        <a:pt x="781" y="996"/>
                      </a:lnTo>
                      <a:cubicBezTo>
                        <a:pt x="704" y="1019"/>
                        <a:pt x="626" y="1040"/>
                        <a:pt x="548" y="1060"/>
                      </a:cubicBezTo>
                      <a:lnTo>
                        <a:pt x="548" y="1060"/>
                      </a:lnTo>
                      <a:cubicBezTo>
                        <a:pt x="505" y="1071"/>
                        <a:pt x="462" y="1079"/>
                        <a:pt x="418" y="1085"/>
                      </a:cubicBezTo>
                      <a:lnTo>
                        <a:pt x="418" y="1085"/>
                      </a:lnTo>
                      <a:cubicBezTo>
                        <a:pt x="386" y="1089"/>
                        <a:pt x="354" y="1093"/>
                        <a:pt x="321" y="1093"/>
                      </a:cubicBezTo>
                      <a:lnTo>
                        <a:pt x="321" y="1093"/>
                      </a:lnTo>
                      <a:cubicBezTo>
                        <a:pt x="287" y="1093"/>
                        <a:pt x="254" y="1092"/>
                        <a:pt x="220" y="1088"/>
                      </a:cubicBezTo>
                      <a:lnTo>
                        <a:pt x="220" y="1088"/>
                      </a:lnTo>
                      <a:cubicBezTo>
                        <a:pt x="211" y="1087"/>
                        <a:pt x="201" y="1085"/>
                        <a:pt x="192" y="1082"/>
                      </a:cubicBezTo>
                      <a:lnTo>
                        <a:pt x="192" y="1082"/>
                      </a:lnTo>
                      <a:cubicBezTo>
                        <a:pt x="190" y="1081"/>
                        <a:pt x="188" y="1079"/>
                        <a:pt x="185" y="1078"/>
                      </a:cubicBezTo>
                      <a:lnTo>
                        <a:pt x="185" y="1078"/>
                      </a:lnTo>
                      <a:cubicBezTo>
                        <a:pt x="184" y="1077"/>
                        <a:pt x="183" y="1076"/>
                        <a:pt x="182" y="1075"/>
                      </a:cubicBezTo>
                      <a:lnTo>
                        <a:pt x="182" y="1075"/>
                      </a:lnTo>
                      <a:cubicBezTo>
                        <a:pt x="179" y="1070"/>
                        <a:pt x="176" y="1065"/>
                        <a:pt x="174" y="1059"/>
                      </a:cubicBezTo>
                      <a:lnTo>
                        <a:pt x="174" y="1059"/>
                      </a:lnTo>
                      <a:cubicBezTo>
                        <a:pt x="168" y="1048"/>
                        <a:pt x="155" y="1044"/>
                        <a:pt x="144" y="1046"/>
                      </a:cubicBezTo>
                      <a:lnTo>
                        <a:pt x="144" y="1046"/>
                      </a:lnTo>
                      <a:cubicBezTo>
                        <a:pt x="147" y="1043"/>
                        <a:pt x="150" y="1039"/>
                        <a:pt x="151" y="1035"/>
                      </a:cubicBezTo>
                      <a:lnTo>
                        <a:pt x="151" y="1035"/>
                      </a:lnTo>
                      <a:cubicBezTo>
                        <a:pt x="153" y="1027"/>
                        <a:pt x="151" y="1020"/>
                        <a:pt x="148" y="1013"/>
                      </a:cubicBezTo>
                      <a:lnTo>
                        <a:pt x="148" y="1013"/>
                      </a:lnTo>
                      <a:cubicBezTo>
                        <a:pt x="143" y="1004"/>
                        <a:pt x="138" y="994"/>
                        <a:pt x="134" y="984"/>
                      </a:cubicBezTo>
                      <a:lnTo>
                        <a:pt x="134" y="984"/>
                      </a:lnTo>
                      <a:cubicBezTo>
                        <a:pt x="125" y="964"/>
                        <a:pt x="118" y="945"/>
                        <a:pt x="110" y="925"/>
                      </a:cubicBezTo>
                      <a:lnTo>
                        <a:pt x="110" y="925"/>
                      </a:lnTo>
                      <a:cubicBezTo>
                        <a:pt x="102" y="903"/>
                        <a:pt x="95" y="880"/>
                        <a:pt x="90" y="857"/>
                      </a:cubicBezTo>
                      <a:lnTo>
                        <a:pt x="90" y="857"/>
                      </a:lnTo>
                      <a:cubicBezTo>
                        <a:pt x="80" y="818"/>
                        <a:pt x="74" y="776"/>
                        <a:pt x="68" y="735"/>
                      </a:cubicBezTo>
                      <a:lnTo>
                        <a:pt x="68" y="735"/>
                      </a:lnTo>
                      <a:cubicBezTo>
                        <a:pt x="57" y="650"/>
                        <a:pt x="53" y="564"/>
                        <a:pt x="64" y="479"/>
                      </a:cubicBezTo>
                      <a:lnTo>
                        <a:pt x="64" y="479"/>
                      </a:lnTo>
                      <a:cubicBezTo>
                        <a:pt x="64" y="480"/>
                        <a:pt x="64" y="480"/>
                        <a:pt x="64" y="481"/>
                      </a:cubicBezTo>
                      <a:lnTo>
                        <a:pt x="64" y="481"/>
                      </a:lnTo>
                      <a:cubicBezTo>
                        <a:pt x="64" y="480"/>
                        <a:pt x="64" y="478"/>
                        <a:pt x="64" y="477"/>
                      </a:cubicBezTo>
                      <a:lnTo>
                        <a:pt x="64" y="477"/>
                      </a:lnTo>
                      <a:cubicBezTo>
                        <a:pt x="64" y="476"/>
                        <a:pt x="64" y="475"/>
                        <a:pt x="65" y="473"/>
                      </a:cubicBezTo>
                      <a:lnTo>
                        <a:pt x="65" y="473"/>
                      </a:lnTo>
                      <a:cubicBezTo>
                        <a:pt x="65" y="475"/>
                        <a:pt x="64" y="476"/>
                        <a:pt x="64" y="477"/>
                      </a:cubicBezTo>
                      <a:lnTo>
                        <a:pt x="64" y="477"/>
                      </a:lnTo>
                      <a:cubicBezTo>
                        <a:pt x="72" y="425"/>
                        <a:pt x="85" y="373"/>
                        <a:pt x="104" y="324"/>
                      </a:cubicBezTo>
                      <a:lnTo>
                        <a:pt x="104" y="324"/>
                      </a:lnTo>
                      <a:cubicBezTo>
                        <a:pt x="123" y="282"/>
                        <a:pt x="145" y="242"/>
                        <a:pt x="173" y="205"/>
                      </a:cubicBezTo>
                      <a:lnTo>
                        <a:pt x="173" y="205"/>
                      </a:lnTo>
                      <a:cubicBezTo>
                        <a:pt x="193" y="180"/>
                        <a:pt x="215" y="156"/>
                        <a:pt x="241" y="135"/>
                      </a:cubicBezTo>
                      <a:lnTo>
                        <a:pt x="241" y="135"/>
                      </a:lnTo>
                      <a:cubicBezTo>
                        <a:pt x="268" y="115"/>
                        <a:pt x="298" y="99"/>
                        <a:pt x="329" y="85"/>
                      </a:cubicBezTo>
                      <a:lnTo>
                        <a:pt x="329" y="85"/>
                      </a:lnTo>
                      <a:cubicBezTo>
                        <a:pt x="360" y="72"/>
                        <a:pt x="392" y="63"/>
                        <a:pt x="424" y="58"/>
                      </a:cubicBezTo>
                      <a:lnTo>
                        <a:pt x="424" y="58"/>
                      </a:lnTo>
                      <a:cubicBezTo>
                        <a:pt x="457" y="54"/>
                        <a:pt x="489" y="55"/>
                        <a:pt x="521" y="59"/>
                      </a:cubicBezTo>
                      <a:close/>
                      <a:moveTo>
                        <a:pt x="455" y="0"/>
                      </a:moveTo>
                      <a:lnTo>
                        <a:pt x="455" y="0"/>
                      </a:lnTo>
                      <a:cubicBezTo>
                        <a:pt x="397" y="2"/>
                        <a:pt x="341" y="18"/>
                        <a:pt x="289" y="42"/>
                      </a:cubicBezTo>
                      <a:lnTo>
                        <a:pt x="289" y="42"/>
                      </a:lnTo>
                      <a:cubicBezTo>
                        <a:pt x="239" y="65"/>
                        <a:pt x="194" y="98"/>
                        <a:pt x="157" y="138"/>
                      </a:cubicBezTo>
                      <a:lnTo>
                        <a:pt x="157" y="138"/>
                      </a:lnTo>
                      <a:cubicBezTo>
                        <a:pt x="119" y="180"/>
                        <a:pt x="87" y="228"/>
                        <a:pt x="63" y="279"/>
                      </a:cubicBezTo>
                      <a:lnTo>
                        <a:pt x="63" y="279"/>
                      </a:lnTo>
                      <a:cubicBezTo>
                        <a:pt x="35" y="338"/>
                        <a:pt x="19" y="402"/>
                        <a:pt x="10" y="466"/>
                      </a:cubicBezTo>
                      <a:lnTo>
                        <a:pt x="10" y="466"/>
                      </a:lnTo>
                      <a:cubicBezTo>
                        <a:pt x="1" y="532"/>
                        <a:pt x="0" y="599"/>
                        <a:pt x="5" y="665"/>
                      </a:cubicBezTo>
                      <a:lnTo>
                        <a:pt x="5" y="665"/>
                      </a:lnTo>
                      <a:cubicBezTo>
                        <a:pt x="8" y="698"/>
                        <a:pt x="12" y="730"/>
                        <a:pt x="16" y="763"/>
                      </a:cubicBezTo>
                      <a:lnTo>
                        <a:pt x="16" y="763"/>
                      </a:lnTo>
                      <a:cubicBezTo>
                        <a:pt x="21" y="795"/>
                        <a:pt x="26" y="828"/>
                        <a:pt x="33" y="859"/>
                      </a:cubicBezTo>
                      <a:lnTo>
                        <a:pt x="33" y="859"/>
                      </a:lnTo>
                      <a:cubicBezTo>
                        <a:pt x="47" y="923"/>
                        <a:pt x="71" y="983"/>
                        <a:pt x="100" y="1041"/>
                      </a:cubicBezTo>
                      <a:lnTo>
                        <a:pt x="100" y="1041"/>
                      </a:lnTo>
                      <a:cubicBezTo>
                        <a:pt x="105" y="1052"/>
                        <a:pt x="117" y="1056"/>
                        <a:pt x="129" y="1055"/>
                      </a:cubicBezTo>
                      <a:lnTo>
                        <a:pt x="129" y="1055"/>
                      </a:lnTo>
                      <a:cubicBezTo>
                        <a:pt x="121" y="1064"/>
                        <a:pt x="120" y="1076"/>
                        <a:pt x="125" y="1088"/>
                      </a:cubicBezTo>
                      <a:lnTo>
                        <a:pt x="125" y="1088"/>
                      </a:lnTo>
                      <a:cubicBezTo>
                        <a:pt x="131" y="1098"/>
                        <a:pt x="137" y="1107"/>
                        <a:pt x="144" y="1116"/>
                      </a:cubicBezTo>
                      <a:lnTo>
                        <a:pt x="144" y="1116"/>
                      </a:lnTo>
                      <a:cubicBezTo>
                        <a:pt x="152" y="1125"/>
                        <a:pt x="163" y="1130"/>
                        <a:pt x="173" y="1134"/>
                      </a:cubicBezTo>
                      <a:lnTo>
                        <a:pt x="173" y="1134"/>
                      </a:lnTo>
                      <a:cubicBezTo>
                        <a:pt x="188" y="1140"/>
                        <a:pt x="205" y="1142"/>
                        <a:pt x="222" y="1144"/>
                      </a:cubicBezTo>
                      <a:lnTo>
                        <a:pt x="222" y="1144"/>
                      </a:lnTo>
                      <a:cubicBezTo>
                        <a:pt x="241" y="1146"/>
                        <a:pt x="260" y="1147"/>
                        <a:pt x="279" y="1148"/>
                      </a:cubicBezTo>
                      <a:lnTo>
                        <a:pt x="279" y="1148"/>
                      </a:lnTo>
                      <a:cubicBezTo>
                        <a:pt x="317" y="1149"/>
                        <a:pt x="356" y="1149"/>
                        <a:pt x="394" y="1144"/>
                      </a:cubicBezTo>
                      <a:lnTo>
                        <a:pt x="394" y="1144"/>
                      </a:lnTo>
                      <a:cubicBezTo>
                        <a:pt x="436" y="1139"/>
                        <a:pt x="477" y="1133"/>
                        <a:pt x="518" y="1124"/>
                      </a:cubicBezTo>
                      <a:lnTo>
                        <a:pt x="518" y="1124"/>
                      </a:lnTo>
                      <a:cubicBezTo>
                        <a:pt x="555" y="1116"/>
                        <a:pt x="593" y="1106"/>
                        <a:pt x="630" y="1096"/>
                      </a:cubicBezTo>
                      <a:lnTo>
                        <a:pt x="630" y="1096"/>
                      </a:lnTo>
                      <a:cubicBezTo>
                        <a:pt x="708" y="1076"/>
                        <a:pt x="784" y="1055"/>
                        <a:pt x="861" y="1030"/>
                      </a:cubicBezTo>
                      <a:lnTo>
                        <a:pt x="861" y="1030"/>
                      </a:lnTo>
                      <a:cubicBezTo>
                        <a:pt x="900" y="1018"/>
                        <a:pt x="937" y="1004"/>
                        <a:pt x="975" y="989"/>
                      </a:cubicBezTo>
                      <a:lnTo>
                        <a:pt x="975" y="989"/>
                      </a:lnTo>
                      <a:cubicBezTo>
                        <a:pt x="984" y="985"/>
                        <a:pt x="993" y="981"/>
                        <a:pt x="1003" y="977"/>
                      </a:cubicBezTo>
                      <a:lnTo>
                        <a:pt x="1003" y="977"/>
                      </a:lnTo>
                      <a:cubicBezTo>
                        <a:pt x="1012" y="973"/>
                        <a:pt x="1021" y="970"/>
                        <a:pt x="1031" y="965"/>
                      </a:cubicBezTo>
                      <a:lnTo>
                        <a:pt x="1031" y="965"/>
                      </a:lnTo>
                      <a:cubicBezTo>
                        <a:pt x="1062" y="950"/>
                        <a:pt x="1094" y="935"/>
                        <a:pt x="1123" y="915"/>
                      </a:cubicBezTo>
                      <a:lnTo>
                        <a:pt x="1123" y="915"/>
                      </a:lnTo>
                      <a:cubicBezTo>
                        <a:pt x="1145" y="900"/>
                        <a:pt x="1165" y="883"/>
                        <a:pt x="1183" y="864"/>
                      </a:cubicBezTo>
                      <a:lnTo>
                        <a:pt x="1183" y="864"/>
                      </a:lnTo>
                      <a:cubicBezTo>
                        <a:pt x="1193" y="855"/>
                        <a:pt x="1200" y="845"/>
                        <a:pt x="1207" y="835"/>
                      </a:cubicBezTo>
                      <a:lnTo>
                        <a:pt x="1207" y="835"/>
                      </a:lnTo>
                      <a:cubicBezTo>
                        <a:pt x="1216" y="824"/>
                        <a:pt x="1222" y="809"/>
                        <a:pt x="1223" y="796"/>
                      </a:cubicBezTo>
                      <a:lnTo>
                        <a:pt x="1223" y="796"/>
                      </a:lnTo>
                      <a:cubicBezTo>
                        <a:pt x="1223" y="782"/>
                        <a:pt x="1221" y="770"/>
                        <a:pt x="1217" y="757"/>
                      </a:cubicBezTo>
                      <a:lnTo>
                        <a:pt x="1217" y="757"/>
                      </a:lnTo>
                      <a:cubicBezTo>
                        <a:pt x="1214" y="749"/>
                        <a:pt x="1210" y="742"/>
                        <a:pt x="1207" y="733"/>
                      </a:cubicBezTo>
                      <a:lnTo>
                        <a:pt x="1207" y="733"/>
                      </a:lnTo>
                      <a:cubicBezTo>
                        <a:pt x="1202" y="723"/>
                        <a:pt x="1197" y="713"/>
                        <a:pt x="1193" y="703"/>
                      </a:cubicBezTo>
                      <a:lnTo>
                        <a:pt x="1193" y="703"/>
                      </a:lnTo>
                      <a:cubicBezTo>
                        <a:pt x="1176" y="667"/>
                        <a:pt x="1159" y="631"/>
                        <a:pt x="1141" y="596"/>
                      </a:cubicBezTo>
                      <a:lnTo>
                        <a:pt x="1141" y="596"/>
                      </a:lnTo>
                      <a:cubicBezTo>
                        <a:pt x="1124" y="563"/>
                        <a:pt x="1107" y="530"/>
                        <a:pt x="1090" y="497"/>
                      </a:cubicBezTo>
                      <a:lnTo>
                        <a:pt x="1090" y="497"/>
                      </a:lnTo>
                      <a:cubicBezTo>
                        <a:pt x="1081" y="480"/>
                        <a:pt x="1071" y="463"/>
                        <a:pt x="1061" y="446"/>
                      </a:cubicBezTo>
                      <a:lnTo>
                        <a:pt x="1061" y="446"/>
                      </a:lnTo>
                      <a:cubicBezTo>
                        <a:pt x="1051" y="427"/>
                        <a:pt x="1041" y="409"/>
                        <a:pt x="1029" y="391"/>
                      </a:cubicBezTo>
                      <a:lnTo>
                        <a:pt x="1029" y="391"/>
                      </a:lnTo>
                      <a:cubicBezTo>
                        <a:pt x="1016" y="370"/>
                        <a:pt x="1003" y="351"/>
                        <a:pt x="990" y="331"/>
                      </a:cubicBezTo>
                      <a:lnTo>
                        <a:pt x="990" y="331"/>
                      </a:lnTo>
                      <a:cubicBezTo>
                        <a:pt x="965" y="291"/>
                        <a:pt x="936" y="254"/>
                        <a:pt x="905" y="217"/>
                      </a:cubicBezTo>
                      <a:lnTo>
                        <a:pt x="905" y="217"/>
                      </a:lnTo>
                      <a:cubicBezTo>
                        <a:pt x="870" y="174"/>
                        <a:pt x="828" y="136"/>
                        <a:pt x="782" y="104"/>
                      </a:cubicBezTo>
                      <a:lnTo>
                        <a:pt x="782" y="104"/>
                      </a:lnTo>
                      <a:cubicBezTo>
                        <a:pt x="735" y="71"/>
                        <a:pt x="682" y="46"/>
                        <a:pt x="627" y="28"/>
                      </a:cubicBezTo>
                      <a:lnTo>
                        <a:pt x="627" y="28"/>
                      </a:lnTo>
                      <a:cubicBezTo>
                        <a:pt x="575" y="10"/>
                        <a:pt x="521" y="0"/>
                        <a:pt x="466" y="0"/>
                      </a:cubicBezTo>
                      <a:lnTo>
                        <a:pt x="466" y="0"/>
                      </a:lnTo>
                      <a:cubicBezTo>
                        <a:pt x="462" y="0"/>
                        <a:pt x="458" y="0"/>
                        <a:pt x="4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269">
                  <a:extLst>
                    <a:ext uri="{FF2B5EF4-FFF2-40B4-BE49-F238E27FC236}">
                      <a16:creationId xmlns:a16="http://schemas.microsoft.com/office/drawing/2014/main" id="{4860FD55-87DB-654E-B58A-7D2CC7037E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4940300"/>
                  <a:ext cx="874712" cy="522288"/>
                </a:xfrm>
                <a:custGeom>
                  <a:avLst/>
                  <a:gdLst>
                    <a:gd name="T0" fmla="*/ 56 w 2429"/>
                    <a:gd name="T1" fmla="*/ 1384 h 1451"/>
                    <a:gd name="T2" fmla="*/ 1413 w 2429"/>
                    <a:gd name="T3" fmla="*/ 1063 h 1451"/>
                    <a:gd name="T4" fmla="*/ 2371 w 2429"/>
                    <a:gd name="T5" fmla="*/ 429 h 1451"/>
                    <a:gd name="T6" fmla="*/ 2356 w 2429"/>
                    <a:gd name="T7" fmla="*/ 409 h 1451"/>
                    <a:gd name="T8" fmla="*/ 2018 w 2429"/>
                    <a:gd name="T9" fmla="*/ 185 h 1451"/>
                    <a:gd name="T10" fmla="*/ 2018 w 2429"/>
                    <a:gd name="T11" fmla="*/ 185 h 1451"/>
                    <a:gd name="T12" fmla="*/ 1469 w 2429"/>
                    <a:gd name="T13" fmla="*/ 56 h 1451"/>
                    <a:gd name="T14" fmla="*/ 1794 w 2429"/>
                    <a:gd name="T15" fmla="*/ 106 h 1451"/>
                    <a:gd name="T16" fmla="*/ 2123 w 2429"/>
                    <a:gd name="T17" fmla="*/ 232 h 1451"/>
                    <a:gd name="T18" fmla="*/ 2222 w 2429"/>
                    <a:gd name="T19" fmla="*/ 286 h 1451"/>
                    <a:gd name="T20" fmla="*/ 2257 w 2429"/>
                    <a:gd name="T21" fmla="*/ 314 h 1451"/>
                    <a:gd name="T22" fmla="*/ 2360 w 2429"/>
                    <a:gd name="T23" fmla="*/ 414 h 1451"/>
                    <a:gd name="T24" fmla="*/ 2346 w 2429"/>
                    <a:gd name="T25" fmla="*/ 452 h 1451"/>
                    <a:gd name="T26" fmla="*/ 2062 w 2429"/>
                    <a:gd name="T27" fmla="*/ 665 h 1451"/>
                    <a:gd name="T28" fmla="*/ 1754 w 2429"/>
                    <a:gd name="T29" fmla="*/ 869 h 1451"/>
                    <a:gd name="T30" fmla="*/ 1518 w 2429"/>
                    <a:gd name="T31" fmla="*/ 1013 h 1451"/>
                    <a:gd name="T32" fmla="*/ 1194 w 2429"/>
                    <a:gd name="T33" fmla="*/ 1157 h 1451"/>
                    <a:gd name="T34" fmla="*/ 920 w 2429"/>
                    <a:gd name="T35" fmla="*/ 1258 h 1451"/>
                    <a:gd name="T36" fmla="*/ 705 w 2429"/>
                    <a:gd name="T37" fmla="*/ 1321 h 1451"/>
                    <a:gd name="T38" fmla="*/ 554 w 2429"/>
                    <a:gd name="T39" fmla="*/ 1351 h 1451"/>
                    <a:gd name="T40" fmla="*/ 404 w 2429"/>
                    <a:gd name="T41" fmla="*/ 1375 h 1451"/>
                    <a:gd name="T42" fmla="*/ 283 w 2429"/>
                    <a:gd name="T43" fmla="*/ 1388 h 1451"/>
                    <a:gd name="T44" fmla="*/ 97 w 2429"/>
                    <a:gd name="T45" fmla="*/ 1391 h 1451"/>
                    <a:gd name="T46" fmla="*/ 57 w 2429"/>
                    <a:gd name="T47" fmla="*/ 1379 h 1451"/>
                    <a:gd name="T48" fmla="*/ 148 w 2429"/>
                    <a:gd name="T49" fmla="*/ 921 h 1451"/>
                    <a:gd name="T50" fmla="*/ 257 w 2429"/>
                    <a:gd name="T51" fmla="*/ 599 h 1451"/>
                    <a:gd name="T52" fmla="*/ 325 w 2429"/>
                    <a:gd name="T53" fmla="*/ 470 h 1451"/>
                    <a:gd name="T54" fmla="*/ 363 w 2429"/>
                    <a:gd name="T55" fmla="*/ 412 h 1451"/>
                    <a:gd name="T56" fmla="*/ 389 w 2429"/>
                    <a:gd name="T57" fmla="*/ 287 h 1451"/>
                    <a:gd name="T58" fmla="*/ 265 w 2429"/>
                    <a:gd name="T59" fmla="*/ 462 h 1451"/>
                    <a:gd name="T60" fmla="*/ 210 w 2429"/>
                    <a:gd name="T61" fmla="*/ 568 h 1451"/>
                    <a:gd name="T62" fmla="*/ 104 w 2429"/>
                    <a:gd name="T63" fmla="*/ 870 h 1451"/>
                    <a:gd name="T64" fmla="*/ 6 w 2429"/>
                    <a:gd name="T65" fmla="*/ 1334 h 1451"/>
                    <a:gd name="T66" fmla="*/ 3 w 2429"/>
                    <a:gd name="T67" fmla="*/ 1409 h 1451"/>
                    <a:gd name="T68" fmla="*/ 50 w 2429"/>
                    <a:gd name="T69" fmla="*/ 1440 h 1451"/>
                    <a:gd name="T70" fmla="*/ 133 w 2429"/>
                    <a:gd name="T71" fmla="*/ 1449 h 1451"/>
                    <a:gd name="T72" fmla="*/ 262 w 2429"/>
                    <a:gd name="T73" fmla="*/ 1446 h 1451"/>
                    <a:gd name="T74" fmla="*/ 326 w 2429"/>
                    <a:gd name="T75" fmla="*/ 1440 h 1451"/>
                    <a:gd name="T76" fmla="*/ 632 w 2429"/>
                    <a:gd name="T77" fmla="*/ 1393 h 1451"/>
                    <a:gd name="T78" fmla="*/ 779 w 2429"/>
                    <a:gd name="T79" fmla="*/ 1359 h 1451"/>
                    <a:gd name="T80" fmla="*/ 917 w 2429"/>
                    <a:gd name="T81" fmla="*/ 1318 h 1451"/>
                    <a:gd name="T82" fmla="*/ 1204 w 2429"/>
                    <a:gd name="T83" fmla="*/ 1213 h 1451"/>
                    <a:gd name="T84" fmla="*/ 1547 w 2429"/>
                    <a:gd name="T85" fmla="*/ 1060 h 1451"/>
                    <a:gd name="T86" fmla="*/ 1655 w 2429"/>
                    <a:gd name="T87" fmla="*/ 999 h 1451"/>
                    <a:gd name="T88" fmla="*/ 1950 w 2429"/>
                    <a:gd name="T89" fmla="*/ 808 h 1451"/>
                    <a:gd name="T90" fmla="*/ 2052 w 2429"/>
                    <a:gd name="T91" fmla="*/ 741 h 1451"/>
                    <a:gd name="T92" fmla="*/ 2346 w 2429"/>
                    <a:gd name="T93" fmla="*/ 523 h 1451"/>
                    <a:gd name="T94" fmla="*/ 2419 w 2429"/>
                    <a:gd name="T95" fmla="*/ 457 h 1451"/>
                    <a:gd name="T96" fmla="*/ 2391 w 2429"/>
                    <a:gd name="T97" fmla="*/ 365 h 1451"/>
                    <a:gd name="T98" fmla="*/ 2330 w 2429"/>
                    <a:gd name="T99" fmla="*/ 303 h 1451"/>
                    <a:gd name="T100" fmla="*/ 2125 w 2429"/>
                    <a:gd name="T101" fmla="*/ 170 h 1451"/>
                    <a:gd name="T102" fmla="*/ 1791 w 2429"/>
                    <a:gd name="T103" fmla="*/ 48 h 1451"/>
                    <a:gd name="T104" fmla="*/ 1467 w 2429"/>
                    <a:gd name="T105" fmla="*/ 1 h 1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29" h="1451">
                      <a:moveTo>
                        <a:pt x="57" y="1383"/>
                      </a:moveTo>
                      <a:lnTo>
                        <a:pt x="57" y="1383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7" y="1383"/>
                      </a:lnTo>
                      <a:close/>
                      <a:moveTo>
                        <a:pt x="1419" y="1061"/>
                      </a:moveTo>
                      <a:lnTo>
                        <a:pt x="1419" y="1061"/>
                      </a:lnTo>
                      <a:cubicBezTo>
                        <a:pt x="1417" y="1062"/>
                        <a:pt x="1415" y="1063"/>
                        <a:pt x="1413" y="1063"/>
                      </a:cubicBezTo>
                      <a:lnTo>
                        <a:pt x="1413" y="1063"/>
                      </a:lnTo>
                      <a:cubicBezTo>
                        <a:pt x="1415" y="1063"/>
                        <a:pt x="1417" y="1062"/>
                        <a:pt x="1419" y="1061"/>
                      </a:cubicBezTo>
                      <a:close/>
                      <a:moveTo>
                        <a:pt x="2371" y="429"/>
                      </a:move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0" y="430"/>
                      </a:lnTo>
                      <a:lnTo>
                        <a:pt x="2370" y="430"/>
                      </a:lnTo>
                      <a:lnTo>
                        <a:pt x="2371" y="429"/>
                      </a:lnTo>
                      <a:close/>
                      <a:moveTo>
                        <a:pt x="2356" y="409"/>
                      </a:moveTo>
                      <a:lnTo>
                        <a:pt x="2356" y="409"/>
                      </a:lnTo>
                      <a:cubicBezTo>
                        <a:pt x="2357" y="411"/>
                        <a:pt x="2358" y="412"/>
                        <a:pt x="2359" y="412"/>
                      </a:cubicBezTo>
                      <a:lnTo>
                        <a:pt x="2359" y="412"/>
                      </a:lnTo>
                      <a:cubicBezTo>
                        <a:pt x="2358" y="412"/>
                        <a:pt x="2357" y="411"/>
                        <a:pt x="2356" y="409"/>
                      </a:cubicBezTo>
                      <a:close/>
                      <a:moveTo>
                        <a:pt x="2018" y="185"/>
                      </a:moveTo>
                      <a:lnTo>
                        <a:pt x="2018" y="185"/>
                      </a:lnTo>
                      <a:cubicBezTo>
                        <a:pt x="2018" y="185"/>
                        <a:pt x="2018" y="185"/>
                        <a:pt x="2019" y="185"/>
                      </a:cubicBezTo>
                      <a:lnTo>
                        <a:pt x="2019" y="185"/>
                      </a:lnTo>
                      <a:lnTo>
                        <a:pt x="2020" y="185"/>
                      </a:lnTo>
                      <a:lnTo>
                        <a:pt x="2020" y="185"/>
                      </a:lnTo>
                      <a:cubicBezTo>
                        <a:pt x="2019" y="185"/>
                        <a:pt x="2019" y="185"/>
                        <a:pt x="2018" y="185"/>
                      </a:cubicBezTo>
                      <a:close/>
                      <a:moveTo>
                        <a:pt x="1467" y="1"/>
                      </a:moveTo>
                      <a:lnTo>
                        <a:pt x="1467" y="1"/>
                      </a:lnTo>
                      <a:cubicBezTo>
                        <a:pt x="1452" y="1"/>
                        <a:pt x="1440" y="14"/>
                        <a:pt x="1441" y="30"/>
                      </a:cubicBezTo>
                      <a:lnTo>
                        <a:pt x="1441" y="30"/>
                      </a:lnTo>
                      <a:cubicBezTo>
                        <a:pt x="1441" y="45"/>
                        <a:pt x="1454" y="56"/>
                        <a:pt x="1469" y="56"/>
                      </a:cubicBezTo>
                      <a:lnTo>
                        <a:pt x="1469" y="56"/>
                      </a:lnTo>
                      <a:cubicBezTo>
                        <a:pt x="1506" y="55"/>
                        <a:pt x="1543" y="55"/>
                        <a:pt x="1580" y="58"/>
                      </a:cubicBezTo>
                      <a:lnTo>
                        <a:pt x="1580" y="58"/>
                      </a:lnTo>
                      <a:cubicBezTo>
                        <a:pt x="1653" y="66"/>
                        <a:pt x="1724" y="85"/>
                        <a:pt x="1794" y="106"/>
                      </a:cubicBezTo>
                      <a:lnTo>
                        <a:pt x="1794" y="106"/>
                      </a:lnTo>
                      <a:cubicBezTo>
                        <a:pt x="1869" y="129"/>
                        <a:pt x="1943" y="157"/>
                        <a:pt x="2017" y="184"/>
                      </a:cubicBezTo>
                      <a:lnTo>
                        <a:pt x="2017" y="184"/>
                      </a:lnTo>
                      <a:cubicBezTo>
                        <a:pt x="2034" y="191"/>
                        <a:pt x="2052" y="198"/>
                        <a:pt x="2069" y="205"/>
                      </a:cubicBezTo>
                      <a:lnTo>
                        <a:pt x="2069" y="205"/>
                      </a:lnTo>
                      <a:cubicBezTo>
                        <a:pt x="2088" y="213"/>
                        <a:pt x="2105" y="223"/>
                        <a:pt x="2123" y="232"/>
                      </a:cubicBezTo>
                      <a:lnTo>
                        <a:pt x="2123" y="232"/>
                      </a:lnTo>
                      <a:cubicBezTo>
                        <a:pt x="2141" y="240"/>
                        <a:pt x="2157" y="248"/>
                        <a:pt x="2173" y="258"/>
                      </a:cubicBezTo>
                      <a:lnTo>
                        <a:pt x="2173" y="258"/>
                      </a:lnTo>
                      <a:cubicBezTo>
                        <a:pt x="2190" y="266"/>
                        <a:pt x="2206" y="276"/>
                        <a:pt x="2222" y="286"/>
                      </a:cubicBezTo>
                      <a:lnTo>
                        <a:pt x="2222" y="286"/>
                      </a:lnTo>
                      <a:cubicBezTo>
                        <a:pt x="2219" y="285"/>
                        <a:pt x="2218" y="284"/>
                        <a:pt x="2216" y="282"/>
                      </a:cubicBezTo>
                      <a:lnTo>
                        <a:pt x="2216" y="282"/>
                      </a:lnTo>
                      <a:cubicBezTo>
                        <a:pt x="2223" y="287"/>
                        <a:pt x="2230" y="293"/>
                        <a:pt x="2237" y="297"/>
                      </a:cubicBezTo>
                      <a:lnTo>
                        <a:pt x="2237" y="297"/>
                      </a:lnTo>
                      <a:cubicBezTo>
                        <a:pt x="2244" y="303"/>
                        <a:pt x="2251" y="308"/>
                        <a:pt x="2257" y="314"/>
                      </a:cubicBezTo>
                      <a:lnTo>
                        <a:pt x="2257" y="314"/>
                      </a:lnTo>
                      <a:cubicBezTo>
                        <a:pt x="2271" y="324"/>
                        <a:pt x="2283" y="335"/>
                        <a:pt x="2294" y="346"/>
                      </a:cubicBezTo>
                      <a:lnTo>
                        <a:pt x="2294" y="346"/>
                      </a:lnTo>
                      <a:cubicBezTo>
                        <a:pt x="2318" y="367"/>
                        <a:pt x="2339" y="390"/>
                        <a:pt x="2360" y="414"/>
                      </a:cubicBezTo>
                      <a:lnTo>
                        <a:pt x="2360" y="414"/>
                      </a:lnTo>
                      <a:cubicBezTo>
                        <a:pt x="2364" y="419"/>
                        <a:pt x="2367" y="424"/>
                        <a:pt x="2371" y="428"/>
                      </a:cubicBezTo>
                      <a:lnTo>
                        <a:pt x="2371" y="428"/>
                      </a:lnTo>
                      <a:cubicBezTo>
                        <a:pt x="2362" y="439"/>
                        <a:pt x="2351" y="448"/>
                        <a:pt x="2340" y="457"/>
                      </a:cubicBezTo>
                      <a:lnTo>
                        <a:pt x="2340" y="457"/>
                      </a:lnTo>
                      <a:cubicBezTo>
                        <a:pt x="2342" y="455"/>
                        <a:pt x="2344" y="454"/>
                        <a:pt x="2346" y="452"/>
                      </a:cubicBezTo>
                      <a:lnTo>
                        <a:pt x="2346" y="452"/>
                      </a:lnTo>
                      <a:cubicBezTo>
                        <a:pt x="2283" y="504"/>
                        <a:pt x="2216" y="550"/>
                        <a:pt x="2151" y="598"/>
                      </a:cubicBezTo>
                      <a:lnTo>
                        <a:pt x="2151" y="598"/>
                      </a:lnTo>
                      <a:cubicBezTo>
                        <a:pt x="2121" y="620"/>
                        <a:pt x="2092" y="643"/>
                        <a:pt x="2062" y="665"/>
                      </a:cubicBezTo>
                      <a:lnTo>
                        <a:pt x="2062" y="665"/>
                      </a:lnTo>
                      <a:cubicBezTo>
                        <a:pt x="2030" y="689"/>
                        <a:pt x="1997" y="713"/>
                        <a:pt x="1963" y="734"/>
                      </a:cubicBezTo>
                      <a:lnTo>
                        <a:pt x="1963" y="734"/>
                      </a:lnTo>
                      <a:cubicBezTo>
                        <a:pt x="1929" y="756"/>
                        <a:pt x="1895" y="777"/>
                        <a:pt x="1860" y="800"/>
                      </a:cubicBezTo>
                      <a:lnTo>
                        <a:pt x="1860" y="800"/>
                      </a:lnTo>
                      <a:cubicBezTo>
                        <a:pt x="1825" y="822"/>
                        <a:pt x="1789" y="846"/>
                        <a:pt x="1754" y="869"/>
                      </a:cubicBezTo>
                      <a:lnTo>
                        <a:pt x="1754" y="869"/>
                      </a:lnTo>
                      <a:cubicBezTo>
                        <a:pt x="1687" y="913"/>
                        <a:pt x="1620" y="956"/>
                        <a:pt x="1550" y="995"/>
                      </a:cubicBezTo>
                      <a:lnTo>
                        <a:pt x="1550" y="995"/>
                      </a:lnTo>
                      <a:cubicBezTo>
                        <a:pt x="1539" y="1001"/>
                        <a:pt x="1529" y="1007"/>
                        <a:pt x="1518" y="1013"/>
                      </a:cubicBezTo>
                      <a:lnTo>
                        <a:pt x="1518" y="1013"/>
                      </a:lnTo>
                      <a:cubicBezTo>
                        <a:pt x="1505" y="1019"/>
                        <a:pt x="1491" y="1026"/>
                        <a:pt x="1477" y="1033"/>
                      </a:cubicBezTo>
                      <a:lnTo>
                        <a:pt x="1477" y="1033"/>
                      </a:lnTo>
                      <a:cubicBezTo>
                        <a:pt x="1456" y="1044"/>
                        <a:pt x="1435" y="1053"/>
                        <a:pt x="1413" y="1063"/>
                      </a:cubicBezTo>
                      <a:lnTo>
                        <a:pt x="1413" y="1063"/>
                      </a:lnTo>
                      <a:cubicBezTo>
                        <a:pt x="1341" y="1096"/>
                        <a:pt x="1269" y="1129"/>
                        <a:pt x="1194" y="1157"/>
                      </a:cubicBezTo>
                      <a:lnTo>
                        <a:pt x="1194" y="1157"/>
                      </a:lnTo>
                      <a:cubicBezTo>
                        <a:pt x="1116" y="1187"/>
                        <a:pt x="1037" y="1216"/>
                        <a:pt x="958" y="1245"/>
                      </a:cubicBezTo>
                      <a:lnTo>
                        <a:pt x="958" y="1245"/>
                      </a:lnTo>
                      <a:cubicBezTo>
                        <a:pt x="946" y="1249"/>
                        <a:pt x="933" y="1254"/>
                        <a:pt x="920" y="1258"/>
                      </a:cubicBezTo>
                      <a:lnTo>
                        <a:pt x="920" y="1258"/>
                      </a:lnTo>
                      <a:cubicBezTo>
                        <a:pt x="904" y="1264"/>
                        <a:pt x="887" y="1270"/>
                        <a:pt x="870" y="1275"/>
                      </a:cubicBezTo>
                      <a:lnTo>
                        <a:pt x="870" y="1275"/>
                      </a:lnTo>
                      <a:cubicBezTo>
                        <a:pt x="837" y="1285"/>
                        <a:pt x="805" y="1296"/>
                        <a:pt x="771" y="1304"/>
                      </a:cubicBezTo>
                      <a:lnTo>
                        <a:pt x="771" y="1304"/>
                      </a:lnTo>
                      <a:cubicBezTo>
                        <a:pt x="749" y="1310"/>
                        <a:pt x="727" y="1315"/>
                        <a:pt x="705" y="1321"/>
                      </a:cubicBezTo>
                      <a:lnTo>
                        <a:pt x="705" y="1321"/>
                      </a:lnTo>
                      <a:cubicBezTo>
                        <a:pt x="689" y="1325"/>
                        <a:pt x="672" y="1328"/>
                        <a:pt x="656" y="1331"/>
                      </a:cubicBezTo>
                      <a:lnTo>
                        <a:pt x="656" y="1331"/>
                      </a:lnTo>
                      <a:cubicBezTo>
                        <a:pt x="622" y="1339"/>
                        <a:pt x="588" y="1345"/>
                        <a:pt x="554" y="1351"/>
                      </a:cubicBezTo>
                      <a:lnTo>
                        <a:pt x="554" y="1351"/>
                      </a:lnTo>
                      <a:cubicBezTo>
                        <a:pt x="556" y="1350"/>
                        <a:pt x="558" y="1350"/>
                        <a:pt x="561" y="1350"/>
                      </a:cubicBezTo>
                      <a:lnTo>
                        <a:pt x="561" y="1350"/>
                      </a:lnTo>
                      <a:cubicBezTo>
                        <a:pt x="526" y="1356"/>
                        <a:pt x="491" y="1362"/>
                        <a:pt x="457" y="1368"/>
                      </a:cubicBezTo>
                      <a:lnTo>
                        <a:pt x="457" y="1368"/>
                      </a:lnTo>
                      <a:cubicBezTo>
                        <a:pt x="439" y="1370"/>
                        <a:pt x="422" y="1373"/>
                        <a:pt x="404" y="1375"/>
                      </a:cubicBezTo>
                      <a:lnTo>
                        <a:pt x="404" y="1375"/>
                      </a:lnTo>
                      <a:cubicBezTo>
                        <a:pt x="382" y="1378"/>
                        <a:pt x="359" y="1380"/>
                        <a:pt x="336" y="1383"/>
                      </a:cubicBezTo>
                      <a:lnTo>
                        <a:pt x="336" y="1383"/>
                      </a:lnTo>
                      <a:cubicBezTo>
                        <a:pt x="319" y="1386"/>
                        <a:pt x="301" y="1387"/>
                        <a:pt x="283" y="1388"/>
                      </a:cubicBezTo>
                      <a:lnTo>
                        <a:pt x="283" y="1388"/>
                      </a:lnTo>
                      <a:cubicBezTo>
                        <a:pt x="267" y="1390"/>
                        <a:pt x="251" y="1391"/>
                        <a:pt x="234" y="1391"/>
                      </a:cubicBezTo>
                      <a:lnTo>
                        <a:pt x="234" y="1391"/>
                      </a:lnTo>
                      <a:cubicBezTo>
                        <a:pt x="216" y="1393"/>
                        <a:pt x="198" y="1394"/>
                        <a:pt x="180" y="1394"/>
                      </a:cubicBezTo>
                      <a:lnTo>
                        <a:pt x="180" y="1394"/>
                      </a:lnTo>
                      <a:cubicBezTo>
                        <a:pt x="153" y="1393"/>
                        <a:pt x="125" y="1394"/>
                        <a:pt x="97" y="1391"/>
                      </a:cubicBezTo>
                      <a:lnTo>
                        <a:pt x="97" y="1391"/>
                      </a:lnTo>
                      <a:cubicBezTo>
                        <a:pt x="83" y="1390"/>
                        <a:pt x="70" y="1388"/>
                        <a:pt x="57" y="1384"/>
                      </a:cubicBezTo>
                      <a:lnTo>
                        <a:pt x="57" y="1384"/>
                      </a:lnTo>
                      <a:cubicBezTo>
                        <a:pt x="57" y="1383"/>
                        <a:pt x="57" y="1381"/>
                        <a:pt x="57" y="1379"/>
                      </a:cubicBezTo>
                      <a:lnTo>
                        <a:pt x="57" y="1379"/>
                      </a:lnTo>
                      <a:cubicBezTo>
                        <a:pt x="65" y="1305"/>
                        <a:pt x="76" y="1232"/>
                        <a:pt x="91" y="1159"/>
                      </a:cubicBezTo>
                      <a:lnTo>
                        <a:pt x="91" y="1159"/>
                      </a:lnTo>
                      <a:cubicBezTo>
                        <a:pt x="100" y="1120"/>
                        <a:pt x="110" y="1080"/>
                        <a:pt x="119" y="1040"/>
                      </a:cubicBezTo>
                      <a:lnTo>
                        <a:pt x="119" y="1040"/>
                      </a:lnTo>
                      <a:cubicBezTo>
                        <a:pt x="128" y="1000"/>
                        <a:pt x="138" y="961"/>
                        <a:pt x="148" y="921"/>
                      </a:cubicBezTo>
                      <a:lnTo>
                        <a:pt x="148" y="921"/>
                      </a:lnTo>
                      <a:cubicBezTo>
                        <a:pt x="172" y="828"/>
                        <a:pt x="204" y="736"/>
                        <a:pt x="237" y="646"/>
                      </a:cubicBezTo>
                      <a:lnTo>
                        <a:pt x="237" y="646"/>
                      </a:lnTo>
                      <a:cubicBezTo>
                        <a:pt x="244" y="630"/>
                        <a:pt x="251" y="614"/>
                        <a:pt x="257" y="599"/>
                      </a:cubicBezTo>
                      <a:lnTo>
                        <a:pt x="257" y="599"/>
                      </a:lnTo>
                      <a:cubicBezTo>
                        <a:pt x="262" y="588"/>
                        <a:pt x="268" y="576"/>
                        <a:pt x="273" y="565"/>
                      </a:cubicBezTo>
                      <a:lnTo>
                        <a:pt x="273" y="565"/>
                      </a:lnTo>
                      <a:cubicBezTo>
                        <a:pt x="282" y="548"/>
                        <a:pt x="291" y="532"/>
                        <a:pt x="299" y="515"/>
                      </a:cubicBezTo>
                      <a:lnTo>
                        <a:pt x="299" y="515"/>
                      </a:lnTo>
                      <a:cubicBezTo>
                        <a:pt x="307" y="499"/>
                        <a:pt x="316" y="485"/>
                        <a:pt x="325" y="470"/>
                      </a:cubicBezTo>
                      <a:lnTo>
                        <a:pt x="325" y="470"/>
                      </a:lnTo>
                      <a:cubicBezTo>
                        <a:pt x="337" y="451"/>
                        <a:pt x="350" y="431"/>
                        <a:pt x="363" y="412"/>
                      </a:cubicBezTo>
                      <a:lnTo>
                        <a:pt x="363" y="412"/>
                      </a:lnTo>
                      <a:lnTo>
                        <a:pt x="363" y="412"/>
                      </a:lnTo>
                      <a:lnTo>
                        <a:pt x="363" y="412"/>
                      </a:lnTo>
                      <a:cubicBezTo>
                        <a:pt x="384" y="383"/>
                        <a:pt x="407" y="354"/>
                        <a:pt x="430" y="326"/>
                      </a:cubicBezTo>
                      <a:lnTo>
                        <a:pt x="430" y="326"/>
                      </a:lnTo>
                      <a:cubicBezTo>
                        <a:pt x="439" y="314"/>
                        <a:pt x="440" y="297"/>
                        <a:pt x="428" y="286"/>
                      </a:cubicBezTo>
                      <a:lnTo>
                        <a:pt x="428" y="286"/>
                      </a:lnTo>
                      <a:cubicBezTo>
                        <a:pt x="417" y="276"/>
                        <a:pt x="398" y="276"/>
                        <a:pt x="389" y="287"/>
                      </a:cubicBezTo>
                      <a:lnTo>
                        <a:pt x="389" y="287"/>
                      </a:lnTo>
                      <a:cubicBezTo>
                        <a:pt x="353" y="333"/>
                        <a:pt x="318" y="378"/>
                        <a:pt x="287" y="426"/>
                      </a:cubicBezTo>
                      <a:lnTo>
                        <a:pt x="287" y="426"/>
                      </a:lnTo>
                      <a:cubicBezTo>
                        <a:pt x="279" y="438"/>
                        <a:pt x="272" y="450"/>
                        <a:pt x="265" y="462"/>
                      </a:cubicBezTo>
                      <a:lnTo>
                        <a:pt x="265" y="462"/>
                      </a:lnTo>
                      <a:cubicBezTo>
                        <a:pt x="260" y="470"/>
                        <a:pt x="255" y="479"/>
                        <a:pt x="251" y="488"/>
                      </a:cubicBezTo>
                      <a:lnTo>
                        <a:pt x="251" y="488"/>
                      </a:lnTo>
                      <a:cubicBezTo>
                        <a:pt x="245" y="498"/>
                        <a:pt x="241" y="507"/>
                        <a:pt x="236" y="516"/>
                      </a:cubicBezTo>
                      <a:lnTo>
                        <a:pt x="236" y="516"/>
                      </a:lnTo>
                      <a:cubicBezTo>
                        <a:pt x="227" y="533"/>
                        <a:pt x="218" y="550"/>
                        <a:pt x="210" y="568"/>
                      </a:cubicBezTo>
                      <a:lnTo>
                        <a:pt x="210" y="568"/>
                      </a:lnTo>
                      <a:cubicBezTo>
                        <a:pt x="201" y="589"/>
                        <a:pt x="191" y="609"/>
                        <a:pt x="184" y="630"/>
                      </a:cubicBezTo>
                      <a:lnTo>
                        <a:pt x="184" y="630"/>
                      </a:lnTo>
                      <a:cubicBezTo>
                        <a:pt x="154" y="709"/>
                        <a:pt x="127" y="789"/>
                        <a:pt x="104" y="870"/>
                      </a:cubicBezTo>
                      <a:lnTo>
                        <a:pt x="104" y="870"/>
                      </a:lnTo>
                      <a:cubicBezTo>
                        <a:pt x="93" y="908"/>
                        <a:pt x="85" y="946"/>
                        <a:pt x="75" y="984"/>
                      </a:cubicBezTo>
                      <a:lnTo>
                        <a:pt x="75" y="984"/>
                      </a:lnTo>
                      <a:cubicBezTo>
                        <a:pt x="66" y="1024"/>
                        <a:pt x="56" y="1064"/>
                        <a:pt x="47" y="1104"/>
                      </a:cubicBezTo>
                      <a:lnTo>
                        <a:pt x="47" y="1104"/>
                      </a:lnTo>
                      <a:cubicBezTo>
                        <a:pt x="29" y="1180"/>
                        <a:pt x="15" y="1257"/>
                        <a:pt x="6" y="1334"/>
                      </a:cubicBezTo>
                      <a:lnTo>
                        <a:pt x="6" y="1334"/>
                      </a:lnTo>
                      <a:cubicBezTo>
                        <a:pt x="4" y="1353"/>
                        <a:pt x="2" y="1372"/>
                        <a:pt x="0" y="1391"/>
                      </a:cubicBezTo>
                      <a:lnTo>
                        <a:pt x="0" y="1391"/>
                      </a:lnTo>
                      <a:cubicBezTo>
                        <a:pt x="0" y="1398"/>
                        <a:pt x="2" y="1403"/>
                        <a:pt x="3" y="1409"/>
                      </a:cubicBezTo>
                      <a:lnTo>
                        <a:pt x="3" y="1409"/>
                      </a:lnTo>
                      <a:cubicBezTo>
                        <a:pt x="5" y="1415"/>
                        <a:pt x="10" y="1420"/>
                        <a:pt x="15" y="1424"/>
                      </a:cubicBezTo>
                      <a:lnTo>
                        <a:pt x="15" y="1424"/>
                      </a:lnTo>
                      <a:cubicBezTo>
                        <a:pt x="19" y="1429"/>
                        <a:pt x="25" y="1431"/>
                        <a:pt x="30" y="1434"/>
                      </a:cubicBezTo>
                      <a:lnTo>
                        <a:pt x="30" y="1434"/>
                      </a:lnTo>
                      <a:cubicBezTo>
                        <a:pt x="36" y="1437"/>
                        <a:pt x="43" y="1439"/>
                        <a:pt x="50" y="1440"/>
                      </a:cubicBezTo>
                      <a:lnTo>
                        <a:pt x="50" y="1440"/>
                      </a:lnTo>
                      <a:cubicBezTo>
                        <a:pt x="62" y="1444"/>
                        <a:pt x="76" y="1445"/>
                        <a:pt x="88" y="1446"/>
                      </a:cubicBezTo>
                      <a:lnTo>
                        <a:pt x="88" y="1446"/>
                      </a:lnTo>
                      <a:cubicBezTo>
                        <a:pt x="103" y="1448"/>
                        <a:pt x="118" y="1449"/>
                        <a:pt x="133" y="1449"/>
                      </a:cubicBezTo>
                      <a:lnTo>
                        <a:pt x="133" y="1449"/>
                      </a:lnTo>
                      <a:cubicBezTo>
                        <a:pt x="144" y="1449"/>
                        <a:pt x="155" y="1449"/>
                        <a:pt x="166" y="1449"/>
                      </a:cubicBezTo>
                      <a:lnTo>
                        <a:pt x="166" y="1449"/>
                      </a:lnTo>
                      <a:cubicBezTo>
                        <a:pt x="175" y="1450"/>
                        <a:pt x="184" y="1450"/>
                        <a:pt x="192" y="1450"/>
                      </a:cubicBezTo>
                      <a:lnTo>
                        <a:pt x="192" y="1450"/>
                      </a:lnTo>
                      <a:cubicBezTo>
                        <a:pt x="215" y="1449"/>
                        <a:pt x="239" y="1447"/>
                        <a:pt x="262" y="1446"/>
                      </a:cubicBezTo>
                      <a:lnTo>
                        <a:pt x="262" y="1446"/>
                      </a:lnTo>
                      <a:cubicBezTo>
                        <a:pt x="268" y="1446"/>
                        <a:pt x="275" y="1445"/>
                        <a:pt x="282" y="1444"/>
                      </a:cubicBezTo>
                      <a:lnTo>
                        <a:pt x="282" y="1444"/>
                      </a:lnTo>
                      <a:cubicBezTo>
                        <a:pt x="297" y="1442"/>
                        <a:pt x="312" y="1441"/>
                        <a:pt x="326" y="1440"/>
                      </a:cubicBezTo>
                      <a:lnTo>
                        <a:pt x="326" y="1440"/>
                      </a:lnTo>
                      <a:cubicBezTo>
                        <a:pt x="346" y="1439"/>
                        <a:pt x="365" y="1436"/>
                        <a:pt x="384" y="1433"/>
                      </a:cubicBezTo>
                      <a:lnTo>
                        <a:pt x="384" y="1433"/>
                      </a:lnTo>
                      <a:cubicBezTo>
                        <a:pt x="420" y="1429"/>
                        <a:pt x="457" y="1424"/>
                        <a:pt x="494" y="1417"/>
                      </a:cubicBezTo>
                      <a:lnTo>
                        <a:pt x="494" y="1417"/>
                      </a:lnTo>
                      <a:cubicBezTo>
                        <a:pt x="540" y="1410"/>
                        <a:pt x="586" y="1401"/>
                        <a:pt x="632" y="1393"/>
                      </a:cubicBezTo>
                      <a:lnTo>
                        <a:pt x="632" y="1393"/>
                      </a:lnTo>
                      <a:cubicBezTo>
                        <a:pt x="668" y="1386"/>
                        <a:pt x="703" y="1379"/>
                        <a:pt x="739" y="1370"/>
                      </a:cubicBezTo>
                      <a:lnTo>
                        <a:pt x="739" y="1370"/>
                      </a:lnTo>
                      <a:cubicBezTo>
                        <a:pt x="752" y="1366"/>
                        <a:pt x="766" y="1363"/>
                        <a:pt x="779" y="1359"/>
                      </a:cubicBezTo>
                      <a:lnTo>
                        <a:pt x="779" y="1359"/>
                      </a:lnTo>
                      <a:cubicBezTo>
                        <a:pt x="786" y="1358"/>
                        <a:pt x="793" y="1356"/>
                        <a:pt x="800" y="1355"/>
                      </a:cubicBezTo>
                      <a:lnTo>
                        <a:pt x="800" y="1355"/>
                      </a:lnTo>
                      <a:cubicBezTo>
                        <a:pt x="823" y="1348"/>
                        <a:pt x="847" y="1340"/>
                        <a:pt x="870" y="1333"/>
                      </a:cubicBezTo>
                      <a:lnTo>
                        <a:pt x="870" y="1333"/>
                      </a:lnTo>
                      <a:cubicBezTo>
                        <a:pt x="886" y="1329"/>
                        <a:pt x="901" y="1323"/>
                        <a:pt x="917" y="1318"/>
                      </a:cubicBezTo>
                      <a:lnTo>
                        <a:pt x="917" y="1318"/>
                      </a:lnTo>
                      <a:cubicBezTo>
                        <a:pt x="935" y="1312"/>
                        <a:pt x="953" y="1306"/>
                        <a:pt x="971" y="1299"/>
                      </a:cubicBezTo>
                      <a:lnTo>
                        <a:pt x="971" y="1299"/>
                      </a:lnTo>
                      <a:cubicBezTo>
                        <a:pt x="1049" y="1270"/>
                        <a:pt x="1127" y="1243"/>
                        <a:pt x="1204" y="1213"/>
                      </a:cubicBezTo>
                      <a:lnTo>
                        <a:pt x="1204" y="1213"/>
                      </a:lnTo>
                      <a:cubicBezTo>
                        <a:pt x="1241" y="1199"/>
                        <a:pt x="1279" y="1184"/>
                        <a:pt x="1315" y="1168"/>
                      </a:cubicBezTo>
                      <a:lnTo>
                        <a:pt x="1315" y="1168"/>
                      </a:lnTo>
                      <a:cubicBezTo>
                        <a:pt x="1355" y="1151"/>
                        <a:pt x="1395" y="1133"/>
                        <a:pt x="1435" y="1114"/>
                      </a:cubicBezTo>
                      <a:lnTo>
                        <a:pt x="1435" y="1114"/>
                      </a:lnTo>
                      <a:cubicBezTo>
                        <a:pt x="1473" y="1097"/>
                        <a:pt x="1510" y="1078"/>
                        <a:pt x="1547" y="1060"/>
                      </a:cubicBezTo>
                      <a:lnTo>
                        <a:pt x="1547" y="1060"/>
                      </a:lnTo>
                      <a:cubicBezTo>
                        <a:pt x="1564" y="1051"/>
                        <a:pt x="1582" y="1041"/>
                        <a:pt x="1598" y="1032"/>
                      </a:cubicBezTo>
                      <a:lnTo>
                        <a:pt x="1598" y="1032"/>
                      </a:lnTo>
                      <a:cubicBezTo>
                        <a:pt x="1617" y="1021"/>
                        <a:pt x="1636" y="1010"/>
                        <a:pt x="1655" y="999"/>
                      </a:cubicBezTo>
                      <a:lnTo>
                        <a:pt x="1655" y="999"/>
                      </a:lnTo>
                      <a:cubicBezTo>
                        <a:pt x="1689" y="978"/>
                        <a:pt x="1724" y="956"/>
                        <a:pt x="1757" y="933"/>
                      </a:cubicBezTo>
                      <a:lnTo>
                        <a:pt x="1757" y="933"/>
                      </a:lnTo>
                      <a:cubicBezTo>
                        <a:pt x="1789" y="913"/>
                        <a:pt x="1822" y="892"/>
                        <a:pt x="1853" y="871"/>
                      </a:cubicBezTo>
                      <a:lnTo>
                        <a:pt x="1853" y="871"/>
                      </a:lnTo>
                      <a:cubicBezTo>
                        <a:pt x="1886" y="850"/>
                        <a:pt x="1918" y="829"/>
                        <a:pt x="1950" y="808"/>
                      </a:cubicBezTo>
                      <a:lnTo>
                        <a:pt x="1950" y="808"/>
                      </a:lnTo>
                      <a:cubicBezTo>
                        <a:pt x="1968" y="798"/>
                        <a:pt x="1985" y="787"/>
                        <a:pt x="2001" y="776"/>
                      </a:cubicBezTo>
                      <a:lnTo>
                        <a:pt x="2001" y="776"/>
                      </a:lnTo>
                      <a:cubicBezTo>
                        <a:pt x="2019" y="765"/>
                        <a:pt x="2036" y="754"/>
                        <a:pt x="2052" y="741"/>
                      </a:cubicBezTo>
                      <a:lnTo>
                        <a:pt x="2052" y="741"/>
                      </a:lnTo>
                      <a:cubicBezTo>
                        <a:pt x="2085" y="717"/>
                        <a:pt x="2118" y="693"/>
                        <a:pt x="2151" y="669"/>
                      </a:cubicBezTo>
                      <a:lnTo>
                        <a:pt x="2151" y="669"/>
                      </a:lnTo>
                      <a:cubicBezTo>
                        <a:pt x="2185" y="642"/>
                        <a:pt x="2219" y="617"/>
                        <a:pt x="2253" y="592"/>
                      </a:cubicBezTo>
                      <a:lnTo>
                        <a:pt x="2253" y="592"/>
                      </a:lnTo>
                      <a:cubicBezTo>
                        <a:pt x="2284" y="569"/>
                        <a:pt x="2316" y="546"/>
                        <a:pt x="2346" y="523"/>
                      </a:cubicBezTo>
                      <a:lnTo>
                        <a:pt x="2346" y="523"/>
                      </a:lnTo>
                      <a:cubicBezTo>
                        <a:pt x="2363" y="510"/>
                        <a:pt x="2379" y="497"/>
                        <a:pt x="2394" y="483"/>
                      </a:cubicBezTo>
                      <a:lnTo>
                        <a:pt x="2394" y="483"/>
                      </a:lnTo>
                      <a:cubicBezTo>
                        <a:pt x="2404" y="475"/>
                        <a:pt x="2412" y="467"/>
                        <a:pt x="2419" y="457"/>
                      </a:cubicBezTo>
                      <a:lnTo>
                        <a:pt x="2419" y="457"/>
                      </a:lnTo>
                      <a:cubicBezTo>
                        <a:pt x="2426" y="447"/>
                        <a:pt x="2428" y="437"/>
                        <a:pt x="2428" y="425"/>
                      </a:cubicBezTo>
                      <a:lnTo>
                        <a:pt x="2428" y="425"/>
                      </a:lnTo>
                      <a:cubicBezTo>
                        <a:pt x="2428" y="412"/>
                        <a:pt x="2420" y="401"/>
                        <a:pt x="2413" y="391"/>
                      </a:cubicBezTo>
                      <a:lnTo>
                        <a:pt x="2413" y="391"/>
                      </a:lnTo>
                      <a:cubicBezTo>
                        <a:pt x="2405" y="382"/>
                        <a:pt x="2398" y="373"/>
                        <a:pt x="2391" y="365"/>
                      </a:cubicBezTo>
                      <a:lnTo>
                        <a:pt x="2391" y="365"/>
                      </a:lnTo>
                      <a:cubicBezTo>
                        <a:pt x="2385" y="358"/>
                        <a:pt x="2379" y="351"/>
                        <a:pt x="2373" y="345"/>
                      </a:cubicBezTo>
                      <a:lnTo>
                        <a:pt x="2373" y="345"/>
                      </a:lnTo>
                      <a:cubicBezTo>
                        <a:pt x="2359" y="330"/>
                        <a:pt x="2344" y="316"/>
                        <a:pt x="2330" y="303"/>
                      </a:cubicBezTo>
                      <a:lnTo>
                        <a:pt x="2330" y="303"/>
                      </a:lnTo>
                      <a:cubicBezTo>
                        <a:pt x="2314" y="289"/>
                        <a:pt x="2299" y="276"/>
                        <a:pt x="2283" y="263"/>
                      </a:cubicBezTo>
                      <a:lnTo>
                        <a:pt x="2283" y="263"/>
                      </a:lnTo>
                      <a:cubicBezTo>
                        <a:pt x="2266" y="249"/>
                        <a:pt x="2248" y="237"/>
                        <a:pt x="2230" y="226"/>
                      </a:cubicBezTo>
                      <a:lnTo>
                        <a:pt x="2230" y="226"/>
                      </a:lnTo>
                      <a:cubicBezTo>
                        <a:pt x="2196" y="205"/>
                        <a:pt x="2161" y="187"/>
                        <a:pt x="2125" y="170"/>
                      </a:cubicBezTo>
                      <a:lnTo>
                        <a:pt x="2125" y="170"/>
                      </a:lnTo>
                      <a:cubicBezTo>
                        <a:pt x="2088" y="152"/>
                        <a:pt x="2049" y="137"/>
                        <a:pt x="2010" y="123"/>
                      </a:cubicBezTo>
                      <a:lnTo>
                        <a:pt x="2010" y="123"/>
                      </a:lnTo>
                      <a:cubicBezTo>
                        <a:pt x="1938" y="96"/>
                        <a:pt x="1865" y="70"/>
                        <a:pt x="1791" y="48"/>
                      </a:cubicBezTo>
                      <a:lnTo>
                        <a:pt x="1791" y="48"/>
                      </a:lnTo>
                      <a:cubicBezTo>
                        <a:pt x="1738" y="32"/>
                        <a:pt x="1684" y="18"/>
                        <a:pt x="1628" y="9"/>
                      </a:cubicBezTo>
                      <a:lnTo>
                        <a:pt x="1628" y="9"/>
                      </a:lnTo>
                      <a:cubicBezTo>
                        <a:pt x="1588" y="2"/>
                        <a:pt x="1547" y="0"/>
                        <a:pt x="1507" y="0"/>
                      </a:cubicBezTo>
                      <a:lnTo>
                        <a:pt x="1507" y="0"/>
                      </a:lnTo>
                      <a:cubicBezTo>
                        <a:pt x="1493" y="0"/>
                        <a:pt x="1481" y="0"/>
                        <a:pt x="1467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270">
                  <a:extLst>
                    <a:ext uri="{FF2B5EF4-FFF2-40B4-BE49-F238E27FC236}">
                      <a16:creationId xmlns:a16="http://schemas.microsoft.com/office/drawing/2014/main" id="{7DDD5A11-908F-4F45-BE93-DD71C68023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2600" y="5284788"/>
                  <a:ext cx="84138" cy="87312"/>
                </a:xfrm>
                <a:custGeom>
                  <a:avLst/>
                  <a:gdLst>
                    <a:gd name="T0" fmla="*/ 59 w 233"/>
                    <a:gd name="T1" fmla="*/ 131 h 242"/>
                    <a:gd name="T2" fmla="*/ 59 w 233"/>
                    <a:gd name="T3" fmla="*/ 133 h 242"/>
                    <a:gd name="T4" fmla="*/ 91 w 233"/>
                    <a:gd name="T5" fmla="*/ 65 h 242"/>
                    <a:gd name="T6" fmla="*/ 105 w 233"/>
                    <a:gd name="T7" fmla="*/ 74 h 242"/>
                    <a:gd name="T8" fmla="*/ 138 w 233"/>
                    <a:gd name="T9" fmla="*/ 82 h 242"/>
                    <a:gd name="T10" fmla="*/ 153 w 233"/>
                    <a:gd name="T11" fmla="*/ 89 h 242"/>
                    <a:gd name="T12" fmla="*/ 164 w 233"/>
                    <a:gd name="T13" fmla="*/ 99 h 242"/>
                    <a:gd name="T14" fmla="*/ 171 w 233"/>
                    <a:gd name="T15" fmla="*/ 111 h 242"/>
                    <a:gd name="T16" fmla="*/ 175 w 233"/>
                    <a:gd name="T17" fmla="*/ 124 h 242"/>
                    <a:gd name="T18" fmla="*/ 176 w 233"/>
                    <a:gd name="T19" fmla="*/ 131 h 242"/>
                    <a:gd name="T20" fmla="*/ 173 w 233"/>
                    <a:gd name="T21" fmla="*/ 144 h 242"/>
                    <a:gd name="T22" fmla="*/ 163 w 233"/>
                    <a:gd name="T23" fmla="*/ 162 h 242"/>
                    <a:gd name="T24" fmla="*/ 154 w 233"/>
                    <a:gd name="T25" fmla="*/ 172 h 242"/>
                    <a:gd name="T26" fmla="*/ 143 w 233"/>
                    <a:gd name="T27" fmla="*/ 179 h 242"/>
                    <a:gd name="T28" fmla="*/ 128 w 233"/>
                    <a:gd name="T29" fmla="*/ 184 h 242"/>
                    <a:gd name="T30" fmla="*/ 111 w 233"/>
                    <a:gd name="T31" fmla="*/ 185 h 242"/>
                    <a:gd name="T32" fmla="*/ 89 w 233"/>
                    <a:gd name="T33" fmla="*/ 180 h 242"/>
                    <a:gd name="T34" fmla="*/ 75 w 233"/>
                    <a:gd name="T35" fmla="*/ 173 h 242"/>
                    <a:gd name="T36" fmla="*/ 69 w 233"/>
                    <a:gd name="T37" fmla="*/ 166 h 242"/>
                    <a:gd name="T38" fmla="*/ 64 w 233"/>
                    <a:gd name="T39" fmla="*/ 158 h 242"/>
                    <a:gd name="T40" fmla="*/ 60 w 233"/>
                    <a:gd name="T41" fmla="*/ 146 h 242"/>
                    <a:gd name="T42" fmla="*/ 60 w 233"/>
                    <a:gd name="T43" fmla="*/ 128 h 242"/>
                    <a:gd name="T44" fmla="*/ 66 w 233"/>
                    <a:gd name="T45" fmla="*/ 101 h 242"/>
                    <a:gd name="T46" fmla="*/ 77 w 233"/>
                    <a:gd name="T47" fmla="*/ 80 h 242"/>
                    <a:gd name="T48" fmla="*/ 90 w 233"/>
                    <a:gd name="T49" fmla="*/ 66 h 242"/>
                    <a:gd name="T50" fmla="*/ 83 w 233"/>
                    <a:gd name="T51" fmla="*/ 4 h 242"/>
                    <a:gd name="T52" fmla="*/ 47 w 233"/>
                    <a:gd name="T53" fmla="*/ 31 h 242"/>
                    <a:gd name="T54" fmla="*/ 17 w 233"/>
                    <a:gd name="T55" fmla="*/ 73 h 242"/>
                    <a:gd name="T56" fmla="*/ 9 w 233"/>
                    <a:gd name="T57" fmla="*/ 170 h 242"/>
                    <a:gd name="T58" fmla="*/ 20 w 233"/>
                    <a:gd name="T59" fmla="*/ 193 h 242"/>
                    <a:gd name="T60" fmla="*/ 36 w 233"/>
                    <a:gd name="T61" fmla="*/ 212 h 242"/>
                    <a:gd name="T62" fmla="*/ 78 w 233"/>
                    <a:gd name="T63" fmla="*/ 235 h 242"/>
                    <a:gd name="T64" fmla="*/ 124 w 233"/>
                    <a:gd name="T65" fmla="*/ 240 h 242"/>
                    <a:gd name="T66" fmla="*/ 149 w 233"/>
                    <a:gd name="T67" fmla="*/ 236 h 242"/>
                    <a:gd name="T68" fmla="*/ 175 w 233"/>
                    <a:gd name="T69" fmla="*/ 225 h 242"/>
                    <a:gd name="T70" fmla="*/ 193 w 233"/>
                    <a:gd name="T71" fmla="*/ 211 h 242"/>
                    <a:gd name="T72" fmla="*/ 206 w 233"/>
                    <a:gd name="T73" fmla="*/ 197 h 242"/>
                    <a:gd name="T74" fmla="*/ 225 w 233"/>
                    <a:gd name="T75" fmla="*/ 162 h 242"/>
                    <a:gd name="T76" fmla="*/ 231 w 233"/>
                    <a:gd name="T77" fmla="*/ 125 h 242"/>
                    <a:gd name="T78" fmla="*/ 225 w 233"/>
                    <a:gd name="T79" fmla="*/ 96 h 242"/>
                    <a:gd name="T80" fmla="*/ 214 w 233"/>
                    <a:gd name="T81" fmla="*/ 74 h 242"/>
                    <a:gd name="T82" fmla="*/ 165 w 233"/>
                    <a:gd name="T83" fmla="*/ 32 h 242"/>
                    <a:gd name="T84" fmla="*/ 124 w 233"/>
                    <a:gd name="T85" fmla="*/ 21 h 242"/>
                    <a:gd name="T86" fmla="*/ 121 w 233"/>
                    <a:gd name="T87" fmla="*/ 12 h 242"/>
                    <a:gd name="T88" fmla="*/ 97 w 233"/>
                    <a:gd name="T89" fmla="*/ 0 h 242"/>
                    <a:gd name="T90" fmla="*/ 83 w 233"/>
                    <a:gd name="T91" fmla="*/ 4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3" h="242">
                      <a:moveTo>
                        <a:pt x="59" y="131"/>
                      </a:moveTo>
                      <a:lnTo>
                        <a:pt x="59" y="131"/>
                      </a:lnTo>
                      <a:cubicBezTo>
                        <a:pt x="59" y="132"/>
                        <a:pt x="59" y="132"/>
                        <a:pt x="59" y="133"/>
                      </a:cubicBezTo>
                      <a:lnTo>
                        <a:pt x="59" y="133"/>
                      </a:lnTo>
                      <a:cubicBezTo>
                        <a:pt x="59" y="132"/>
                        <a:pt x="59" y="132"/>
                        <a:pt x="59" y="131"/>
                      </a:cubicBezTo>
                      <a:close/>
                      <a:moveTo>
                        <a:pt x="91" y="65"/>
                      </a:moveTo>
                      <a:lnTo>
                        <a:pt x="91" y="65"/>
                      </a:lnTo>
                      <a:cubicBezTo>
                        <a:pt x="94" y="70"/>
                        <a:pt x="100" y="73"/>
                        <a:pt x="105" y="74"/>
                      </a:cubicBezTo>
                      <a:lnTo>
                        <a:pt x="105" y="74"/>
                      </a:lnTo>
                      <a:cubicBezTo>
                        <a:pt x="116" y="76"/>
                        <a:pt x="127" y="78"/>
                        <a:pt x="138" y="82"/>
                      </a:cubicBezTo>
                      <a:lnTo>
                        <a:pt x="138" y="82"/>
                      </a:lnTo>
                      <a:cubicBezTo>
                        <a:pt x="143" y="84"/>
                        <a:pt x="148" y="86"/>
                        <a:pt x="153" y="89"/>
                      </a:cubicBezTo>
                      <a:lnTo>
                        <a:pt x="153" y="89"/>
                      </a:lnTo>
                      <a:cubicBezTo>
                        <a:pt x="156" y="92"/>
                        <a:pt x="160" y="96"/>
                        <a:pt x="164" y="99"/>
                      </a:cubicBezTo>
                      <a:lnTo>
                        <a:pt x="164" y="99"/>
                      </a:lnTo>
                      <a:cubicBezTo>
                        <a:pt x="166" y="104"/>
                        <a:pt x="169" y="107"/>
                        <a:pt x="171" y="111"/>
                      </a:cubicBezTo>
                      <a:lnTo>
                        <a:pt x="171" y="111"/>
                      </a:lnTo>
                      <a:cubicBezTo>
                        <a:pt x="173" y="115"/>
                        <a:pt x="174" y="119"/>
                        <a:pt x="175" y="124"/>
                      </a:cubicBezTo>
                      <a:lnTo>
                        <a:pt x="175" y="124"/>
                      </a:lnTo>
                      <a:cubicBezTo>
                        <a:pt x="176" y="126"/>
                        <a:pt x="176" y="129"/>
                        <a:pt x="176" y="131"/>
                      </a:cubicBezTo>
                      <a:lnTo>
                        <a:pt x="176" y="131"/>
                      </a:lnTo>
                      <a:cubicBezTo>
                        <a:pt x="175" y="136"/>
                        <a:pt x="174" y="140"/>
                        <a:pt x="173" y="144"/>
                      </a:cubicBezTo>
                      <a:lnTo>
                        <a:pt x="173" y="144"/>
                      </a:lnTo>
                      <a:cubicBezTo>
                        <a:pt x="170" y="150"/>
                        <a:pt x="167" y="156"/>
                        <a:pt x="163" y="162"/>
                      </a:cubicBezTo>
                      <a:lnTo>
                        <a:pt x="163" y="162"/>
                      </a:lnTo>
                      <a:cubicBezTo>
                        <a:pt x="160" y="165"/>
                        <a:pt x="157" y="169"/>
                        <a:pt x="154" y="172"/>
                      </a:cubicBezTo>
                      <a:lnTo>
                        <a:pt x="154" y="172"/>
                      </a:lnTo>
                      <a:cubicBezTo>
                        <a:pt x="150" y="175"/>
                        <a:pt x="147" y="177"/>
                        <a:pt x="143" y="179"/>
                      </a:cubicBezTo>
                      <a:lnTo>
                        <a:pt x="143" y="179"/>
                      </a:lnTo>
                      <a:cubicBezTo>
                        <a:pt x="138" y="181"/>
                        <a:pt x="133" y="183"/>
                        <a:pt x="128" y="184"/>
                      </a:cubicBezTo>
                      <a:lnTo>
                        <a:pt x="128" y="184"/>
                      </a:lnTo>
                      <a:cubicBezTo>
                        <a:pt x="123" y="185"/>
                        <a:pt x="117" y="185"/>
                        <a:pt x="111" y="185"/>
                      </a:cubicBezTo>
                      <a:lnTo>
                        <a:pt x="111" y="185"/>
                      </a:lnTo>
                      <a:cubicBezTo>
                        <a:pt x="104" y="183"/>
                        <a:pt x="97" y="182"/>
                        <a:pt x="89" y="180"/>
                      </a:cubicBezTo>
                      <a:lnTo>
                        <a:pt x="89" y="180"/>
                      </a:lnTo>
                      <a:cubicBezTo>
                        <a:pt x="84" y="177"/>
                        <a:pt x="80" y="175"/>
                        <a:pt x="75" y="173"/>
                      </a:cubicBezTo>
                      <a:lnTo>
                        <a:pt x="75" y="173"/>
                      </a:lnTo>
                      <a:cubicBezTo>
                        <a:pt x="73" y="170"/>
                        <a:pt x="71" y="169"/>
                        <a:pt x="69" y="166"/>
                      </a:cubicBezTo>
                      <a:lnTo>
                        <a:pt x="69" y="166"/>
                      </a:lnTo>
                      <a:cubicBezTo>
                        <a:pt x="67" y="163"/>
                        <a:pt x="65" y="160"/>
                        <a:pt x="64" y="158"/>
                      </a:cubicBezTo>
                      <a:lnTo>
                        <a:pt x="64" y="158"/>
                      </a:lnTo>
                      <a:cubicBezTo>
                        <a:pt x="62" y="154"/>
                        <a:pt x="61" y="150"/>
                        <a:pt x="60" y="146"/>
                      </a:cubicBezTo>
                      <a:lnTo>
                        <a:pt x="60" y="146"/>
                      </a:lnTo>
                      <a:cubicBezTo>
                        <a:pt x="60" y="140"/>
                        <a:pt x="60" y="134"/>
                        <a:pt x="60" y="128"/>
                      </a:cubicBezTo>
                      <a:lnTo>
                        <a:pt x="60" y="128"/>
                      </a:lnTo>
                      <a:cubicBezTo>
                        <a:pt x="61" y="118"/>
                        <a:pt x="63" y="110"/>
                        <a:pt x="66" y="101"/>
                      </a:cubicBezTo>
                      <a:lnTo>
                        <a:pt x="66" y="101"/>
                      </a:lnTo>
                      <a:cubicBezTo>
                        <a:pt x="69" y="94"/>
                        <a:pt x="73" y="87"/>
                        <a:pt x="77" y="80"/>
                      </a:cubicBezTo>
                      <a:lnTo>
                        <a:pt x="77" y="80"/>
                      </a:lnTo>
                      <a:cubicBezTo>
                        <a:pt x="81" y="75"/>
                        <a:pt x="85" y="70"/>
                        <a:pt x="90" y="66"/>
                      </a:cubicBezTo>
                      <a:lnTo>
                        <a:pt x="91" y="65"/>
                      </a:lnTo>
                      <a:close/>
                      <a:moveTo>
                        <a:pt x="83" y="4"/>
                      </a:moveTo>
                      <a:lnTo>
                        <a:pt x="83" y="4"/>
                      </a:lnTo>
                      <a:cubicBezTo>
                        <a:pt x="70" y="12"/>
                        <a:pt x="57" y="21"/>
                        <a:pt x="47" y="31"/>
                      </a:cubicBezTo>
                      <a:lnTo>
                        <a:pt x="47" y="31"/>
                      </a:lnTo>
                      <a:cubicBezTo>
                        <a:pt x="34" y="42"/>
                        <a:pt x="24" y="58"/>
                        <a:pt x="17" y="73"/>
                      </a:cubicBezTo>
                      <a:lnTo>
                        <a:pt x="17" y="73"/>
                      </a:lnTo>
                      <a:cubicBezTo>
                        <a:pt x="3" y="103"/>
                        <a:pt x="0" y="138"/>
                        <a:pt x="9" y="170"/>
                      </a:cubicBezTo>
                      <a:lnTo>
                        <a:pt x="9" y="170"/>
                      </a:lnTo>
                      <a:cubicBezTo>
                        <a:pt x="11" y="178"/>
                        <a:pt x="16" y="186"/>
                        <a:pt x="20" y="193"/>
                      </a:cubicBezTo>
                      <a:lnTo>
                        <a:pt x="20" y="193"/>
                      </a:lnTo>
                      <a:cubicBezTo>
                        <a:pt x="24" y="200"/>
                        <a:pt x="30" y="206"/>
                        <a:pt x="36" y="212"/>
                      </a:cubicBezTo>
                      <a:lnTo>
                        <a:pt x="36" y="212"/>
                      </a:lnTo>
                      <a:cubicBezTo>
                        <a:pt x="47" y="223"/>
                        <a:pt x="63" y="229"/>
                        <a:pt x="78" y="235"/>
                      </a:cubicBezTo>
                      <a:lnTo>
                        <a:pt x="78" y="235"/>
                      </a:lnTo>
                      <a:cubicBezTo>
                        <a:pt x="93" y="240"/>
                        <a:pt x="109" y="241"/>
                        <a:pt x="124" y="240"/>
                      </a:cubicBezTo>
                      <a:lnTo>
                        <a:pt x="124" y="240"/>
                      </a:lnTo>
                      <a:cubicBezTo>
                        <a:pt x="133" y="240"/>
                        <a:pt x="141" y="239"/>
                        <a:pt x="149" y="236"/>
                      </a:cubicBezTo>
                      <a:lnTo>
                        <a:pt x="149" y="236"/>
                      </a:lnTo>
                      <a:cubicBezTo>
                        <a:pt x="158" y="234"/>
                        <a:pt x="167" y="229"/>
                        <a:pt x="175" y="225"/>
                      </a:cubicBezTo>
                      <a:lnTo>
                        <a:pt x="175" y="225"/>
                      </a:lnTo>
                      <a:cubicBezTo>
                        <a:pt x="182" y="221"/>
                        <a:pt x="188" y="216"/>
                        <a:pt x="193" y="211"/>
                      </a:cubicBezTo>
                      <a:lnTo>
                        <a:pt x="193" y="211"/>
                      </a:lnTo>
                      <a:cubicBezTo>
                        <a:pt x="198" y="207"/>
                        <a:pt x="202" y="202"/>
                        <a:pt x="206" y="197"/>
                      </a:cubicBezTo>
                      <a:lnTo>
                        <a:pt x="206" y="197"/>
                      </a:lnTo>
                      <a:cubicBezTo>
                        <a:pt x="214" y="186"/>
                        <a:pt x="221" y="175"/>
                        <a:pt x="225" y="162"/>
                      </a:cubicBezTo>
                      <a:lnTo>
                        <a:pt x="225" y="162"/>
                      </a:lnTo>
                      <a:cubicBezTo>
                        <a:pt x="230" y="150"/>
                        <a:pt x="231" y="138"/>
                        <a:pt x="231" y="125"/>
                      </a:cubicBezTo>
                      <a:lnTo>
                        <a:pt x="231" y="125"/>
                      </a:lnTo>
                      <a:cubicBezTo>
                        <a:pt x="232" y="115"/>
                        <a:pt x="229" y="105"/>
                        <a:pt x="225" y="96"/>
                      </a:cubicBezTo>
                      <a:lnTo>
                        <a:pt x="225" y="96"/>
                      </a:lnTo>
                      <a:cubicBezTo>
                        <a:pt x="223" y="89"/>
                        <a:pt x="218" y="81"/>
                        <a:pt x="214" y="74"/>
                      </a:cubicBezTo>
                      <a:lnTo>
                        <a:pt x="214" y="74"/>
                      </a:lnTo>
                      <a:cubicBezTo>
                        <a:pt x="202" y="56"/>
                        <a:pt x="184" y="42"/>
                        <a:pt x="165" y="32"/>
                      </a:cubicBezTo>
                      <a:lnTo>
                        <a:pt x="165" y="32"/>
                      </a:lnTo>
                      <a:cubicBezTo>
                        <a:pt x="152" y="26"/>
                        <a:pt x="138" y="23"/>
                        <a:pt x="124" y="21"/>
                      </a:cubicBezTo>
                      <a:lnTo>
                        <a:pt x="124" y="21"/>
                      </a:lnTo>
                      <a:cubicBezTo>
                        <a:pt x="124" y="18"/>
                        <a:pt x="123" y="15"/>
                        <a:pt x="121" y="12"/>
                      </a:cubicBezTo>
                      <a:lnTo>
                        <a:pt x="121" y="12"/>
                      </a:lnTo>
                      <a:cubicBezTo>
                        <a:pt x="115" y="4"/>
                        <a:pt x="107" y="0"/>
                        <a:pt x="97" y="0"/>
                      </a:cubicBezTo>
                      <a:lnTo>
                        <a:pt x="97" y="0"/>
                      </a:lnTo>
                      <a:cubicBezTo>
                        <a:pt x="92" y="0"/>
                        <a:pt x="87" y="1"/>
                        <a:pt x="83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271">
                  <a:extLst>
                    <a:ext uri="{FF2B5EF4-FFF2-40B4-BE49-F238E27FC236}">
                      <a16:creationId xmlns:a16="http://schemas.microsoft.com/office/drawing/2014/main" id="{6D7DD0BD-8B04-1548-B83E-CC46BC4266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27863" y="5232400"/>
                  <a:ext cx="90487" cy="96838"/>
                </a:xfrm>
                <a:custGeom>
                  <a:avLst/>
                  <a:gdLst>
                    <a:gd name="T0" fmla="*/ 89 w 253"/>
                    <a:gd name="T1" fmla="*/ 98 h 269"/>
                    <a:gd name="T2" fmla="*/ 88 w 253"/>
                    <a:gd name="T3" fmla="*/ 100 h 269"/>
                    <a:gd name="T4" fmla="*/ 145 w 253"/>
                    <a:gd name="T5" fmla="*/ 60 h 269"/>
                    <a:gd name="T6" fmla="*/ 154 w 253"/>
                    <a:gd name="T7" fmla="*/ 55 h 269"/>
                    <a:gd name="T8" fmla="*/ 159 w 253"/>
                    <a:gd name="T9" fmla="*/ 57 h 269"/>
                    <a:gd name="T10" fmla="*/ 172 w 253"/>
                    <a:gd name="T11" fmla="*/ 64 h 269"/>
                    <a:gd name="T12" fmla="*/ 182 w 253"/>
                    <a:gd name="T13" fmla="*/ 72 h 269"/>
                    <a:gd name="T14" fmla="*/ 190 w 253"/>
                    <a:gd name="T15" fmla="*/ 84 h 269"/>
                    <a:gd name="T16" fmla="*/ 195 w 253"/>
                    <a:gd name="T17" fmla="*/ 101 h 269"/>
                    <a:gd name="T18" fmla="*/ 196 w 253"/>
                    <a:gd name="T19" fmla="*/ 133 h 269"/>
                    <a:gd name="T20" fmla="*/ 190 w 253"/>
                    <a:gd name="T21" fmla="*/ 160 h 269"/>
                    <a:gd name="T22" fmla="*/ 179 w 253"/>
                    <a:gd name="T23" fmla="*/ 180 h 269"/>
                    <a:gd name="T24" fmla="*/ 168 w 253"/>
                    <a:gd name="T25" fmla="*/ 193 h 269"/>
                    <a:gd name="T26" fmla="*/ 147 w 253"/>
                    <a:gd name="T27" fmla="*/ 206 h 269"/>
                    <a:gd name="T28" fmla="*/ 134 w 253"/>
                    <a:gd name="T29" fmla="*/ 210 h 269"/>
                    <a:gd name="T30" fmla="*/ 114 w 253"/>
                    <a:gd name="T31" fmla="*/ 211 h 269"/>
                    <a:gd name="T32" fmla="*/ 93 w 253"/>
                    <a:gd name="T33" fmla="*/ 206 h 269"/>
                    <a:gd name="T34" fmla="*/ 77 w 253"/>
                    <a:gd name="T35" fmla="*/ 198 h 269"/>
                    <a:gd name="T36" fmla="*/ 67 w 253"/>
                    <a:gd name="T37" fmla="*/ 190 h 269"/>
                    <a:gd name="T38" fmla="*/ 61 w 253"/>
                    <a:gd name="T39" fmla="*/ 180 h 269"/>
                    <a:gd name="T40" fmla="*/ 60 w 253"/>
                    <a:gd name="T41" fmla="*/ 174 h 269"/>
                    <a:gd name="T42" fmla="*/ 59 w 253"/>
                    <a:gd name="T43" fmla="*/ 162 h 269"/>
                    <a:gd name="T44" fmla="*/ 64 w 253"/>
                    <a:gd name="T45" fmla="*/ 142 h 269"/>
                    <a:gd name="T46" fmla="*/ 85 w 253"/>
                    <a:gd name="T47" fmla="*/ 104 h 269"/>
                    <a:gd name="T48" fmla="*/ 108 w 253"/>
                    <a:gd name="T49" fmla="*/ 79 h 269"/>
                    <a:gd name="T50" fmla="*/ 126 w 253"/>
                    <a:gd name="T51" fmla="*/ 68 h 269"/>
                    <a:gd name="T52" fmla="*/ 145 w 253"/>
                    <a:gd name="T53" fmla="*/ 60 h 269"/>
                    <a:gd name="T54" fmla="*/ 141 w 253"/>
                    <a:gd name="T55" fmla="*/ 6 h 269"/>
                    <a:gd name="T56" fmla="*/ 128 w 253"/>
                    <a:gd name="T57" fmla="*/ 7 h 269"/>
                    <a:gd name="T58" fmla="*/ 75 w 253"/>
                    <a:gd name="T59" fmla="*/ 34 h 269"/>
                    <a:gd name="T60" fmla="*/ 33 w 253"/>
                    <a:gd name="T61" fmla="*/ 82 h 269"/>
                    <a:gd name="T62" fmla="*/ 8 w 253"/>
                    <a:gd name="T63" fmla="*/ 136 h 269"/>
                    <a:gd name="T64" fmla="*/ 10 w 253"/>
                    <a:gd name="T65" fmla="*/ 201 h 269"/>
                    <a:gd name="T66" fmla="*/ 112 w 253"/>
                    <a:gd name="T67" fmla="*/ 267 h 269"/>
                    <a:gd name="T68" fmla="*/ 167 w 253"/>
                    <a:gd name="T69" fmla="*/ 258 h 269"/>
                    <a:gd name="T70" fmla="*/ 215 w 253"/>
                    <a:gd name="T71" fmla="*/ 224 h 269"/>
                    <a:gd name="T72" fmla="*/ 249 w 253"/>
                    <a:gd name="T73" fmla="*/ 155 h 269"/>
                    <a:gd name="T74" fmla="*/ 252 w 253"/>
                    <a:gd name="T75" fmla="*/ 128 h 269"/>
                    <a:gd name="T76" fmla="*/ 252 w 253"/>
                    <a:gd name="T77" fmla="*/ 107 h 269"/>
                    <a:gd name="T78" fmla="*/ 211 w 253"/>
                    <a:gd name="T79" fmla="*/ 24 h 269"/>
                    <a:gd name="T80" fmla="*/ 190 w 253"/>
                    <a:gd name="T81" fmla="*/ 10 h 269"/>
                    <a:gd name="T82" fmla="*/ 165 w 253"/>
                    <a:gd name="T83" fmla="*/ 1 h 269"/>
                    <a:gd name="T84" fmla="*/ 159 w 253"/>
                    <a:gd name="T85" fmla="*/ 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53" h="269">
                      <a:moveTo>
                        <a:pt x="89" y="98"/>
                      </a:moveTo>
                      <a:lnTo>
                        <a:pt x="89" y="98"/>
                      </a:lnTo>
                      <a:cubicBezTo>
                        <a:pt x="89" y="99"/>
                        <a:pt x="88" y="99"/>
                        <a:pt x="88" y="100"/>
                      </a:cubicBezTo>
                      <a:lnTo>
                        <a:pt x="88" y="100"/>
                      </a:lnTo>
                      <a:cubicBezTo>
                        <a:pt x="88" y="99"/>
                        <a:pt x="89" y="99"/>
                        <a:pt x="89" y="98"/>
                      </a:cubicBezTo>
                      <a:close/>
                      <a:moveTo>
                        <a:pt x="145" y="60"/>
                      </a:moveTo>
                      <a:lnTo>
                        <a:pt x="145" y="60"/>
                      </a:lnTo>
                      <a:cubicBezTo>
                        <a:pt x="149" y="59"/>
                        <a:pt x="151" y="58"/>
                        <a:pt x="154" y="55"/>
                      </a:cubicBezTo>
                      <a:lnTo>
                        <a:pt x="154" y="55"/>
                      </a:lnTo>
                      <a:cubicBezTo>
                        <a:pt x="155" y="56"/>
                        <a:pt x="157" y="57"/>
                        <a:pt x="159" y="57"/>
                      </a:cubicBezTo>
                      <a:lnTo>
                        <a:pt x="159" y="57"/>
                      </a:lnTo>
                      <a:cubicBezTo>
                        <a:pt x="164" y="59"/>
                        <a:pt x="168" y="61"/>
                        <a:pt x="172" y="64"/>
                      </a:cubicBezTo>
                      <a:lnTo>
                        <a:pt x="172" y="64"/>
                      </a:lnTo>
                      <a:cubicBezTo>
                        <a:pt x="176" y="67"/>
                        <a:pt x="179" y="69"/>
                        <a:pt x="182" y="72"/>
                      </a:cubicBezTo>
                      <a:lnTo>
                        <a:pt x="182" y="72"/>
                      </a:lnTo>
                      <a:cubicBezTo>
                        <a:pt x="185" y="76"/>
                        <a:pt x="188" y="80"/>
                        <a:pt x="190" y="84"/>
                      </a:cubicBezTo>
                      <a:lnTo>
                        <a:pt x="190" y="84"/>
                      </a:lnTo>
                      <a:cubicBezTo>
                        <a:pt x="192" y="89"/>
                        <a:pt x="194" y="95"/>
                        <a:pt x="195" y="101"/>
                      </a:cubicBezTo>
                      <a:lnTo>
                        <a:pt x="195" y="101"/>
                      </a:lnTo>
                      <a:cubicBezTo>
                        <a:pt x="197" y="112"/>
                        <a:pt x="197" y="122"/>
                        <a:pt x="196" y="133"/>
                      </a:cubicBezTo>
                      <a:lnTo>
                        <a:pt x="196" y="133"/>
                      </a:lnTo>
                      <a:cubicBezTo>
                        <a:pt x="194" y="142"/>
                        <a:pt x="192" y="151"/>
                        <a:pt x="190" y="160"/>
                      </a:cubicBezTo>
                      <a:lnTo>
                        <a:pt x="190" y="160"/>
                      </a:lnTo>
                      <a:cubicBezTo>
                        <a:pt x="187" y="168"/>
                        <a:pt x="183" y="174"/>
                        <a:pt x="179" y="180"/>
                      </a:cubicBezTo>
                      <a:lnTo>
                        <a:pt x="179" y="180"/>
                      </a:lnTo>
                      <a:cubicBezTo>
                        <a:pt x="175" y="185"/>
                        <a:pt x="172" y="189"/>
                        <a:pt x="168" y="193"/>
                      </a:cubicBezTo>
                      <a:lnTo>
                        <a:pt x="168" y="193"/>
                      </a:lnTo>
                      <a:cubicBezTo>
                        <a:pt x="161" y="198"/>
                        <a:pt x="154" y="202"/>
                        <a:pt x="147" y="206"/>
                      </a:cubicBezTo>
                      <a:lnTo>
                        <a:pt x="147" y="206"/>
                      </a:lnTo>
                      <a:cubicBezTo>
                        <a:pt x="142" y="208"/>
                        <a:pt x="139" y="209"/>
                        <a:pt x="134" y="210"/>
                      </a:cubicBezTo>
                      <a:lnTo>
                        <a:pt x="134" y="210"/>
                      </a:lnTo>
                      <a:cubicBezTo>
                        <a:pt x="127" y="211"/>
                        <a:pt x="120" y="212"/>
                        <a:pt x="114" y="211"/>
                      </a:cubicBezTo>
                      <a:lnTo>
                        <a:pt x="114" y="211"/>
                      </a:lnTo>
                      <a:cubicBezTo>
                        <a:pt x="107" y="210"/>
                        <a:pt x="100" y="209"/>
                        <a:pt x="93" y="206"/>
                      </a:cubicBezTo>
                      <a:lnTo>
                        <a:pt x="93" y="206"/>
                      </a:lnTo>
                      <a:cubicBezTo>
                        <a:pt x="87" y="204"/>
                        <a:pt x="82" y="201"/>
                        <a:pt x="77" y="198"/>
                      </a:cubicBezTo>
                      <a:lnTo>
                        <a:pt x="77" y="198"/>
                      </a:lnTo>
                      <a:cubicBezTo>
                        <a:pt x="73" y="195"/>
                        <a:pt x="70" y="193"/>
                        <a:pt x="67" y="190"/>
                      </a:cubicBezTo>
                      <a:lnTo>
                        <a:pt x="67" y="190"/>
                      </a:lnTo>
                      <a:cubicBezTo>
                        <a:pt x="66" y="187"/>
                        <a:pt x="63" y="183"/>
                        <a:pt x="61" y="180"/>
                      </a:cubicBezTo>
                      <a:lnTo>
                        <a:pt x="61" y="180"/>
                      </a:lnTo>
                      <a:cubicBezTo>
                        <a:pt x="61" y="178"/>
                        <a:pt x="60" y="176"/>
                        <a:pt x="60" y="174"/>
                      </a:cubicBezTo>
                      <a:lnTo>
                        <a:pt x="60" y="174"/>
                      </a:lnTo>
                      <a:cubicBezTo>
                        <a:pt x="59" y="170"/>
                        <a:pt x="59" y="166"/>
                        <a:pt x="59" y="162"/>
                      </a:cubicBezTo>
                      <a:lnTo>
                        <a:pt x="59" y="162"/>
                      </a:lnTo>
                      <a:cubicBezTo>
                        <a:pt x="60" y="155"/>
                        <a:pt x="62" y="149"/>
                        <a:pt x="64" y="142"/>
                      </a:cubicBezTo>
                      <a:lnTo>
                        <a:pt x="64" y="142"/>
                      </a:lnTo>
                      <a:cubicBezTo>
                        <a:pt x="70" y="128"/>
                        <a:pt x="77" y="116"/>
                        <a:pt x="85" y="104"/>
                      </a:cubicBezTo>
                      <a:lnTo>
                        <a:pt x="85" y="104"/>
                      </a:lnTo>
                      <a:cubicBezTo>
                        <a:pt x="92" y="95"/>
                        <a:pt x="100" y="87"/>
                        <a:pt x="108" y="79"/>
                      </a:cubicBezTo>
                      <a:lnTo>
                        <a:pt x="108" y="79"/>
                      </a:lnTo>
                      <a:cubicBezTo>
                        <a:pt x="114" y="75"/>
                        <a:pt x="120" y="71"/>
                        <a:pt x="126" y="68"/>
                      </a:cubicBezTo>
                      <a:lnTo>
                        <a:pt x="126" y="68"/>
                      </a:lnTo>
                      <a:cubicBezTo>
                        <a:pt x="132" y="65"/>
                        <a:pt x="139" y="62"/>
                        <a:pt x="145" y="60"/>
                      </a:cubicBezTo>
                      <a:close/>
                      <a:moveTo>
                        <a:pt x="141" y="6"/>
                      </a:moveTo>
                      <a:lnTo>
                        <a:pt x="141" y="6"/>
                      </a:lnTo>
                      <a:cubicBezTo>
                        <a:pt x="137" y="6"/>
                        <a:pt x="132" y="6"/>
                        <a:pt x="128" y="7"/>
                      </a:cubicBezTo>
                      <a:lnTo>
                        <a:pt x="128" y="7"/>
                      </a:lnTo>
                      <a:cubicBezTo>
                        <a:pt x="109" y="14"/>
                        <a:pt x="91" y="22"/>
                        <a:pt x="75" y="34"/>
                      </a:cubicBezTo>
                      <a:lnTo>
                        <a:pt x="75" y="34"/>
                      </a:lnTo>
                      <a:cubicBezTo>
                        <a:pt x="58" y="48"/>
                        <a:pt x="45" y="64"/>
                        <a:pt x="33" y="82"/>
                      </a:cubicBezTo>
                      <a:lnTo>
                        <a:pt x="33" y="82"/>
                      </a:lnTo>
                      <a:cubicBezTo>
                        <a:pt x="21" y="99"/>
                        <a:pt x="14" y="117"/>
                        <a:pt x="8" y="136"/>
                      </a:cubicBezTo>
                      <a:lnTo>
                        <a:pt x="8" y="136"/>
                      </a:lnTo>
                      <a:cubicBezTo>
                        <a:pt x="0" y="157"/>
                        <a:pt x="2" y="180"/>
                        <a:pt x="10" y="201"/>
                      </a:cubicBezTo>
                      <a:lnTo>
                        <a:pt x="10" y="201"/>
                      </a:lnTo>
                      <a:cubicBezTo>
                        <a:pt x="26" y="242"/>
                        <a:pt x="70" y="263"/>
                        <a:pt x="112" y="267"/>
                      </a:cubicBezTo>
                      <a:lnTo>
                        <a:pt x="112" y="267"/>
                      </a:lnTo>
                      <a:cubicBezTo>
                        <a:pt x="131" y="268"/>
                        <a:pt x="149" y="266"/>
                        <a:pt x="167" y="258"/>
                      </a:cubicBezTo>
                      <a:lnTo>
                        <a:pt x="167" y="258"/>
                      </a:lnTo>
                      <a:cubicBezTo>
                        <a:pt x="185" y="250"/>
                        <a:pt x="201" y="239"/>
                        <a:pt x="215" y="224"/>
                      </a:cubicBezTo>
                      <a:lnTo>
                        <a:pt x="215" y="224"/>
                      </a:lnTo>
                      <a:cubicBezTo>
                        <a:pt x="233" y="205"/>
                        <a:pt x="242" y="180"/>
                        <a:pt x="249" y="155"/>
                      </a:cubicBezTo>
                      <a:lnTo>
                        <a:pt x="249" y="155"/>
                      </a:lnTo>
                      <a:cubicBezTo>
                        <a:pt x="251" y="147"/>
                        <a:pt x="251" y="137"/>
                        <a:pt x="252" y="128"/>
                      </a:cubicBezTo>
                      <a:lnTo>
                        <a:pt x="252" y="128"/>
                      </a:lnTo>
                      <a:cubicBezTo>
                        <a:pt x="252" y="121"/>
                        <a:pt x="252" y="114"/>
                        <a:pt x="252" y="107"/>
                      </a:cubicBezTo>
                      <a:lnTo>
                        <a:pt x="252" y="107"/>
                      </a:lnTo>
                      <a:cubicBezTo>
                        <a:pt x="251" y="76"/>
                        <a:pt x="237" y="43"/>
                        <a:pt x="211" y="24"/>
                      </a:cubicBezTo>
                      <a:lnTo>
                        <a:pt x="211" y="24"/>
                      </a:lnTo>
                      <a:cubicBezTo>
                        <a:pt x="205" y="18"/>
                        <a:pt x="198" y="14"/>
                        <a:pt x="190" y="10"/>
                      </a:cubicBezTo>
                      <a:lnTo>
                        <a:pt x="190" y="10"/>
                      </a:lnTo>
                      <a:cubicBezTo>
                        <a:pt x="182" y="6"/>
                        <a:pt x="174" y="3"/>
                        <a:pt x="165" y="1"/>
                      </a:cubicBezTo>
                      <a:lnTo>
                        <a:pt x="165" y="1"/>
                      </a:lnTo>
                      <a:cubicBezTo>
                        <a:pt x="163" y="0"/>
                        <a:pt x="161" y="0"/>
                        <a:pt x="159" y="0"/>
                      </a:cubicBezTo>
                      <a:lnTo>
                        <a:pt x="159" y="0"/>
                      </a:lnTo>
                      <a:cubicBezTo>
                        <a:pt x="152" y="0"/>
                        <a:pt x="147" y="2"/>
                        <a:pt x="14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272">
                  <a:extLst>
                    <a:ext uri="{FF2B5EF4-FFF2-40B4-BE49-F238E27FC236}">
                      <a16:creationId xmlns:a16="http://schemas.microsoft.com/office/drawing/2014/main" id="{E1B18762-F45D-A140-8370-B5E3CE6A5F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12013" y="5160963"/>
                  <a:ext cx="88900" cy="85725"/>
                </a:xfrm>
                <a:custGeom>
                  <a:avLst/>
                  <a:gdLst>
                    <a:gd name="T0" fmla="*/ 56 w 245"/>
                    <a:gd name="T1" fmla="*/ 130 h 237"/>
                    <a:gd name="T2" fmla="*/ 56 w 245"/>
                    <a:gd name="T3" fmla="*/ 131 h 237"/>
                    <a:gd name="T4" fmla="*/ 55 w 245"/>
                    <a:gd name="T5" fmla="*/ 128 h 237"/>
                    <a:gd name="T6" fmla="*/ 56 w 245"/>
                    <a:gd name="T7" fmla="*/ 130 h 237"/>
                    <a:gd name="T8" fmla="*/ 56 w 245"/>
                    <a:gd name="T9" fmla="*/ 130 h 237"/>
                    <a:gd name="T10" fmla="*/ 107 w 245"/>
                    <a:gd name="T11" fmla="*/ 62 h 237"/>
                    <a:gd name="T12" fmla="*/ 122 w 245"/>
                    <a:gd name="T13" fmla="*/ 51 h 237"/>
                    <a:gd name="T14" fmla="*/ 125 w 245"/>
                    <a:gd name="T15" fmla="*/ 52 h 237"/>
                    <a:gd name="T16" fmla="*/ 156 w 245"/>
                    <a:gd name="T17" fmla="*/ 69 h 237"/>
                    <a:gd name="T18" fmla="*/ 175 w 245"/>
                    <a:gd name="T19" fmla="*/ 87 h 237"/>
                    <a:gd name="T20" fmla="*/ 184 w 245"/>
                    <a:gd name="T21" fmla="*/ 100 h 237"/>
                    <a:gd name="T22" fmla="*/ 187 w 245"/>
                    <a:gd name="T23" fmla="*/ 111 h 237"/>
                    <a:gd name="T24" fmla="*/ 187 w 245"/>
                    <a:gd name="T25" fmla="*/ 116 h 237"/>
                    <a:gd name="T26" fmla="*/ 183 w 245"/>
                    <a:gd name="T27" fmla="*/ 135 h 237"/>
                    <a:gd name="T28" fmla="*/ 177 w 245"/>
                    <a:gd name="T29" fmla="*/ 145 h 237"/>
                    <a:gd name="T30" fmla="*/ 169 w 245"/>
                    <a:gd name="T31" fmla="*/ 154 h 237"/>
                    <a:gd name="T32" fmla="*/ 149 w 245"/>
                    <a:gd name="T33" fmla="*/ 166 h 237"/>
                    <a:gd name="T34" fmla="*/ 125 w 245"/>
                    <a:gd name="T35" fmla="*/ 173 h 237"/>
                    <a:gd name="T36" fmla="*/ 106 w 245"/>
                    <a:gd name="T37" fmla="*/ 174 h 237"/>
                    <a:gd name="T38" fmla="*/ 91 w 245"/>
                    <a:gd name="T39" fmla="*/ 171 h 237"/>
                    <a:gd name="T40" fmla="*/ 79 w 245"/>
                    <a:gd name="T41" fmla="*/ 164 h 237"/>
                    <a:gd name="T42" fmla="*/ 66 w 245"/>
                    <a:gd name="T43" fmla="*/ 153 h 237"/>
                    <a:gd name="T44" fmla="*/ 59 w 245"/>
                    <a:gd name="T45" fmla="*/ 144 h 237"/>
                    <a:gd name="T46" fmla="*/ 56 w 245"/>
                    <a:gd name="T47" fmla="*/ 134 h 237"/>
                    <a:gd name="T48" fmla="*/ 56 w 245"/>
                    <a:gd name="T49" fmla="*/ 125 h 237"/>
                    <a:gd name="T50" fmla="*/ 60 w 245"/>
                    <a:gd name="T51" fmla="*/ 106 h 237"/>
                    <a:gd name="T52" fmla="*/ 73 w 245"/>
                    <a:gd name="T53" fmla="*/ 81 h 237"/>
                    <a:gd name="T54" fmla="*/ 82 w 245"/>
                    <a:gd name="T55" fmla="*/ 72 h 237"/>
                    <a:gd name="T56" fmla="*/ 89 w 245"/>
                    <a:gd name="T57" fmla="*/ 67 h 237"/>
                    <a:gd name="T58" fmla="*/ 107 w 245"/>
                    <a:gd name="T59" fmla="*/ 62 h 237"/>
                    <a:gd name="T60" fmla="*/ 130 w 245"/>
                    <a:gd name="T61" fmla="*/ 1 h 237"/>
                    <a:gd name="T62" fmla="*/ 114 w 245"/>
                    <a:gd name="T63" fmla="*/ 13 h 237"/>
                    <a:gd name="T64" fmla="*/ 112 w 245"/>
                    <a:gd name="T65" fmla="*/ 11 h 237"/>
                    <a:gd name="T66" fmla="*/ 90 w 245"/>
                    <a:gd name="T67" fmla="*/ 9 h 237"/>
                    <a:gd name="T68" fmla="*/ 74 w 245"/>
                    <a:gd name="T69" fmla="*/ 13 h 237"/>
                    <a:gd name="T70" fmla="*/ 54 w 245"/>
                    <a:gd name="T71" fmla="*/ 23 h 237"/>
                    <a:gd name="T72" fmla="*/ 23 w 245"/>
                    <a:gd name="T73" fmla="*/ 56 h 237"/>
                    <a:gd name="T74" fmla="*/ 3 w 245"/>
                    <a:gd name="T75" fmla="*/ 105 h 237"/>
                    <a:gd name="T76" fmla="*/ 1 w 245"/>
                    <a:gd name="T77" fmla="*/ 131 h 237"/>
                    <a:gd name="T78" fmla="*/ 5 w 245"/>
                    <a:gd name="T79" fmla="*/ 156 h 237"/>
                    <a:gd name="T80" fmla="*/ 26 w 245"/>
                    <a:gd name="T81" fmla="*/ 192 h 237"/>
                    <a:gd name="T82" fmla="*/ 65 w 245"/>
                    <a:gd name="T83" fmla="*/ 220 h 237"/>
                    <a:gd name="T84" fmla="*/ 168 w 245"/>
                    <a:gd name="T85" fmla="*/ 218 h 237"/>
                    <a:gd name="T86" fmla="*/ 202 w 245"/>
                    <a:gd name="T87" fmla="*/ 198 h 237"/>
                    <a:gd name="T88" fmla="*/ 231 w 245"/>
                    <a:gd name="T89" fmla="*/ 163 h 237"/>
                    <a:gd name="T90" fmla="*/ 243 w 245"/>
                    <a:gd name="T91" fmla="*/ 117 h 237"/>
                    <a:gd name="T92" fmla="*/ 230 w 245"/>
                    <a:gd name="T93" fmla="*/ 67 h 237"/>
                    <a:gd name="T94" fmla="*/ 214 w 245"/>
                    <a:gd name="T95" fmla="*/ 48 h 237"/>
                    <a:gd name="T96" fmla="*/ 204 w 245"/>
                    <a:gd name="T97" fmla="*/ 37 h 237"/>
                    <a:gd name="T98" fmla="*/ 186 w 245"/>
                    <a:gd name="T99" fmla="*/ 22 h 237"/>
                    <a:gd name="T100" fmla="*/ 151 w 245"/>
                    <a:gd name="T101" fmla="*/ 4 h 237"/>
                    <a:gd name="T102" fmla="*/ 137 w 245"/>
                    <a:gd name="T103" fmla="*/ 0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5" h="237">
                      <a:moveTo>
                        <a:pt x="56" y="130"/>
                      </a:moveTo>
                      <a:lnTo>
                        <a:pt x="56" y="130"/>
                      </a:lnTo>
                      <a:lnTo>
                        <a:pt x="56" y="131"/>
                      </a:lnTo>
                      <a:lnTo>
                        <a:pt x="56" y="131"/>
                      </a:lnTo>
                      <a:lnTo>
                        <a:pt x="56" y="130"/>
                      </a:lnTo>
                      <a:close/>
                      <a:moveTo>
                        <a:pt x="55" y="128"/>
                      </a:moveTo>
                      <a:lnTo>
                        <a:pt x="55" y="128"/>
                      </a:lnTo>
                      <a:cubicBezTo>
                        <a:pt x="55" y="129"/>
                        <a:pt x="56" y="129"/>
                        <a:pt x="56" y="130"/>
                      </a:cubicBezTo>
                      <a:lnTo>
                        <a:pt x="56" y="130"/>
                      </a:lnTo>
                      <a:lnTo>
                        <a:pt x="56" y="130"/>
                      </a:lnTo>
                      <a:cubicBezTo>
                        <a:pt x="56" y="129"/>
                        <a:pt x="55" y="129"/>
                        <a:pt x="55" y="128"/>
                      </a:cubicBezTo>
                      <a:close/>
                      <a:moveTo>
                        <a:pt x="107" y="62"/>
                      </a:moveTo>
                      <a:lnTo>
                        <a:pt x="107" y="62"/>
                      </a:lnTo>
                      <a:cubicBezTo>
                        <a:pt x="113" y="62"/>
                        <a:pt x="119" y="56"/>
                        <a:pt x="122" y="51"/>
                      </a:cubicBezTo>
                      <a:lnTo>
                        <a:pt x="122" y="51"/>
                      </a:lnTo>
                      <a:cubicBezTo>
                        <a:pt x="123" y="52"/>
                        <a:pt x="124" y="52"/>
                        <a:pt x="125" y="52"/>
                      </a:cubicBezTo>
                      <a:lnTo>
                        <a:pt x="125" y="52"/>
                      </a:lnTo>
                      <a:cubicBezTo>
                        <a:pt x="136" y="57"/>
                        <a:pt x="146" y="62"/>
                        <a:pt x="156" y="69"/>
                      </a:cubicBezTo>
                      <a:lnTo>
                        <a:pt x="156" y="69"/>
                      </a:lnTo>
                      <a:cubicBezTo>
                        <a:pt x="162" y="75"/>
                        <a:pt x="168" y="80"/>
                        <a:pt x="175" y="87"/>
                      </a:cubicBezTo>
                      <a:lnTo>
                        <a:pt x="175" y="87"/>
                      </a:lnTo>
                      <a:cubicBezTo>
                        <a:pt x="178" y="91"/>
                        <a:pt x="181" y="96"/>
                        <a:pt x="184" y="100"/>
                      </a:cubicBezTo>
                      <a:lnTo>
                        <a:pt x="184" y="100"/>
                      </a:lnTo>
                      <a:cubicBezTo>
                        <a:pt x="185" y="104"/>
                        <a:pt x="186" y="107"/>
                        <a:pt x="187" y="111"/>
                      </a:cubicBezTo>
                      <a:lnTo>
                        <a:pt x="187" y="111"/>
                      </a:lnTo>
                      <a:cubicBezTo>
                        <a:pt x="187" y="113"/>
                        <a:pt x="187" y="114"/>
                        <a:pt x="187" y="116"/>
                      </a:cubicBezTo>
                      <a:lnTo>
                        <a:pt x="187" y="116"/>
                      </a:lnTo>
                      <a:cubicBezTo>
                        <a:pt x="187" y="122"/>
                        <a:pt x="185" y="128"/>
                        <a:pt x="183" y="135"/>
                      </a:cubicBezTo>
                      <a:lnTo>
                        <a:pt x="183" y="135"/>
                      </a:lnTo>
                      <a:cubicBezTo>
                        <a:pt x="182" y="138"/>
                        <a:pt x="179" y="141"/>
                        <a:pt x="177" y="145"/>
                      </a:cubicBezTo>
                      <a:lnTo>
                        <a:pt x="177" y="145"/>
                      </a:lnTo>
                      <a:cubicBezTo>
                        <a:pt x="174" y="148"/>
                        <a:pt x="172" y="151"/>
                        <a:pt x="169" y="154"/>
                      </a:cubicBezTo>
                      <a:lnTo>
                        <a:pt x="169" y="154"/>
                      </a:lnTo>
                      <a:cubicBezTo>
                        <a:pt x="163" y="158"/>
                        <a:pt x="156" y="162"/>
                        <a:pt x="149" y="166"/>
                      </a:cubicBezTo>
                      <a:lnTo>
                        <a:pt x="149" y="166"/>
                      </a:lnTo>
                      <a:cubicBezTo>
                        <a:pt x="142" y="169"/>
                        <a:pt x="133" y="171"/>
                        <a:pt x="125" y="173"/>
                      </a:cubicBezTo>
                      <a:lnTo>
                        <a:pt x="125" y="173"/>
                      </a:lnTo>
                      <a:cubicBezTo>
                        <a:pt x="119" y="174"/>
                        <a:pt x="112" y="174"/>
                        <a:pt x="106" y="174"/>
                      </a:cubicBezTo>
                      <a:lnTo>
                        <a:pt x="106" y="174"/>
                      </a:lnTo>
                      <a:cubicBezTo>
                        <a:pt x="101" y="173"/>
                        <a:pt x="96" y="173"/>
                        <a:pt x="91" y="171"/>
                      </a:cubicBezTo>
                      <a:lnTo>
                        <a:pt x="91" y="171"/>
                      </a:lnTo>
                      <a:cubicBezTo>
                        <a:pt x="87" y="169"/>
                        <a:pt x="83" y="167"/>
                        <a:pt x="79" y="164"/>
                      </a:cubicBezTo>
                      <a:lnTo>
                        <a:pt x="79" y="164"/>
                      </a:lnTo>
                      <a:cubicBezTo>
                        <a:pt x="74" y="161"/>
                        <a:pt x="70" y="157"/>
                        <a:pt x="66" y="153"/>
                      </a:cubicBezTo>
                      <a:lnTo>
                        <a:pt x="66" y="153"/>
                      </a:lnTo>
                      <a:cubicBezTo>
                        <a:pt x="63" y="150"/>
                        <a:pt x="61" y="147"/>
                        <a:pt x="59" y="144"/>
                      </a:cubicBezTo>
                      <a:lnTo>
                        <a:pt x="59" y="144"/>
                      </a:lnTo>
                      <a:cubicBezTo>
                        <a:pt x="58" y="140"/>
                        <a:pt x="57" y="137"/>
                        <a:pt x="56" y="134"/>
                      </a:cubicBezTo>
                      <a:lnTo>
                        <a:pt x="56" y="134"/>
                      </a:lnTo>
                      <a:cubicBezTo>
                        <a:pt x="56" y="131"/>
                        <a:pt x="56" y="128"/>
                        <a:pt x="56" y="125"/>
                      </a:cubicBezTo>
                      <a:lnTo>
                        <a:pt x="56" y="125"/>
                      </a:lnTo>
                      <a:cubicBezTo>
                        <a:pt x="57" y="118"/>
                        <a:pt x="58" y="113"/>
                        <a:pt x="60" y="106"/>
                      </a:cubicBezTo>
                      <a:lnTo>
                        <a:pt x="60" y="106"/>
                      </a:lnTo>
                      <a:cubicBezTo>
                        <a:pt x="64" y="97"/>
                        <a:pt x="68" y="89"/>
                        <a:pt x="73" y="81"/>
                      </a:cubicBezTo>
                      <a:lnTo>
                        <a:pt x="73" y="81"/>
                      </a:lnTo>
                      <a:cubicBezTo>
                        <a:pt x="76" y="77"/>
                        <a:pt x="79" y="75"/>
                        <a:pt x="82" y="72"/>
                      </a:cubicBezTo>
                      <a:lnTo>
                        <a:pt x="82" y="72"/>
                      </a:lnTo>
                      <a:cubicBezTo>
                        <a:pt x="85" y="70"/>
                        <a:pt x="87" y="68"/>
                        <a:pt x="89" y="67"/>
                      </a:cubicBezTo>
                      <a:lnTo>
                        <a:pt x="89" y="67"/>
                      </a:lnTo>
                      <a:cubicBezTo>
                        <a:pt x="95" y="65"/>
                        <a:pt x="101" y="63"/>
                        <a:pt x="107" y="62"/>
                      </a:cubicBezTo>
                      <a:close/>
                      <a:moveTo>
                        <a:pt x="130" y="1"/>
                      </a:moveTo>
                      <a:lnTo>
                        <a:pt x="130" y="1"/>
                      </a:lnTo>
                      <a:cubicBezTo>
                        <a:pt x="123" y="4"/>
                        <a:pt x="118" y="7"/>
                        <a:pt x="114" y="13"/>
                      </a:cubicBezTo>
                      <a:lnTo>
                        <a:pt x="114" y="13"/>
                      </a:lnTo>
                      <a:cubicBezTo>
                        <a:pt x="113" y="12"/>
                        <a:pt x="113" y="12"/>
                        <a:pt x="112" y="11"/>
                      </a:cubicBezTo>
                      <a:lnTo>
                        <a:pt x="112" y="11"/>
                      </a:lnTo>
                      <a:cubicBezTo>
                        <a:pt x="105" y="7"/>
                        <a:pt x="97" y="7"/>
                        <a:pt x="90" y="9"/>
                      </a:cubicBezTo>
                      <a:lnTo>
                        <a:pt x="90" y="9"/>
                      </a:lnTo>
                      <a:cubicBezTo>
                        <a:pt x="85" y="10"/>
                        <a:pt x="79" y="12"/>
                        <a:pt x="74" y="13"/>
                      </a:cubicBezTo>
                      <a:lnTo>
                        <a:pt x="74" y="13"/>
                      </a:lnTo>
                      <a:cubicBezTo>
                        <a:pt x="67" y="15"/>
                        <a:pt x="60" y="19"/>
                        <a:pt x="54" y="23"/>
                      </a:cubicBezTo>
                      <a:lnTo>
                        <a:pt x="54" y="23"/>
                      </a:lnTo>
                      <a:cubicBezTo>
                        <a:pt x="41" y="31"/>
                        <a:pt x="32" y="44"/>
                        <a:pt x="23" y="56"/>
                      </a:cubicBezTo>
                      <a:lnTo>
                        <a:pt x="23" y="56"/>
                      </a:lnTo>
                      <a:cubicBezTo>
                        <a:pt x="13" y="71"/>
                        <a:pt x="7" y="87"/>
                        <a:pt x="3" y="105"/>
                      </a:cubicBezTo>
                      <a:lnTo>
                        <a:pt x="3" y="105"/>
                      </a:lnTo>
                      <a:cubicBezTo>
                        <a:pt x="1" y="113"/>
                        <a:pt x="1" y="123"/>
                        <a:pt x="1" y="131"/>
                      </a:cubicBezTo>
                      <a:lnTo>
                        <a:pt x="1" y="131"/>
                      </a:lnTo>
                      <a:cubicBezTo>
                        <a:pt x="0" y="140"/>
                        <a:pt x="2" y="148"/>
                        <a:pt x="5" y="156"/>
                      </a:cubicBezTo>
                      <a:lnTo>
                        <a:pt x="5" y="156"/>
                      </a:lnTo>
                      <a:cubicBezTo>
                        <a:pt x="8" y="170"/>
                        <a:pt x="17" y="182"/>
                        <a:pt x="26" y="192"/>
                      </a:cubicBezTo>
                      <a:lnTo>
                        <a:pt x="26" y="192"/>
                      </a:lnTo>
                      <a:cubicBezTo>
                        <a:pt x="38" y="204"/>
                        <a:pt x="51" y="214"/>
                        <a:pt x="65" y="220"/>
                      </a:cubicBezTo>
                      <a:lnTo>
                        <a:pt x="65" y="220"/>
                      </a:lnTo>
                      <a:cubicBezTo>
                        <a:pt x="98" y="236"/>
                        <a:pt x="136" y="232"/>
                        <a:pt x="168" y="218"/>
                      </a:cubicBezTo>
                      <a:lnTo>
                        <a:pt x="168" y="218"/>
                      </a:lnTo>
                      <a:cubicBezTo>
                        <a:pt x="180" y="213"/>
                        <a:pt x="192" y="206"/>
                        <a:pt x="202" y="198"/>
                      </a:cubicBezTo>
                      <a:lnTo>
                        <a:pt x="202" y="198"/>
                      </a:lnTo>
                      <a:cubicBezTo>
                        <a:pt x="214" y="189"/>
                        <a:pt x="224" y="177"/>
                        <a:pt x="231" y="163"/>
                      </a:cubicBezTo>
                      <a:lnTo>
                        <a:pt x="231" y="163"/>
                      </a:lnTo>
                      <a:cubicBezTo>
                        <a:pt x="238" y="149"/>
                        <a:pt x="243" y="132"/>
                        <a:pt x="243" y="117"/>
                      </a:cubicBezTo>
                      <a:lnTo>
                        <a:pt x="243" y="117"/>
                      </a:lnTo>
                      <a:cubicBezTo>
                        <a:pt x="244" y="99"/>
                        <a:pt x="237" y="83"/>
                        <a:pt x="230" y="67"/>
                      </a:cubicBezTo>
                      <a:lnTo>
                        <a:pt x="230" y="67"/>
                      </a:lnTo>
                      <a:cubicBezTo>
                        <a:pt x="226" y="60"/>
                        <a:pt x="220" y="54"/>
                        <a:pt x="214" y="48"/>
                      </a:cubicBezTo>
                      <a:lnTo>
                        <a:pt x="214" y="48"/>
                      </a:lnTo>
                      <a:cubicBezTo>
                        <a:pt x="211" y="44"/>
                        <a:pt x="208" y="40"/>
                        <a:pt x="204" y="37"/>
                      </a:cubicBezTo>
                      <a:lnTo>
                        <a:pt x="204" y="37"/>
                      </a:lnTo>
                      <a:cubicBezTo>
                        <a:pt x="198" y="32"/>
                        <a:pt x="192" y="27"/>
                        <a:pt x="186" y="22"/>
                      </a:cubicBezTo>
                      <a:lnTo>
                        <a:pt x="186" y="22"/>
                      </a:lnTo>
                      <a:cubicBezTo>
                        <a:pt x="174" y="15"/>
                        <a:pt x="163" y="9"/>
                        <a:pt x="151" y="4"/>
                      </a:cubicBezTo>
                      <a:lnTo>
                        <a:pt x="151" y="4"/>
                      </a:lnTo>
                      <a:cubicBezTo>
                        <a:pt x="146" y="1"/>
                        <a:pt x="142" y="0"/>
                        <a:pt x="137" y="0"/>
                      </a:cubicBezTo>
                      <a:lnTo>
                        <a:pt x="137" y="0"/>
                      </a:lnTo>
                      <a:cubicBezTo>
                        <a:pt x="135" y="0"/>
                        <a:pt x="132" y="0"/>
                        <a:pt x="130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273">
                  <a:extLst>
                    <a:ext uri="{FF2B5EF4-FFF2-40B4-BE49-F238E27FC236}">
                      <a16:creationId xmlns:a16="http://schemas.microsoft.com/office/drawing/2014/main" id="{2EBE412C-A6B4-EA45-8532-9196E206D4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73938" y="5053013"/>
                  <a:ext cx="82550" cy="84137"/>
                </a:xfrm>
                <a:custGeom>
                  <a:avLst/>
                  <a:gdLst>
                    <a:gd name="T0" fmla="*/ 89 w 231"/>
                    <a:gd name="T1" fmla="*/ 175 h 234"/>
                    <a:gd name="T2" fmla="*/ 91 w 231"/>
                    <a:gd name="T3" fmla="*/ 175 h 234"/>
                    <a:gd name="T4" fmla="*/ 92 w 231"/>
                    <a:gd name="T5" fmla="*/ 87 h 234"/>
                    <a:gd name="T6" fmla="*/ 89 w 231"/>
                    <a:gd name="T7" fmla="*/ 90 h 234"/>
                    <a:gd name="T8" fmla="*/ 92 w 231"/>
                    <a:gd name="T9" fmla="*/ 87 h 234"/>
                    <a:gd name="T10" fmla="*/ 136 w 231"/>
                    <a:gd name="T11" fmla="*/ 65 h 234"/>
                    <a:gd name="T12" fmla="*/ 147 w 231"/>
                    <a:gd name="T13" fmla="*/ 60 h 234"/>
                    <a:gd name="T14" fmla="*/ 153 w 231"/>
                    <a:gd name="T15" fmla="*/ 65 h 234"/>
                    <a:gd name="T16" fmla="*/ 161 w 231"/>
                    <a:gd name="T17" fmla="*/ 79 h 234"/>
                    <a:gd name="T18" fmla="*/ 166 w 231"/>
                    <a:gd name="T19" fmla="*/ 93 h 234"/>
                    <a:gd name="T20" fmla="*/ 166 w 231"/>
                    <a:gd name="T21" fmla="*/ 108 h 234"/>
                    <a:gd name="T22" fmla="*/ 163 w 231"/>
                    <a:gd name="T23" fmla="*/ 126 h 234"/>
                    <a:gd name="T24" fmla="*/ 154 w 231"/>
                    <a:gd name="T25" fmla="*/ 143 h 234"/>
                    <a:gd name="T26" fmla="*/ 134 w 231"/>
                    <a:gd name="T27" fmla="*/ 163 h 234"/>
                    <a:gd name="T28" fmla="*/ 123 w 231"/>
                    <a:gd name="T29" fmla="*/ 170 h 234"/>
                    <a:gd name="T30" fmla="*/ 107 w 231"/>
                    <a:gd name="T31" fmla="*/ 174 h 234"/>
                    <a:gd name="T32" fmla="*/ 95 w 231"/>
                    <a:gd name="T33" fmla="*/ 175 h 234"/>
                    <a:gd name="T34" fmla="*/ 85 w 231"/>
                    <a:gd name="T35" fmla="*/ 173 h 234"/>
                    <a:gd name="T36" fmla="*/ 73 w 231"/>
                    <a:gd name="T37" fmla="*/ 165 h 234"/>
                    <a:gd name="T38" fmla="*/ 67 w 231"/>
                    <a:gd name="T39" fmla="*/ 160 h 234"/>
                    <a:gd name="T40" fmla="*/ 61 w 231"/>
                    <a:gd name="T41" fmla="*/ 151 h 234"/>
                    <a:gd name="T42" fmla="*/ 60 w 231"/>
                    <a:gd name="T43" fmla="*/ 146 h 234"/>
                    <a:gd name="T44" fmla="*/ 59 w 231"/>
                    <a:gd name="T45" fmla="*/ 137 h 234"/>
                    <a:gd name="T46" fmla="*/ 61 w 231"/>
                    <a:gd name="T47" fmla="*/ 128 h 234"/>
                    <a:gd name="T48" fmla="*/ 71 w 231"/>
                    <a:gd name="T49" fmla="*/ 111 h 234"/>
                    <a:gd name="T50" fmla="*/ 94 w 231"/>
                    <a:gd name="T51" fmla="*/ 85 h 234"/>
                    <a:gd name="T52" fmla="*/ 111 w 231"/>
                    <a:gd name="T53" fmla="*/ 74 h 234"/>
                    <a:gd name="T54" fmla="*/ 125 w 231"/>
                    <a:gd name="T55" fmla="*/ 12 h 234"/>
                    <a:gd name="T56" fmla="*/ 119 w 231"/>
                    <a:gd name="T57" fmla="*/ 13 h 234"/>
                    <a:gd name="T58" fmla="*/ 83 w 231"/>
                    <a:gd name="T59" fmla="*/ 26 h 234"/>
                    <a:gd name="T60" fmla="*/ 49 w 231"/>
                    <a:gd name="T61" fmla="*/ 52 h 234"/>
                    <a:gd name="T62" fmla="*/ 20 w 231"/>
                    <a:gd name="T63" fmla="*/ 88 h 234"/>
                    <a:gd name="T64" fmla="*/ 4 w 231"/>
                    <a:gd name="T65" fmla="*/ 128 h 234"/>
                    <a:gd name="T66" fmla="*/ 37 w 231"/>
                    <a:gd name="T67" fmla="*/ 208 h 234"/>
                    <a:gd name="T68" fmla="*/ 112 w 231"/>
                    <a:gd name="T69" fmla="*/ 229 h 234"/>
                    <a:gd name="T70" fmla="*/ 151 w 231"/>
                    <a:gd name="T71" fmla="*/ 218 h 234"/>
                    <a:gd name="T72" fmla="*/ 181 w 231"/>
                    <a:gd name="T73" fmla="*/ 196 h 234"/>
                    <a:gd name="T74" fmla="*/ 220 w 231"/>
                    <a:gd name="T75" fmla="*/ 127 h 234"/>
                    <a:gd name="T76" fmla="*/ 161 w 231"/>
                    <a:gd name="T77" fmla="*/ 3 h 234"/>
                    <a:gd name="T78" fmla="*/ 148 w 231"/>
                    <a:gd name="T79" fmla="*/ 0 h 234"/>
                    <a:gd name="T80" fmla="*/ 125 w 231"/>
                    <a:gd name="T81" fmla="*/ 12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31" h="234">
                      <a:moveTo>
                        <a:pt x="89" y="175"/>
                      </a:moveTo>
                      <a:lnTo>
                        <a:pt x="89" y="175"/>
                      </a:lnTo>
                      <a:lnTo>
                        <a:pt x="91" y="175"/>
                      </a:lnTo>
                      <a:lnTo>
                        <a:pt x="91" y="175"/>
                      </a:lnTo>
                      <a:lnTo>
                        <a:pt x="89" y="175"/>
                      </a:lnTo>
                      <a:close/>
                      <a:moveTo>
                        <a:pt x="92" y="87"/>
                      </a:moveTo>
                      <a:lnTo>
                        <a:pt x="92" y="87"/>
                      </a:lnTo>
                      <a:cubicBezTo>
                        <a:pt x="91" y="88"/>
                        <a:pt x="90" y="89"/>
                        <a:pt x="89" y="90"/>
                      </a:cubicBezTo>
                      <a:lnTo>
                        <a:pt x="89" y="90"/>
                      </a:lnTo>
                      <a:cubicBezTo>
                        <a:pt x="90" y="89"/>
                        <a:pt x="91" y="88"/>
                        <a:pt x="92" y="87"/>
                      </a:cubicBezTo>
                      <a:close/>
                      <a:moveTo>
                        <a:pt x="136" y="65"/>
                      </a:moveTo>
                      <a:lnTo>
                        <a:pt x="136" y="65"/>
                      </a:lnTo>
                      <a:cubicBezTo>
                        <a:pt x="141" y="64"/>
                        <a:pt x="144" y="63"/>
                        <a:pt x="147" y="60"/>
                      </a:cubicBezTo>
                      <a:lnTo>
                        <a:pt x="147" y="60"/>
                      </a:lnTo>
                      <a:cubicBezTo>
                        <a:pt x="149" y="61"/>
                        <a:pt x="151" y="64"/>
                        <a:pt x="153" y="65"/>
                      </a:cubicBezTo>
                      <a:lnTo>
                        <a:pt x="153" y="65"/>
                      </a:lnTo>
                      <a:cubicBezTo>
                        <a:pt x="156" y="70"/>
                        <a:pt x="159" y="74"/>
                        <a:pt x="161" y="79"/>
                      </a:cubicBezTo>
                      <a:lnTo>
                        <a:pt x="161" y="79"/>
                      </a:lnTo>
                      <a:cubicBezTo>
                        <a:pt x="163" y="84"/>
                        <a:pt x="164" y="88"/>
                        <a:pt x="166" y="93"/>
                      </a:cubicBezTo>
                      <a:lnTo>
                        <a:pt x="166" y="93"/>
                      </a:lnTo>
                      <a:cubicBezTo>
                        <a:pt x="166" y="98"/>
                        <a:pt x="167" y="103"/>
                        <a:pt x="166" y="108"/>
                      </a:cubicBezTo>
                      <a:lnTo>
                        <a:pt x="166" y="108"/>
                      </a:lnTo>
                      <a:cubicBezTo>
                        <a:pt x="166" y="114"/>
                        <a:pt x="164" y="120"/>
                        <a:pt x="163" y="126"/>
                      </a:cubicBezTo>
                      <a:lnTo>
                        <a:pt x="163" y="126"/>
                      </a:lnTo>
                      <a:cubicBezTo>
                        <a:pt x="160" y="132"/>
                        <a:pt x="157" y="137"/>
                        <a:pt x="154" y="143"/>
                      </a:cubicBezTo>
                      <a:lnTo>
                        <a:pt x="154" y="143"/>
                      </a:lnTo>
                      <a:cubicBezTo>
                        <a:pt x="148" y="150"/>
                        <a:pt x="142" y="156"/>
                        <a:pt x="134" y="163"/>
                      </a:cubicBezTo>
                      <a:lnTo>
                        <a:pt x="134" y="163"/>
                      </a:lnTo>
                      <a:cubicBezTo>
                        <a:pt x="131" y="165"/>
                        <a:pt x="128" y="167"/>
                        <a:pt x="123" y="170"/>
                      </a:cubicBezTo>
                      <a:lnTo>
                        <a:pt x="123" y="170"/>
                      </a:lnTo>
                      <a:cubicBezTo>
                        <a:pt x="118" y="171"/>
                        <a:pt x="113" y="173"/>
                        <a:pt x="107" y="174"/>
                      </a:cubicBezTo>
                      <a:lnTo>
                        <a:pt x="107" y="174"/>
                      </a:lnTo>
                      <a:cubicBezTo>
                        <a:pt x="103" y="175"/>
                        <a:pt x="99" y="175"/>
                        <a:pt x="95" y="175"/>
                      </a:cubicBezTo>
                      <a:lnTo>
                        <a:pt x="95" y="175"/>
                      </a:lnTo>
                      <a:cubicBezTo>
                        <a:pt x="92" y="174"/>
                        <a:pt x="88" y="174"/>
                        <a:pt x="85" y="173"/>
                      </a:cubicBezTo>
                      <a:lnTo>
                        <a:pt x="85" y="173"/>
                      </a:lnTo>
                      <a:cubicBezTo>
                        <a:pt x="81" y="170"/>
                        <a:pt x="77" y="168"/>
                        <a:pt x="73" y="165"/>
                      </a:cubicBezTo>
                      <a:lnTo>
                        <a:pt x="73" y="165"/>
                      </a:lnTo>
                      <a:cubicBezTo>
                        <a:pt x="71" y="164"/>
                        <a:pt x="69" y="162"/>
                        <a:pt x="67" y="160"/>
                      </a:cubicBezTo>
                      <a:lnTo>
                        <a:pt x="67" y="160"/>
                      </a:lnTo>
                      <a:cubicBezTo>
                        <a:pt x="65" y="157"/>
                        <a:pt x="63" y="154"/>
                        <a:pt x="61" y="151"/>
                      </a:cubicBezTo>
                      <a:lnTo>
                        <a:pt x="61" y="151"/>
                      </a:lnTo>
                      <a:cubicBezTo>
                        <a:pt x="61" y="150"/>
                        <a:pt x="60" y="148"/>
                        <a:pt x="60" y="146"/>
                      </a:cubicBezTo>
                      <a:lnTo>
                        <a:pt x="60" y="146"/>
                      </a:lnTo>
                      <a:cubicBezTo>
                        <a:pt x="60" y="143"/>
                        <a:pt x="59" y="140"/>
                        <a:pt x="59" y="137"/>
                      </a:cubicBezTo>
                      <a:lnTo>
                        <a:pt x="59" y="137"/>
                      </a:lnTo>
                      <a:cubicBezTo>
                        <a:pt x="60" y="134"/>
                        <a:pt x="61" y="131"/>
                        <a:pt x="61" y="128"/>
                      </a:cubicBezTo>
                      <a:lnTo>
                        <a:pt x="61" y="128"/>
                      </a:lnTo>
                      <a:cubicBezTo>
                        <a:pt x="64" y="122"/>
                        <a:pt x="68" y="116"/>
                        <a:pt x="71" y="111"/>
                      </a:cubicBezTo>
                      <a:lnTo>
                        <a:pt x="71" y="111"/>
                      </a:lnTo>
                      <a:cubicBezTo>
                        <a:pt x="78" y="101"/>
                        <a:pt x="85" y="93"/>
                        <a:pt x="94" y="85"/>
                      </a:cubicBezTo>
                      <a:lnTo>
                        <a:pt x="94" y="85"/>
                      </a:lnTo>
                      <a:cubicBezTo>
                        <a:pt x="99" y="81"/>
                        <a:pt x="105" y="78"/>
                        <a:pt x="111" y="74"/>
                      </a:cubicBezTo>
                      <a:lnTo>
                        <a:pt x="111" y="74"/>
                      </a:lnTo>
                      <a:cubicBezTo>
                        <a:pt x="119" y="71"/>
                        <a:pt x="128" y="69"/>
                        <a:pt x="136" y="65"/>
                      </a:cubicBezTo>
                      <a:close/>
                      <a:moveTo>
                        <a:pt x="125" y="12"/>
                      </a:moveTo>
                      <a:lnTo>
                        <a:pt x="125" y="12"/>
                      </a:lnTo>
                      <a:cubicBezTo>
                        <a:pt x="123" y="12"/>
                        <a:pt x="121" y="12"/>
                        <a:pt x="119" y="13"/>
                      </a:cubicBezTo>
                      <a:lnTo>
                        <a:pt x="119" y="13"/>
                      </a:lnTo>
                      <a:cubicBezTo>
                        <a:pt x="107" y="16"/>
                        <a:pt x="95" y="20"/>
                        <a:pt x="83" y="26"/>
                      </a:cubicBezTo>
                      <a:lnTo>
                        <a:pt x="83" y="26"/>
                      </a:lnTo>
                      <a:cubicBezTo>
                        <a:pt x="71" y="33"/>
                        <a:pt x="60" y="42"/>
                        <a:pt x="49" y="52"/>
                      </a:cubicBezTo>
                      <a:lnTo>
                        <a:pt x="49" y="52"/>
                      </a:lnTo>
                      <a:cubicBezTo>
                        <a:pt x="37" y="62"/>
                        <a:pt x="28" y="75"/>
                        <a:pt x="20" y="88"/>
                      </a:cubicBezTo>
                      <a:lnTo>
                        <a:pt x="20" y="88"/>
                      </a:lnTo>
                      <a:cubicBezTo>
                        <a:pt x="12" y="100"/>
                        <a:pt x="7" y="114"/>
                        <a:pt x="4" y="128"/>
                      </a:cubicBezTo>
                      <a:lnTo>
                        <a:pt x="4" y="128"/>
                      </a:lnTo>
                      <a:cubicBezTo>
                        <a:pt x="0" y="158"/>
                        <a:pt x="13" y="188"/>
                        <a:pt x="37" y="208"/>
                      </a:cubicBezTo>
                      <a:lnTo>
                        <a:pt x="37" y="208"/>
                      </a:lnTo>
                      <a:cubicBezTo>
                        <a:pt x="58" y="225"/>
                        <a:pt x="85" y="233"/>
                        <a:pt x="112" y="229"/>
                      </a:cubicBezTo>
                      <a:lnTo>
                        <a:pt x="112" y="229"/>
                      </a:lnTo>
                      <a:cubicBezTo>
                        <a:pt x="126" y="228"/>
                        <a:pt x="139" y="224"/>
                        <a:pt x="151" y="218"/>
                      </a:cubicBezTo>
                      <a:lnTo>
                        <a:pt x="151" y="218"/>
                      </a:lnTo>
                      <a:cubicBezTo>
                        <a:pt x="162" y="212"/>
                        <a:pt x="171" y="205"/>
                        <a:pt x="181" y="196"/>
                      </a:cubicBezTo>
                      <a:lnTo>
                        <a:pt x="181" y="196"/>
                      </a:lnTo>
                      <a:cubicBezTo>
                        <a:pt x="200" y="178"/>
                        <a:pt x="214" y="154"/>
                        <a:pt x="220" y="127"/>
                      </a:cubicBezTo>
                      <a:lnTo>
                        <a:pt x="220" y="127"/>
                      </a:lnTo>
                      <a:cubicBezTo>
                        <a:pt x="230" y="79"/>
                        <a:pt x="206" y="24"/>
                        <a:pt x="161" y="3"/>
                      </a:cubicBezTo>
                      <a:lnTo>
                        <a:pt x="161" y="3"/>
                      </a:lnTo>
                      <a:cubicBezTo>
                        <a:pt x="157" y="1"/>
                        <a:pt x="152" y="0"/>
                        <a:pt x="148" y="0"/>
                      </a:cubicBezTo>
                      <a:lnTo>
                        <a:pt x="148" y="0"/>
                      </a:lnTo>
                      <a:cubicBezTo>
                        <a:pt x="139" y="0"/>
                        <a:pt x="131" y="4"/>
                        <a:pt x="125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274">
                  <a:extLst>
                    <a:ext uri="{FF2B5EF4-FFF2-40B4-BE49-F238E27FC236}">
                      <a16:creationId xmlns:a16="http://schemas.microsoft.com/office/drawing/2014/main" id="{03F3862D-4A52-B548-B10A-BF344F8BE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8488" y="4738688"/>
                  <a:ext cx="203200" cy="107950"/>
                </a:xfrm>
                <a:custGeom>
                  <a:avLst/>
                  <a:gdLst>
                    <a:gd name="T0" fmla="*/ 478 w 564"/>
                    <a:gd name="T1" fmla="*/ 226 h 298"/>
                    <a:gd name="T2" fmla="*/ 481 w 564"/>
                    <a:gd name="T3" fmla="*/ 229 h 298"/>
                    <a:gd name="T4" fmla="*/ 359 w 564"/>
                    <a:gd name="T5" fmla="*/ 115 h 298"/>
                    <a:gd name="T6" fmla="*/ 362 w 564"/>
                    <a:gd name="T7" fmla="*/ 116 h 298"/>
                    <a:gd name="T8" fmla="*/ 100 w 564"/>
                    <a:gd name="T9" fmla="*/ 0 h 298"/>
                    <a:gd name="T10" fmla="*/ 58 w 564"/>
                    <a:gd name="T11" fmla="*/ 4 h 298"/>
                    <a:gd name="T12" fmla="*/ 18 w 564"/>
                    <a:gd name="T13" fmla="*/ 9 h 298"/>
                    <a:gd name="T14" fmla="*/ 6 w 564"/>
                    <a:gd name="T15" fmla="*/ 15 h 298"/>
                    <a:gd name="T16" fmla="*/ 0 w 564"/>
                    <a:gd name="T17" fmla="*/ 28 h 298"/>
                    <a:gd name="T18" fmla="*/ 20 w 564"/>
                    <a:gd name="T19" fmla="*/ 46 h 298"/>
                    <a:gd name="T20" fmla="*/ 87 w 564"/>
                    <a:gd name="T21" fmla="*/ 39 h 298"/>
                    <a:gd name="T22" fmla="*/ 156 w 564"/>
                    <a:gd name="T23" fmla="*/ 39 h 298"/>
                    <a:gd name="T24" fmla="*/ 266 w 564"/>
                    <a:gd name="T25" fmla="*/ 62 h 298"/>
                    <a:gd name="T26" fmla="*/ 330 w 564"/>
                    <a:gd name="T27" fmla="*/ 95 h 298"/>
                    <a:gd name="T28" fmla="*/ 359 w 564"/>
                    <a:gd name="T29" fmla="*/ 114 h 298"/>
                    <a:gd name="T30" fmla="*/ 393 w 564"/>
                    <a:gd name="T31" fmla="*/ 141 h 298"/>
                    <a:gd name="T32" fmla="*/ 425 w 564"/>
                    <a:gd name="T33" fmla="*/ 170 h 298"/>
                    <a:gd name="T34" fmla="*/ 451 w 564"/>
                    <a:gd name="T35" fmla="*/ 196 h 298"/>
                    <a:gd name="T36" fmla="*/ 481 w 564"/>
                    <a:gd name="T37" fmla="*/ 229 h 298"/>
                    <a:gd name="T38" fmla="*/ 526 w 564"/>
                    <a:gd name="T39" fmla="*/ 286 h 298"/>
                    <a:gd name="T40" fmla="*/ 551 w 564"/>
                    <a:gd name="T41" fmla="*/ 292 h 298"/>
                    <a:gd name="T42" fmla="*/ 557 w 564"/>
                    <a:gd name="T43" fmla="*/ 266 h 298"/>
                    <a:gd name="T44" fmla="*/ 491 w 564"/>
                    <a:gd name="T45" fmla="*/ 185 h 298"/>
                    <a:gd name="T46" fmla="*/ 455 w 564"/>
                    <a:gd name="T47" fmla="*/ 146 h 298"/>
                    <a:gd name="T48" fmla="*/ 436 w 564"/>
                    <a:gd name="T49" fmla="*/ 129 h 298"/>
                    <a:gd name="T50" fmla="*/ 415 w 564"/>
                    <a:gd name="T51" fmla="*/ 111 h 298"/>
                    <a:gd name="T52" fmla="*/ 373 w 564"/>
                    <a:gd name="T53" fmla="*/ 79 h 298"/>
                    <a:gd name="T54" fmla="*/ 351 w 564"/>
                    <a:gd name="T55" fmla="*/ 64 h 298"/>
                    <a:gd name="T56" fmla="*/ 313 w 564"/>
                    <a:gd name="T57" fmla="*/ 43 h 298"/>
                    <a:gd name="T58" fmla="*/ 285 w 564"/>
                    <a:gd name="T59" fmla="*/ 30 h 298"/>
                    <a:gd name="T60" fmla="*/ 249 w 564"/>
                    <a:gd name="T61" fmla="*/ 19 h 298"/>
                    <a:gd name="T62" fmla="*/ 175 w 564"/>
                    <a:gd name="T63" fmla="*/ 4 h 298"/>
                    <a:gd name="T64" fmla="*/ 114 w 564"/>
                    <a:gd name="T65" fmla="*/ 0 h 298"/>
                    <a:gd name="T66" fmla="*/ 100 w 564"/>
                    <a:gd name="T67" fmla="*/ 0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64" h="298">
                      <a:moveTo>
                        <a:pt x="478" y="226"/>
                      </a:moveTo>
                      <a:lnTo>
                        <a:pt x="478" y="226"/>
                      </a:lnTo>
                      <a:cubicBezTo>
                        <a:pt x="480" y="228"/>
                        <a:pt x="480" y="228"/>
                        <a:pt x="481" y="229"/>
                      </a:cubicBezTo>
                      <a:lnTo>
                        <a:pt x="481" y="229"/>
                      </a:lnTo>
                      <a:cubicBezTo>
                        <a:pt x="480" y="229"/>
                        <a:pt x="480" y="228"/>
                        <a:pt x="478" y="226"/>
                      </a:cubicBezTo>
                      <a:close/>
                      <a:moveTo>
                        <a:pt x="359" y="115"/>
                      </a:moveTo>
                      <a:lnTo>
                        <a:pt x="362" y="116"/>
                      </a:lnTo>
                      <a:lnTo>
                        <a:pt x="362" y="116"/>
                      </a:lnTo>
                      <a:cubicBezTo>
                        <a:pt x="361" y="115"/>
                        <a:pt x="360" y="115"/>
                        <a:pt x="359" y="115"/>
                      </a:cubicBezTo>
                      <a:close/>
                      <a:moveTo>
                        <a:pt x="100" y="0"/>
                      </a:moveTo>
                      <a:lnTo>
                        <a:pt x="100" y="0"/>
                      </a:lnTo>
                      <a:cubicBezTo>
                        <a:pt x="85" y="1"/>
                        <a:pt x="72" y="3"/>
                        <a:pt x="58" y="4"/>
                      </a:cubicBezTo>
                      <a:lnTo>
                        <a:pt x="58" y="4"/>
                      </a:lnTo>
                      <a:cubicBezTo>
                        <a:pt x="45" y="6"/>
                        <a:pt x="31" y="7"/>
                        <a:pt x="18" y="9"/>
                      </a:cubicBezTo>
                      <a:lnTo>
                        <a:pt x="18" y="9"/>
                      </a:lnTo>
                      <a:cubicBezTo>
                        <a:pt x="13" y="10"/>
                        <a:pt x="9" y="11"/>
                        <a:pt x="6" y="15"/>
                      </a:cubicBezTo>
                      <a:lnTo>
                        <a:pt x="6" y="15"/>
                      </a:lnTo>
                      <a:cubicBezTo>
                        <a:pt x="2" y="19"/>
                        <a:pt x="0" y="23"/>
                        <a:pt x="0" y="28"/>
                      </a:cubicBezTo>
                      <a:lnTo>
                        <a:pt x="0" y="28"/>
                      </a:lnTo>
                      <a:cubicBezTo>
                        <a:pt x="1" y="37"/>
                        <a:pt x="10" y="47"/>
                        <a:pt x="20" y="46"/>
                      </a:cubicBezTo>
                      <a:lnTo>
                        <a:pt x="20" y="46"/>
                      </a:lnTo>
                      <a:cubicBezTo>
                        <a:pt x="42" y="43"/>
                        <a:pt x="65" y="40"/>
                        <a:pt x="87" y="39"/>
                      </a:cubicBezTo>
                      <a:lnTo>
                        <a:pt x="87" y="39"/>
                      </a:lnTo>
                      <a:cubicBezTo>
                        <a:pt x="110" y="36"/>
                        <a:pt x="133" y="37"/>
                        <a:pt x="156" y="39"/>
                      </a:cubicBezTo>
                      <a:lnTo>
                        <a:pt x="156" y="39"/>
                      </a:lnTo>
                      <a:cubicBezTo>
                        <a:pt x="193" y="43"/>
                        <a:pt x="231" y="50"/>
                        <a:pt x="266" y="62"/>
                      </a:cubicBezTo>
                      <a:lnTo>
                        <a:pt x="266" y="62"/>
                      </a:lnTo>
                      <a:cubicBezTo>
                        <a:pt x="288" y="71"/>
                        <a:pt x="309" y="83"/>
                        <a:pt x="330" y="95"/>
                      </a:cubicBezTo>
                      <a:lnTo>
                        <a:pt x="330" y="95"/>
                      </a:lnTo>
                      <a:cubicBezTo>
                        <a:pt x="340" y="101"/>
                        <a:pt x="349" y="108"/>
                        <a:pt x="359" y="114"/>
                      </a:cubicBezTo>
                      <a:lnTo>
                        <a:pt x="359" y="114"/>
                      </a:lnTo>
                      <a:cubicBezTo>
                        <a:pt x="370" y="123"/>
                        <a:pt x="382" y="132"/>
                        <a:pt x="393" y="141"/>
                      </a:cubicBezTo>
                      <a:lnTo>
                        <a:pt x="393" y="141"/>
                      </a:lnTo>
                      <a:cubicBezTo>
                        <a:pt x="404" y="150"/>
                        <a:pt x="414" y="160"/>
                        <a:pt x="425" y="170"/>
                      </a:cubicBezTo>
                      <a:lnTo>
                        <a:pt x="425" y="170"/>
                      </a:lnTo>
                      <a:cubicBezTo>
                        <a:pt x="434" y="178"/>
                        <a:pt x="443" y="187"/>
                        <a:pt x="451" y="196"/>
                      </a:cubicBezTo>
                      <a:lnTo>
                        <a:pt x="451" y="196"/>
                      </a:lnTo>
                      <a:cubicBezTo>
                        <a:pt x="461" y="207"/>
                        <a:pt x="471" y="218"/>
                        <a:pt x="481" y="229"/>
                      </a:cubicBezTo>
                      <a:lnTo>
                        <a:pt x="481" y="229"/>
                      </a:lnTo>
                      <a:cubicBezTo>
                        <a:pt x="496" y="248"/>
                        <a:pt x="511" y="267"/>
                        <a:pt x="526" y="286"/>
                      </a:cubicBezTo>
                      <a:lnTo>
                        <a:pt x="526" y="286"/>
                      </a:lnTo>
                      <a:cubicBezTo>
                        <a:pt x="532" y="294"/>
                        <a:pt x="542" y="297"/>
                        <a:pt x="551" y="292"/>
                      </a:cubicBezTo>
                      <a:lnTo>
                        <a:pt x="551" y="292"/>
                      </a:lnTo>
                      <a:cubicBezTo>
                        <a:pt x="559" y="286"/>
                        <a:pt x="563" y="274"/>
                        <a:pt x="557" y="266"/>
                      </a:cubicBezTo>
                      <a:lnTo>
                        <a:pt x="557" y="266"/>
                      </a:lnTo>
                      <a:cubicBezTo>
                        <a:pt x="536" y="238"/>
                        <a:pt x="514" y="211"/>
                        <a:pt x="491" y="185"/>
                      </a:cubicBezTo>
                      <a:lnTo>
                        <a:pt x="491" y="185"/>
                      </a:lnTo>
                      <a:cubicBezTo>
                        <a:pt x="479" y="172"/>
                        <a:pt x="467" y="159"/>
                        <a:pt x="455" y="146"/>
                      </a:cubicBezTo>
                      <a:lnTo>
                        <a:pt x="455" y="146"/>
                      </a:lnTo>
                      <a:cubicBezTo>
                        <a:pt x="449" y="140"/>
                        <a:pt x="443" y="134"/>
                        <a:pt x="436" y="129"/>
                      </a:cubicBezTo>
                      <a:lnTo>
                        <a:pt x="436" y="129"/>
                      </a:lnTo>
                      <a:cubicBezTo>
                        <a:pt x="429" y="123"/>
                        <a:pt x="422" y="117"/>
                        <a:pt x="415" y="111"/>
                      </a:cubicBezTo>
                      <a:lnTo>
                        <a:pt x="415" y="111"/>
                      </a:lnTo>
                      <a:cubicBezTo>
                        <a:pt x="402" y="100"/>
                        <a:pt x="387" y="89"/>
                        <a:pt x="373" y="79"/>
                      </a:cubicBezTo>
                      <a:lnTo>
                        <a:pt x="373" y="79"/>
                      </a:lnTo>
                      <a:cubicBezTo>
                        <a:pt x="365" y="74"/>
                        <a:pt x="358" y="69"/>
                        <a:pt x="351" y="64"/>
                      </a:cubicBezTo>
                      <a:lnTo>
                        <a:pt x="351" y="64"/>
                      </a:lnTo>
                      <a:cubicBezTo>
                        <a:pt x="338" y="57"/>
                        <a:pt x="326" y="50"/>
                        <a:pt x="313" y="43"/>
                      </a:cubicBezTo>
                      <a:lnTo>
                        <a:pt x="313" y="43"/>
                      </a:lnTo>
                      <a:cubicBezTo>
                        <a:pt x="303" y="38"/>
                        <a:pt x="294" y="34"/>
                        <a:pt x="285" y="30"/>
                      </a:cubicBezTo>
                      <a:lnTo>
                        <a:pt x="285" y="30"/>
                      </a:lnTo>
                      <a:cubicBezTo>
                        <a:pt x="273" y="25"/>
                        <a:pt x="261" y="22"/>
                        <a:pt x="249" y="19"/>
                      </a:cubicBezTo>
                      <a:lnTo>
                        <a:pt x="249" y="19"/>
                      </a:lnTo>
                      <a:cubicBezTo>
                        <a:pt x="224" y="12"/>
                        <a:pt x="200" y="7"/>
                        <a:pt x="175" y="4"/>
                      </a:cubicBezTo>
                      <a:lnTo>
                        <a:pt x="175" y="4"/>
                      </a:lnTo>
                      <a:cubicBezTo>
                        <a:pt x="155" y="2"/>
                        <a:pt x="135" y="0"/>
                        <a:pt x="114" y="0"/>
                      </a:cubicBezTo>
                      <a:lnTo>
                        <a:pt x="114" y="0"/>
                      </a:lnTo>
                      <a:cubicBezTo>
                        <a:pt x="109" y="0"/>
                        <a:pt x="104" y="0"/>
                        <a:pt x="1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275">
                  <a:extLst>
                    <a:ext uri="{FF2B5EF4-FFF2-40B4-BE49-F238E27FC236}">
                      <a16:creationId xmlns:a16="http://schemas.microsoft.com/office/drawing/2014/main" id="{B8CAF54A-2660-454F-AA13-E0E9B6596D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0738" y="4881563"/>
                  <a:ext cx="20637" cy="26987"/>
                </a:xfrm>
                <a:custGeom>
                  <a:avLst/>
                  <a:gdLst>
                    <a:gd name="T0" fmla="*/ 39 w 59"/>
                    <a:gd name="T1" fmla="*/ 16 h 77"/>
                    <a:gd name="T2" fmla="*/ 39 w 59"/>
                    <a:gd name="T3" fmla="*/ 16 h 77"/>
                    <a:gd name="T4" fmla="*/ 14 w 59"/>
                    <a:gd name="T5" fmla="*/ 0 h 77"/>
                    <a:gd name="T6" fmla="*/ 14 w 59"/>
                    <a:gd name="T7" fmla="*/ 0 h 77"/>
                    <a:gd name="T8" fmla="*/ 4 w 59"/>
                    <a:gd name="T9" fmla="*/ 10 h 77"/>
                    <a:gd name="T10" fmla="*/ 4 w 59"/>
                    <a:gd name="T11" fmla="*/ 10 h 77"/>
                    <a:gd name="T12" fmla="*/ 2 w 59"/>
                    <a:gd name="T13" fmla="*/ 23 h 77"/>
                    <a:gd name="T14" fmla="*/ 2 w 59"/>
                    <a:gd name="T15" fmla="*/ 23 h 77"/>
                    <a:gd name="T16" fmla="*/ 8 w 59"/>
                    <a:gd name="T17" fmla="*/ 36 h 77"/>
                    <a:gd name="T18" fmla="*/ 8 w 59"/>
                    <a:gd name="T19" fmla="*/ 36 h 77"/>
                    <a:gd name="T20" fmla="*/ 8 w 59"/>
                    <a:gd name="T21" fmla="*/ 36 h 77"/>
                    <a:gd name="T22" fmla="*/ 8 w 59"/>
                    <a:gd name="T23" fmla="*/ 36 h 77"/>
                    <a:gd name="T24" fmla="*/ 15 w 59"/>
                    <a:gd name="T25" fmla="*/ 50 h 77"/>
                    <a:gd name="T26" fmla="*/ 15 w 59"/>
                    <a:gd name="T27" fmla="*/ 50 h 77"/>
                    <a:gd name="T28" fmla="*/ 16 w 59"/>
                    <a:gd name="T29" fmla="*/ 52 h 77"/>
                    <a:gd name="T30" fmla="*/ 16 w 59"/>
                    <a:gd name="T31" fmla="*/ 52 h 77"/>
                    <a:gd name="T32" fmla="*/ 22 w 59"/>
                    <a:gd name="T33" fmla="*/ 66 h 77"/>
                    <a:gd name="T34" fmla="*/ 22 w 59"/>
                    <a:gd name="T35" fmla="*/ 66 h 77"/>
                    <a:gd name="T36" fmla="*/ 34 w 59"/>
                    <a:gd name="T37" fmla="*/ 75 h 77"/>
                    <a:gd name="T38" fmla="*/ 34 w 59"/>
                    <a:gd name="T39" fmla="*/ 75 h 77"/>
                    <a:gd name="T40" fmla="*/ 48 w 59"/>
                    <a:gd name="T41" fmla="*/ 72 h 77"/>
                    <a:gd name="T42" fmla="*/ 48 w 59"/>
                    <a:gd name="T43" fmla="*/ 72 h 77"/>
                    <a:gd name="T44" fmla="*/ 56 w 59"/>
                    <a:gd name="T45" fmla="*/ 61 h 77"/>
                    <a:gd name="T46" fmla="*/ 56 w 59"/>
                    <a:gd name="T47" fmla="*/ 61 h 77"/>
                    <a:gd name="T48" fmla="*/ 54 w 59"/>
                    <a:gd name="T49" fmla="*/ 46 h 77"/>
                    <a:gd name="T50" fmla="*/ 54 w 59"/>
                    <a:gd name="T51" fmla="*/ 46 h 77"/>
                    <a:gd name="T52" fmla="*/ 48 w 59"/>
                    <a:gd name="T53" fmla="*/ 35 h 77"/>
                    <a:gd name="T54" fmla="*/ 48 w 59"/>
                    <a:gd name="T55" fmla="*/ 35 h 77"/>
                    <a:gd name="T56" fmla="*/ 45 w 59"/>
                    <a:gd name="T57" fmla="*/ 29 h 77"/>
                    <a:gd name="T58" fmla="*/ 45 w 59"/>
                    <a:gd name="T59" fmla="*/ 29 h 77"/>
                    <a:gd name="T60" fmla="*/ 41 w 59"/>
                    <a:gd name="T61" fmla="*/ 20 h 77"/>
                    <a:gd name="T62" fmla="*/ 41 w 59"/>
                    <a:gd name="T63" fmla="*/ 20 h 77"/>
                    <a:gd name="T64" fmla="*/ 39 w 59"/>
                    <a:gd name="T65" fmla="*/ 16 h 77"/>
                    <a:gd name="T66" fmla="*/ 39 w 59"/>
                    <a:gd name="T67" fmla="*/ 16 h 77"/>
                    <a:gd name="T68" fmla="*/ 38 w 59"/>
                    <a:gd name="T69" fmla="*/ 12 h 77"/>
                    <a:gd name="T70" fmla="*/ 38 w 59"/>
                    <a:gd name="T71" fmla="*/ 12 h 77"/>
                    <a:gd name="T72" fmla="*/ 29 w 59"/>
                    <a:gd name="T73" fmla="*/ 2 h 77"/>
                    <a:gd name="T74" fmla="*/ 29 w 59"/>
                    <a:gd name="T75" fmla="*/ 2 h 77"/>
                    <a:gd name="T76" fmla="*/ 20 w 59"/>
                    <a:gd name="T77" fmla="*/ 0 h 77"/>
                    <a:gd name="T78" fmla="*/ 20 w 59"/>
                    <a:gd name="T79" fmla="*/ 0 h 77"/>
                    <a:gd name="T80" fmla="*/ 14 w 59"/>
                    <a:gd name="T81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9" h="77">
                      <a:moveTo>
                        <a:pt x="39" y="16"/>
                      </a:moveTo>
                      <a:lnTo>
                        <a:pt x="39" y="16"/>
                      </a:lnTo>
                      <a:close/>
                      <a:moveTo>
                        <a:pt x="14" y="0"/>
                      </a:moveTo>
                      <a:lnTo>
                        <a:pt x="14" y="0"/>
                      </a:lnTo>
                      <a:cubicBezTo>
                        <a:pt x="9" y="2"/>
                        <a:pt x="6" y="5"/>
                        <a:pt x="4" y="10"/>
                      </a:cubicBezTo>
                      <a:lnTo>
                        <a:pt x="4" y="10"/>
                      </a:lnTo>
                      <a:cubicBezTo>
                        <a:pt x="1" y="13"/>
                        <a:pt x="0" y="20"/>
                        <a:pt x="2" y="23"/>
                      </a:cubicBezTo>
                      <a:lnTo>
                        <a:pt x="2" y="23"/>
                      </a:lnTo>
                      <a:cubicBezTo>
                        <a:pt x="4" y="28"/>
                        <a:pt x="7" y="32"/>
                        <a:pt x="8" y="36"/>
                      </a:cubicBez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cubicBezTo>
                        <a:pt x="11" y="41"/>
                        <a:pt x="12" y="45"/>
                        <a:pt x="15" y="50"/>
                      </a:cubicBezTo>
                      <a:lnTo>
                        <a:pt x="15" y="50"/>
                      </a:lnTo>
                      <a:cubicBezTo>
                        <a:pt x="15" y="51"/>
                        <a:pt x="16" y="51"/>
                        <a:pt x="16" y="52"/>
                      </a:cubicBezTo>
                      <a:lnTo>
                        <a:pt x="16" y="52"/>
                      </a:lnTo>
                      <a:cubicBezTo>
                        <a:pt x="18" y="56"/>
                        <a:pt x="20" y="61"/>
                        <a:pt x="22" y="66"/>
                      </a:cubicBezTo>
                      <a:lnTo>
                        <a:pt x="22" y="66"/>
                      </a:lnTo>
                      <a:cubicBezTo>
                        <a:pt x="24" y="71"/>
                        <a:pt x="29" y="73"/>
                        <a:pt x="34" y="75"/>
                      </a:cubicBezTo>
                      <a:lnTo>
                        <a:pt x="34" y="75"/>
                      </a:lnTo>
                      <a:cubicBezTo>
                        <a:pt x="39" y="76"/>
                        <a:pt x="44" y="75"/>
                        <a:pt x="48" y="72"/>
                      </a:cubicBezTo>
                      <a:lnTo>
                        <a:pt x="48" y="72"/>
                      </a:lnTo>
                      <a:cubicBezTo>
                        <a:pt x="52" y="69"/>
                        <a:pt x="55" y="65"/>
                        <a:pt x="56" y="61"/>
                      </a:cubicBezTo>
                      <a:lnTo>
                        <a:pt x="56" y="61"/>
                      </a:lnTo>
                      <a:cubicBezTo>
                        <a:pt x="58" y="55"/>
                        <a:pt x="56" y="51"/>
                        <a:pt x="54" y="46"/>
                      </a:cubicBezTo>
                      <a:lnTo>
                        <a:pt x="54" y="46"/>
                      </a:lnTo>
                      <a:cubicBezTo>
                        <a:pt x="52" y="42"/>
                        <a:pt x="50" y="39"/>
                        <a:pt x="48" y="35"/>
                      </a:cubicBezTo>
                      <a:lnTo>
                        <a:pt x="48" y="35"/>
                      </a:lnTo>
                      <a:cubicBezTo>
                        <a:pt x="48" y="33"/>
                        <a:pt x="47" y="31"/>
                        <a:pt x="45" y="29"/>
                      </a:cubicBezTo>
                      <a:lnTo>
                        <a:pt x="45" y="29"/>
                      </a:lnTo>
                      <a:cubicBezTo>
                        <a:pt x="44" y="26"/>
                        <a:pt x="42" y="23"/>
                        <a:pt x="41" y="20"/>
                      </a:cubicBezTo>
                      <a:lnTo>
                        <a:pt x="41" y="20"/>
                      </a:lnTo>
                      <a:cubicBezTo>
                        <a:pt x="41" y="19"/>
                        <a:pt x="40" y="18"/>
                        <a:pt x="39" y="16"/>
                      </a:cubicBezTo>
                      <a:lnTo>
                        <a:pt x="39" y="16"/>
                      </a:lnTo>
                      <a:cubicBezTo>
                        <a:pt x="39" y="15"/>
                        <a:pt x="38" y="13"/>
                        <a:pt x="38" y="12"/>
                      </a:cubicBezTo>
                      <a:lnTo>
                        <a:pt x="38" y="12"/>
                      </a:lnTo>
                      <a:cubicBezTo>
                        <a:pt x="35" y="8"/>
                        <a:pt x="33" y="4"/>
                        <a:pt x="29" y="2"/>
                      </a:cubicBezTo>
                      <a:lnTo>
                        <a:pt x="29" y="2"/>
                      </a:lnTo>
                      <a:cubicBezTo>
                        <a:pt x="26" y="0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276">
                  <a:extLst>
                    <a:ext uri="{FF2B5EF4-FFF2-40B4-BE49-F238E27FC236}">
                      <a16:creationId xmlns:a16="http://schemas.microsoft.com/office/drawing/2014/main" id="{A13958DF-E990-E94D-83A5-38F39FCBBC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11988" y="5073650"/>
                  <a:ext cx="50800" cy="179388"/>
                </a:xfrm>
                <a:custGeom>
                  <a:avLst/>
                  <a:gdLst>
                    <a:gd name="T0" fmla="*/ 18 w 143"/>
                    <a:gd name="T1" fmla="*/ 0 h 500"/>
                    <a:gd name="T2" fmla="*/ 18 w 143"/>
                    <a:gd name="T3" fmla="*/ 0 h 500"/>
                    <a:gd name="T4" fmla="*/ 0 w 143"/>
                    <a:gd name="T5" fmla="*/ 19 h 500"/>
                    <a:gd name="T6" fmla="*/ 0 w 143"/>
                    <a:gd name="T7" fmla="*/ 19 h 500"/>
                    <a:gd name="T8" fmla="*/ 6 w 143"/>
                    <a:gd name="T9" fmla="*/ 104 h 500"/>
                    <a:gd name="T10" fmla="*/ 6 w 143"/>
                    <a:gd name="T11" fmla="*/ 104 h 500"/>
                    <a:gd name="T12" fmla="*/ 13 w 143"/>
                    <a:gd name="T13" fmla="*/ 159 h 500"/>
                    <a:gd name="T14" fmla="*/ 13 w 143"/>
                    <a:gd name="T15" fmla="*/ 159 h 500"/>
                    <a:gd name="T16" fmla="*/ 22 w 143"/>
                    <a:gd name="T17" fmla="*/ 218 h 500"/>
                    <a:gd name="T18" fmla="*/ 22 w 143"/>
                    <a:gd name="T19" fmla="*/ 218 h 500"/>
                    <a:gd name="T20" fmla="*/ 32 w 143"/>
                    <a:gd name="T21" fmla="*/ 278 h 500"/>
                    <a:gd name="T22" fmla="*/ 32 w 143"/>
                    <a:gd name="T23" fmla="*/ 278 h 500"/>
                    <a:gd name="T24" fmla="*/ 60 w 143"/>
                    <a:gd name="T25" fmla="*/ 389 h 500"/>
                    <a:gd name="T26" fmla="*/ 60 w 143"/>
                    <a:gd name="T27" fmla="*/ 389 h 500"/>
                    <a:gd name="T28" fmla="*/ 80 w 143"/>
                    <a:gd name="T29" fmla="*/ 439 h 500"/>
                    <a:gd name="T30" fmla="*/ 80 w 143"/>
                    <a:gd name="T31" fmla="*/ 439 h 500"/>
                    <a:gd name="T32" fmla="*/ 103 w 143"/>
                    <a:gd name="T33" fmla="*/ 483 h 500"/>
                    <a:gd name="T34" fmla="*/ 103 w 143"/>
                    <a:gd name="T35" fmla="*/ 483 h 500"/>
                    <a:gd name="T36" fmla="*/ 106 w 143"/>
                    <a:gd name="T37" fmla="*/ 488 h 500"/>
                    <a:gd name="T38" fmla="*/ 106 w 143"/>
                    <a:gd name="T39" fmla="*/ 488 h 500"/>
                    <a:gd name="T40" fmla="*/ 131 w 143"/>
                    <a:gd name="T41" fmla="*/ 493 h 500"/>
                    <a:gd name="T42" fmla="*/ 131 w 143"/>
                    <a:gd name="T43" fmla="*/ 493 h 500"/>
                    <a:gd name="T44" fmla="*/ 137 w 143"/>
                    <a:gd name="T45" fmla="*/ 468 h 500"/>
                    <a:gd name="T46" fmla="*/ 137 w 143"/>
                    <a:gd name="T47" fmla="*/ 468 h 500"/>
                    <a:gd name="T48" fmla="*/ 114 w 143"/>
                    <a:gd name="T49" fmla="*/ 425 h 500"/>
                    <a:gd name="T50" fmla="*/ 114 w 143"/>
                    <a:gd name="T51" fmla="*/ 425 h 500"/>
                    <a:gd name="T52" fmla="*/ 60 w 143"/>
                    <a:gd name="T53" fmla="*/ 229 h 500"/>
                    <a:gd name="T54" fmla="*/ 60 w 143"/>
                    <a:gd name="T55" fmla="*/ 229 h 500"/>
                    <a:gd name="T56" fmla="*/ 47 w 143"/>
                    <a:gd name="T57" fmla="*/ 135 h 500"/>
                    <a:gd name="T58" fmla="*/ 47 w 143"/>
                    <a:gd name="T59" fmla="*/ 135 h 500"/>
                    <a:gd name="T60" fmla="*/ 37 w 143"/>
                    <a:gd name="T61" fmla="*/ 17 h 500"/>
                    <a:gd name="T62" fmla="*/ 37 w 143"/>
                    <a:gd name="T63" fmla="*/ 17 h 500"/>
                    <a:gd name="T64" fmla="*/ 19 w 143"/>
                    <a:gd name="T65" fmla="*/ 0 h 500"/>
                    <a:gd name="T66" fmla="*/ 19 w 143"/>
                    <a:gd name="T67" fmla="*/ 0 h 500"/>
                    <a:gd name="T68" fmla="*/ 18 w 143"/>
                    <a:gd name="T69" fmla="*/ 0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3" h="500">
                      <a:moveTo>
                        <a:pt x="18" y="0"/>
                      </a:moveTo>
                      <a:lnTo>
                        <a:pt x="18" y="0"/>
                      </a:lnTo>
                      <a:cubicBezTo>
                        <a:pt x="8" y="0"/>
                        <a:pt x="0" y="9"/>
                        <a:pt x="0" y="19"/>
                      </a:cubicBezTo>
                      <a:lnTo>
                        <a:pt x="0" y="19"/>
                      </a:lnTo>
                      <a:cubicBezTo>
                        <a:pt x="2" y="47"/>
                        <a:pt x="4" y="76"/>
                        <a:pt x="6" y="104"/>
                      </a:cubicBezTo>
                      <a:lnTo>
                        <a:pt x="6" y="104"/>
                      </a:lnTo>
                      <a:cubicBezTo>
                        <a:pt x="7" y="122"/>
                        <a:pt x="10" y="141"/>
                        <a:pt x="13" y="159"/>
                      </a:cubicBezTo>
                      <a:lnTo>
                        <a:pt x="13" y="159"/>
                      </a:lnTo>
                      <a:cubicBezTo>
                        <a:pt x="15" y="179"/>
                        <a:pt x="18" y="198"/>
                        <a:pt x="22" y="218"/>
                      </a:cubicBezTo>
                      <a:lnTo>
                        <a:pt x="22" y="218"/>
                      </a:lnTo>
                      <a:cubicBezTo>
                        <a:pt x="25" y="238"/>
                        <a:pt x="29" y="258"/>
                        <a:pt x="32" y="278"/>
                      </a:cubicBezTo>
                      <a:lnTo>
                        <a:pt x="32" y="278"/>
                      </a:lnTo>
                      <a:cubicBezTo>
                        <a:pt x="40" y="316"/>
                        <a:pt x="48" y="352"/>
                        <a:pt x="60" y="389"/>
                      </a:cubicBezTo>
                      <a:lnTo>
                        <a:pt x="60" y="389"/>
                      </a:lnTo>
                      <a:cubicBezTo>
                        <a:pt x="66" y="406"/>
                        <a:pt x="72" y="422"/>
                        <a:pt x="80" y="439"/>
                      </a:cubicBezTo>
                      <a:lnTo>
                        <a:pt x="80" y="439"/>
                      </a:lnTo>
                      <a:cubicBezTo>
                        <a:pt x="87" y="454"/>
                        <a:pt x="94" y="469"/>
                        <a:pt x="103" y="483"/>
                      </a:cubicBezTo>
                      <a:lnTo>
                        <a:pt x="103" y="483"/>
                      </a:lnTo>
                      <a:cubicBezTo>
                        <a:pt x="104" y="485"/>
                        <a:pt x="104" y="487"/>
                        <a:pt x="106" y="488"/>
                      </a:cubicBezTo>
                      <a:lnTo>
                        <a:pt x="106" y="488"/>
                      </a:lnTo>
                      <a:cubicBezTo>
                        <a:pt x="110" y="496"/>
                        <a:pt x="123" y="499"/>
                        <a:pt x="131" y="493"/>
                      </a:cubicBezTo>
                      <a:lnTo>
                        <a:pt x="131" y="493"/>
                      </a:lnTo>
                      <a:cubicBezTo>
                        <a:pt x="140" y="488"/>
                        <a:pt x="142" y="477"/>
                        <a:pt x="137" y="468"/>
                      </a:cubicBezTo>
                      <a:lnTo>
                        <a:pt x="137" y="468"/>
                      </a:lnTo>
                      <a:cubicBezTo>
                        <a:pt x="128" y="454"/>
                        <a:pt x="121" y="440"/>
                        <a:pt x="114" y="425"/>
                      </a:cubicBezTo>
                      <a:lnTo>
                        <a:pt x="114" y="425"/>
                      </a:lnTo>
                      <a:cubicBezTo>
                        <a:pt x="86" y="364"/>
                        <a:pt x="73" y="296"/>
                        <a:pt x="60" y="229"/>
                      </a:cubicBezTo>
                      <a:lnTo>
                        <a:pt x="60" y="229"/>
                      </a:lnTo>
                      <a:cubicBezTo>
                        <a:pt x="55" y="198"/>
                        <a:pt x="50" y="166"/>
                        <a:pt x="47" y="135"/>
                      </a:cubicBezTo>
                      <a:lnTo>
                        <a:pt x="47" y="135"/>
                      </a:lnTo>
                      <a:cubicBezTo>
                        <a:pt x="43" y="96"/>
                        <a:pt x="40" y="56"/>
                        <a:pt x="37" y="17"/>
                      </a:cubicBezTo>
                      <a:lnTo>
                        <a:pt x="37" y="17"/>
                      </a:lnTo>
                      <a:cubicBezTo>
                        <a:pt x="37" y="8"/>
                        <a:pt x="29" y="0"/>
                        <a:pt x="19" y="0"/>
                      </a:cubicBezTo>
                      <a:lnTo>
                        <a:pt x="19" y="0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277">
                  <a:extLst>
                    <a:ext uri="{FF2B5EF4-FFF2-40B4-BE49-F238E27FC236}">
                      <a16:creationId xmlns:a16="http://schemas.microsoft.com/office/drawing/2014/main" id="{F3110DA5-97B5-CE42-A307-211D26E3D9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72313" y="5322888"/>
                  <a:ext cx="42862" cy="69850"/>
                </a:xfrm>
                <a:custGeom>
                  <a:avLst/>
                  <a:gdLst>
                    <a:gd name="T0" fmla="*/ 14 w 119"/>
                    <a:gd name="T1" fmla="*/ 1 h 195"/>
                    <a:gd name="T2" fmla="*/ 14 w 119"/>
                    <a:gd name="T3" fmla="*/ 1 h 195"/>
                    <a:gd name="T4" fmla="*/ 4 w 119"/>
                    <a:gd name="T5" fmla="*/ 10 h 195"/>
                    <a:gd name="T6" fmla="*/ 4 w 119"/>
                    <a:gd name="T7" fmla="*/ 10 h 195"/>
                    <a:gd name="T8" fmla="*/ 2 w 119"/>
                    <a:gd name="T9" fmla="*/ 24 h 195"/>
                    <a:gd name="T10" fmla="*/ 2 w 119"/>
                    <a:gd name="T11" fmla="*/ 24 h 195"/>
                    <a:gd name="T12" fmla="*/ 25 w 119"/>
                    <a:gd name="T13" fmla="*/ 74 h 195"/>
                    <a:gd name="T14" fmla="*/ 25 w 119"/>
                    <a:gd name="T15" fmla="*/ 74 h 195"/>
                    <a:gd name="T16" fmla="*/ 47 w 119"/>
                    <a:gd name="T17" fmla="*/ 115 h 195"/>
                    <a:gd name="T18" fmla="*/ 47 w 119"/>
                    <a:gd name="T19" fmla="*/ 115 h 195"/>
                    <a:gd name="T20" fmla="*/ 66 w 119"/>
                    <a:gd name="T21" fmla="*/ 155 h 195"/>
                    <a:gd name="T22" fmla="*/ 66 w 119"/>
                    <a:gd name="T23" fmla="*/ 155 h 195"/>
                    <a:gd name="T24" fmla="*/ 75 w 119"/>
                    <a:gd name="T25" fmla="*/ 174 h 195"/>
                    <a:gd name="T26" fmla="*/ 75 w 119"/>
                    <a:gd name="T27" fmla="*/ 174 h 195"/>
                    <a:gd name="T28" fmla="*/ 86 w 119"/>
                    <a:gd name="T29" fmla="*/ 189 h 195"/>
                    <a:gd name="T30" fmla="*/ 86 w 119"/>
                    <a:gd name="T31" fmla="*/ 189 h 195"/>
                    <a:gd name="T32" fmla="*/ 99 w 119"/>
                    <a:gd name="T33" fmla="*/ 194 h 195"/>
                    <a:gd name="T34" fmla="*/ 99 w 119"/>
                    <a:gd name="T35" fmla="*/ 194 h 195"/>
                    <a:gd name="T36" fmla="*/ 112 w 119"/>
                    <a:gd name="T37" fmla="*/ 187 h 195"/>
                    <a:gd name="T38" fmla="*/ 112 w 119"/>
                    <a:gd name="T39" fmla="*/ 187 h 195"/>
                    <a:gd name="T40" fmla="*/ 117 w 119"/>
                    <a:gd name="T41" fmla="*/ 174 h 195"/>
                    <a:gd name="T42" fmla="*/ 117 w 119"/>
                    <a:gd name="T43" fmla="*/ 174 h 195"/>
                    <a:gd name="T44" fmla="*/ 113 w 119"/>
                    <a:gd name="T45" fmla="*/ 164 h 195"/>
                    <a:gd name="T46" fmla="*/ 113 w 119"/>
                    <a:gd name="T47" fmla="*/ 164 h 195"/>
                    <a:gd name="T48" fmla="*/ 113 w 119"/>
                    <a:gd name="T49" fmla="*/ 164 h 195"/>
                    <a:gd name="T50" fmla="*/ 113 w 119"/>
                    <a:gd name="T51" fmla="*/ 164 h 195"/>
                    <a:gd name="T52" fmla="*/ 99 w 119"/>
                    <a:gd name="T53" fmla="*/ 139 h 195"/>
                    <a:gd name="T54" fmla="*/ 99 w 119"/>
                    <a:gd name="T55" fmla="*/ 139 h 195"/>
                    <a:gd name="T56" fmla="*/ 82 w 119"/>
                    <a:gd name="T57" fmla="*/ 105 h 195"/>
                    <a:gd name="T58" fmla="*/ 82 w 119"/>
                    <a:gd name="T59" fmla="*/ 105 h 195"/>
                    <a:gd name="T60" fmla="*/ 47 w 119"/>
                    <a:gd name="T61" fmla="*/ 34 h 195"/>
                    <a:gd name="T62" fmla="*/ 47 w 119"/>
                    <a:gd name="T63" fmla="*/ 34 h 195"/>
                    <a:gd name="T64" fmla="*/ 48 w 119"/>
                    <a:gd name="T65" fmla="*/ 36 h 195"/>
                    <a:gd name="T66" fmla="*/ 48 w 119"/>
                    <a:gd name="T67" fmla="*/ 36 h 195"/>
                    <a:gd name="T68" fmla="*/ 38 w 119"/>
                    <a:gd name="T69" fmla="*/ 13 h 195"/>
                    <a:gd name="T70" fmla="*/ 38 w 119"/>
                    <a:gd name="T71" fmla="*/ 13 h 195"/>
                    <a:gd name="T72" fmla="*/ 28 w 119"/>
                    <a:gd name="T73" fmla="*/ 3 h 195"/>
                    <a:gd name="T74" fmla="*/ 28 w 119"/>
                    <a:gd name="T75" fmla="*/ 3 h 195"/>
                    <a:gd name="T76" fmla="*/ 19 w 119"/>
                    <a:gd name="T77" fmla="*/ 0 h 195"/>
                    <a:gd name="T78" fmla="*/ 19 w 119"/>
                    <a:gd name="T79" fmla="*/ 0 h 195"/>
                    <a:gd name="T80" fmla="*/ 14 w 119"/>
                    <a:gd name="T81" fmla="*/ 1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19" h="195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9" y="3"/>
                        <a:pt x="5" y="5"/>
                        <a:pt x="4" y="10"/>
                      </a:cubicBezTo>
                      <a:lnTo>
                        <a:pt x="4" y="10"/>
                      </a:lnTo>
                      <a:cubicBezTo>
                        <a:pt x="1" y="14"/>
                        <a:pt x="0" y="20"/>
                        <a:pt x="2" y="24"/>
                      </a:cubicBezTo>
                      <a:lnTo>
                        <a:pt x="2" y="24"/>
                      </a:lnTo>
                      <a:cubicBezTo>
                        <a:pt x="9" y="41"/>
                        <a:pt x="17" y="57"/>
                        <a:pt x="25" y="74"/>
                      </a:cubicBezTo>
                      <a:lnTo>
                        <a:pt x="25" y="74"/>
                      </a:lnTo>
                      <a:cubicBezTo>
                        <a:pt x="32" y="87"/>
                        <a:pt x="39" y="101"/>
                        <a:pt x="47" y="115"/>
                      </a:cubicBezTo>
                      <a:lnTo>
                        <a:pt x="47" y="115"/>
                      </a:lnTo>
                      <a:cubicBezTo>
                        <a:pt x="52" y="128"/>
                        <a:pt x="59" y="142"/>
                        <a:pt x="66" y="155"/>
                      </a:cubicBezTo>
                      <a:lnTo>
                        <a:pt x="66" y="155"/>
                      </a:lnTo>
                      <a:cubicBezTo>
                        <a:pt x="69" y="161"/>
                        <a:pt x="72" y="167"/>
                        <a:pt x="75" y="174"/>
                      </a:cubicBezTo>
                      <a:lnTo>
                        <a:pt x="75" y="174"/>
                      </a:lnTo>
                      <a:cubicBezTo>
                        <a:pt x="78" y="179"/>
                        <a:pt x="82" y="184"/>
                        <a:pt x="86" y="189"/>
                      </a:cubicBezTo>
                      <a:lnTo>
                        <a:pt x="86" y="189"/>
                      </a:lnTo>
                      <a:cubicBezTo>
                        <a:pt x="89" y="192"/>
                        <a:pt x="95" y="194"/>
                        <a:pt x="99" y="194"/>
                      </a:cubicBezTo>
                      <a:lnTo>
                        <a:pt x="99" y="194"/>
                      </a:lnTo>
                      <a:cubicBezTo>
                        <a:pt x="104" y="194"/>
                        <a:pt x="109" y="191"/>
                        <a:pt x="112" y="187"/>
                      </a:cubicBezTo>
                      <a:lnTo>
                        <a:pt x="112" y="187"/>
                      </a:lnTo>
                      <a:cubicBezTo>
                        <a:pt x="116" y="184"/>
                        <a:pt x="118" y="179"/>
                        <a:pt x="117" y="174"/>
                      </a:cubicBezTo>
                      <a:lnTo>
                        <a:pt x="117" y="174"/>
                      </a:lnTo>
                      <a:cubicBezTo>
                        <a:pt x="117" y="170"/>
                        <a:pt x="115" y="167"/>
                        <a:pt x="113" y="164"/>
                      </a:cubicBezTo>
                      <a:lnTo>
                        <a:pt x="113" y="164"/>
                      </a:lnTo>
                      <a:lnTo>
                        <a:pt x="113" y="164"/>
                      </a:lnTo>
                      <a:lnTo>
                        <a:pt x="113" y="164"/>
                      </a:lnTo>
                      <a:cubicBezTo>
                        <a:pt x="108" y="156"/>
                        <a:pt x="103" y="148"/>
                        <a:pt x="99" y="139"/>
                      </a:cubicBezTo>
                      <a:lnTo>
                        <a:pt x="99" y="139"/>
                      </a:lnTo>
                      <a:cubicBezTo>
                        <a:pt x="93" y="128"/>
                        <a:pt x="88" y="116"/>
                        <a:pt x="82" y="105"/>
                      </a:cubicBezTo>
                      <a:lnTo>
                        <a:pt x="82" y="105"/>
                      </a:lnTo>
                      <a:cubicBezTo>
                        <a:pt x="70" y="81"/>
                        <a:pt x="58" y="57"/>
                        <a:pt x="47" y="34"/>
                      </a:cubicBezTo>
                      <a:lnTo>
                        <a:pt x="47" y="34"/>
                      </a:lnTo>
                      <a:cubicBezTo>
                        <a:pt x="48" y="34"/>
                        <a:pt x="48" y="35"/>
                        <a:pt x="48" y="36"/>
                      </a:cubicBezTo>
                      <a:lnTo>
                        <a:pt x="48" y="36"/>
                      </a:lnTo>
                      <a:cubicBezTo>
                        <a:pt x="45" y="28"/>
                        <a:pt x="41" y="21"/>
                        <a:pt x="38" y="13"/>
                      </a:cubicBezTo>
                      <a:lnTo>
                        <a:pt x="38" y="13"/>
                      </a:lnTo>
                      <a:cubicBezTo>
                        <a:pt x="35" y="9"/>
                        <a:pt x="33" y="5"/>
                        <a:pt x="28" y="3"/>
                      </a:cubicBezTo>
                      <a:lnTo>
                        <a:pt x="28" y="3"/>
                      </a:lnTo>
                      <a:cubicBezTo>
                        <a:pt x="26" y="1"/>
                        <a:pt x="23" y="0"/>
                        <a:pt x="19" y="0"/>
                      </a:cubicBezTo>
                      <a:lnTo>
                        <a:pt x="19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278">
                  <a:extLst>
                    <a:ext uri="{FF2B5EF4-FFF2-40B4-BE49-F238E27FC236}">
                      <a16:creationId xmlns:a16="http://schemas.microsoft.com/office/drawing/2014/main" id="{751205EC-6458-FE46-9024-A672EF77E4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0225" y="5072063"/>
                  <a:ext cx="69850" cy="233362"/>
                </a:xfrm>
                <a:custGeom>
                  <a:avLst/>
                  <a:gdLst>
                    <a:gd name="T0" fmla="*/ 154 w 192"/>
                    <a:gd name="T1" fmla="*/ 10 h 647"/>
                    <a:gd name="T2" fmla="*/ 154 w 192"/>
                    <a:gd name="T3" fmla="*/ 10 h 647"/>
                    <a:gd name="T4" fmla="*/ 129 w 192"/>
                    <a:gd name="T5" fmla="*/ 68 h 647"/>
                    <a:gd name="T6" fmla="*/ 129 w 192"/>
                    <a:gd name="T7" fmla="*/ 68 h 647"/>
                    <a:gd name="T8" fmla="*/ 107 w 192"/>
                    <a:gd name="T9" fmla="*/ 129 h 647"/>
                    <a:gd name="T10" fmla="*/ 107 w 192"/>
                    <a:gd name="T11" fmla="*/ 129 h 647"/>
                    <a:gd name="T12" fmla="*/ 89 w 192"/>
                    <a:gd name="T13" fmla="*/ 184 h 647"/>
                    <a:gd name="T14" fmla="*/ 89 w 192"/>
                    <a:gd name="T15" fmla="*/ 184 h 647"/>
                    <a:gd name="T16" fmla="*/ 73 w 192"/>
                    <a:gd name="T17" fmla="*/ 240 h 647"/>
                    <a:gd name="T18" fmla="*/ 73 w 192"/>
                    <a:gd name="T19" fmla="*/ 240 h 647"/>
                    <a:gd name="T20" fmla="*/ 47 w 192"/>
                    <a:gd name="T21" fmla="*/ 355 h 647"/>
                    <a:gd name="T22" fmla="*/ 47 w 192"/>
                    <a:gd name="T23" fmla="*/ 355 h 647"/>
                    <a:gd name="T24" fmla="*/ 23 w 192"/>
                    <a:gd name="T25" fmla="*/ 466 h 647"/>
                    <a:gd name="T26" fmla="*/ 23 w 192"/>
                    <a:gd name="T27" fmla="*/ 466 h 647"/>
                    <a:gd name="T28" fmla="*/ 10 w 192"/>
                    <a:gd name="T29" fmla="*/ 543 h 647"/>
                    <a:gd name="T30" fmla="*/ 10 w 192"/>
                    <a:gd name="T31" fmla="*/ 543 h 647"/>
                    <a:gd name="T32" fmla="*/ 5 w 192"/>
                    <a:gd name="T33" fmla="*/ 580 h 647"/>
                    <a:gd name="T34" fmla="*/ 5 w 192"/>
                    <a:gd name="T35" fmla="*/ 580 h 647"/>
                    <a:gd name="T36" fmla="*/ 0 w 192"/>
                    <a:gd name="T37" fmla="*/ 627 h 647"/>
                    <a:gd name="T38" fmla="*/ 0 w 192"/>
                    <a:gd name="T39" fmla="*/ 627 h 647"/>
                    <a:gd name="T40" fmla="*/ 19 w 192"/>
                    <a:gd name="T41" fmla="*/ 645 h 647"/>
                    <a:gd name="T42" fmla="*/ 19 w 192"/>
                    <a:gd name="T43" fmla="*/ 645 h 647"/>
                    <a:gd name="T44" fmla="*/ 38 w 192"/>
                    <a:gd name="T45" fmla="*/ 626 h 647"/>
                    <a:gd name="T46" fmla="*/ 38 w 192"/>
                    <a:gd name="T47" fmla="*/ 626 h 647"/>
                    <a:gd name="T48" fmla="*/ 38 w 192"/>
                    <a:gd name="T49" fmla="*/ 622 h 647"/>
                    <a:gd name="T50" fmla="*/ 38 w 192"/>
                    <a:gd name="T51" fmla="*/ 622 h 647"/>
                    <a:gd name="T52" fmla="*/ 44 w 192"/>
                    <a:gd name="T53" fmla="*/ 571 h 647"/>
                    <a:gd name="T54" fmla="*/ 44 w 192"/>
                    <a:gd name="T55" fmla="*/ 571 h 647"/>
                    <a:gd name="T56" fmla="*/ 52 w 192"/>
                    <a:gd name="T57" fmla="*/ 515 h 647"/>
                    <a:gd name="T58" fmla="*/ 52 w 192"/>
                    <a:gd name="T59" fmla="*/ 515 h 647"/>
                    <a:gd name="T60" fmla="*/ 73 w 192"/>
                    <a:gd name="T61" fmla="*/ 406 h 647"/>
                    <a:gd name="T62" fmla="*/ 73 w 192"/>
                    <a:gd name="T63" fmla="*/ 406 h 647"/>
                    <a:gd name="T64" fmla="*/ 100 w 192"/>
                    <a:gd name="T65" fmla="*/ 290 h 647"/>
                    <a:gd name="T66" fmla="*/ 100 w 192"/>
                    <a:gd name="T67" fmla="*/ 290 h 647"/>
                    <a:gd name="T68" fmla="*/ 115 w 192"/>
                    <a:gd name="T69" fmla="*/ 230 h 647"/>
                    <a:gd name="T70" fmla="*/ 115 w 192"/>
                    <a:gd name="T71" fmla="*/ 230 h 647"/>
                    <a:gd name="T72" fmla="*/ 131 w 192"/>
                    <a:gd name="T73" fmla="*/ 174 h 647"/>
                    <a:gd name="T74" fmla="*/ 131 w 192"/>
                    <a:gd name="T75" fmla="*/ 174 h 647"/>
                    <a:gd name="T76" fmla="*/ 165 w 192"/>
                    <a:gd name="T77" fmla="*/ 76 h 647"/>
                    <a:gd name="T78" fmla="*/ 165 w 192"/>
                    <a:gd name="T79" fmla="*/ 76 h 647"/>
                    <a:gd name="T80" fmla="*/ 175 w 192"/>
                    <a:gd name="T81" fmla="*/ 52 h 647"/>
                    <a:gd name="T82" fmla="*/ 175 w 192"/>
                    <a:gd name="T83" fmla="*/ 52 h 647"/>
                    <a:gd name="T84" fmla="*/ 187 w 192"/>
                    <a:gd name="T85" fmla="*/ 28 h 647"/>
                    <a:gd name="T86" fmla="*/ 187 w 192"/>
                    <a:gd name="T87" fmla="*/ 28 h 647"/>
                    <a:gd name="T88" fmla="*/ 179 w 192"/>
                    <a:gd name="T89" fmla="*/ 2 h 647"/>
                    <a:gd name="T90" fmla="*/ 179 w 192"/>
                    <a:gd name="T91" fmla="*/ 2 h 647"/>
                    <a:gd name="T92" fmla="*/ 170 w 192"/>
                    <a:gd name="T93" fmla="*/ 0 h 647"/>
                    <a:gd name="T94" fmla="*/ 170 w 192"/>
                    <a:gd name="T95" fmla="*/ 0 h 647"/>
                    <a:gd name="T96" fmla="*/ 154 w 192"/>
                    <a:gd name="T97" fmla="*/ 10 h 6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2" h="647">
                      <a:moveTo>
                        <a:pt x="154" y="10"/>
                      </a:moveTo>
                      <a:lnTo>
                        <a:pt x="154" y="10"/>
                      </a:lnTo>
                      <a:cubicBezTo>
                        <a:pt x="145" y="29"/>
                        <a:pt x="136" y="48"/>
                        <a:pt x="129" y="68"/>
                      </a:cubicBezTo>
                      <a:lnTo>
                        <a:pt x="129" y="68"/>
                      </a:lnTo>
                      <a:cubicBezTo>
                        <a:pt x="121" y="88"/>
                        <a:pt x="115" y="108"/>
                        <a:pt x="107" y="129"/>
                      </a:cubicBezTo>
                      <a:lnTo>
                        <a:pt x="107" y="129"/>
                      </a:lnTo>
                      <a:cubicBezTo>
                        <a:pt x="101" y="147"/>
                        <a:pt x="95" y="165"/>
                        <a:pt x="89" y="184"/>
                      </a:cubicBezTo>
                      <a:lnTo>
                        <a:pt x="89" y="184"/>
                      </a:lnTo>
                      <a:cubicBezTo>
                        <a:pt x="83" y="203"/>
                        <a:pt x="78" y="222"/>
                        <a:pt x="73" y="240"/>
                      </a:cubicBezTo>
                      <a:lnTo>
                        <a:pt x="73" y="240"/>
                      </a:lnTo>
                      <a:cubicBezTo>
                        <a:pt x="64" y="278"/>
                        <a:pt x="56" y="317"/>
                        <a:pt x="47" y="355"/>
                      </a:cubicBezTo>
                      <a:lnTo>
                        <a:pt x="47" y="355"/>
                      </a:lnTo>
                      <a:cubicBezTo>
                        <a:pt x="39" y="392"/>
                        <a:pt x="30" y="429"/>
                        <a:pt x="23" y="466"/>
                      </a:cubicBezTo>
                      <a:lnTo>
                        <a:pt x="23" y="466"/>
                      </a:lnTo>
                      <a:cubicBezTo>
                        <a:pt x="18" y="492"/>
                        <a:pt x="14" y="517"/>
                        <a:pt x="10" y="543"/>
                      </a:cubicBezTo>
                      <a:lnTo>
                        <a:pt x="10" y="543"/>
                      </a:lnTo>
                      <a:cubicBezTo>
                        <a:pt x="8" y="555"/>
                        <a:pt x="7" y="567"/>
                        <a:pt x="5" y="580"/>
                      </a:cubicBezTo>
                      <a:lnTo>
                        <a:pt x="5" y="580"/>
                      </a:lnTo>
                      <a:cubicBezTo>
                        <a:pt x="3" y="596"/>
                        <a:pt x="1" y="611"/>
                        <a:pt x="0" y="627"/>
                      </a:cubicBezTo>
                      <a:lnTo>
                        <a:pt x="0" y="627"/>
                      </a:lnTo>
                      <a:cubicBezTo>
                        <a:pt x="0" y="637"/>
                        <a:pt x="10" y="646"/>
                        <a:pt x="19" y="645"/>
                      </a:cubicBezTo>
                      <a:lnTo>
                        <a:pt x="19" y="645"/>
                      </a:lnTo>
                      <a:cubicBezTo>
                        <a:pt x="30" y="644"/>
                        <a:pt x="37" y="636"/>
                        <a:pt x="38" y="626"/>
                      </a:cubicBezTo>
                      <a:lnTo>
                        <a:pt x="38" y="626"/>
                      </a:lnTo>
                      <a:cubicBezTo>
                        <a:pt x="38" y="624"/>
                        <a:pt x="38" y="623"/>
                        <a:pt x="38" y="622"/>
                      </a:cubicBezTo>
                      <a:lnTo>
                        <a:pt x="38" y="622"/>
                      </a:lnTo>
                      <a:cubicBezTo>
                        <a:pt x="39" y="605"/>
                        <a:pt x="42" y="588"/>
                        <a:pt x="44" y="571"/>
                      </a:cubicBezTo>
                      <a:lnTo>
                        <a:pt x="44" y="571"/>
                      </a:lnTo>
                      <a:cubicBezTo>
                        <a:pt x="46" y="552"/>
                        <a:pt x="49" y="533"/>
                        <a:pt x="52" y="515"/>
                      </a:cubicBezTo>
                      <a:lnTo>
                        <a:pt x="52" y="515"/>
                      </a:lnTo>
                      <a:cubicBezTo>
                        <a:pt x="58" y="479"/>
                        <a:pt x="65" y="442"/>
                        <a:pt x="73" y="406"/>
                      </a:cubicBezTo>
                      <a:lnTo>
                        <a:pt x="73" y="406"/>
                      </a:lnTo>
                      <a:cubicBezTo>
                        <a:pt x="82" y="368"/>
                        <a:pt x="92" y="329"/>
                        <a:pt x="100" y="290"/>
                      </a:cubicBezTo>
                      <a:lnTo>
                        <a:pt x="100" y="290"/>
                      </a:lnTo>
                      <a:cubicBezTo>
                        <a:pt x="105" y="270"/>
                        <a:pt x="109" y="250"/>
                        <a:pt x="115" y="230"/>
                      </a:cubicBezTo>
                      <a:lnTo>
                        <a:pt x="115" y="230"/>
                      </a:lnTo>
                      <a:cubicBezTo>
                        <a:pt x="119" y="212"/>
                        <a:pt x="125" y="193"/>
                        <a:pt x="131" y="174"/>
                      </a:cubicBezTo>
                      <a:lnTo>
                        <a:pt x="131" y="174"/>
                      </a:lnTo>
                      <a:cubicBezTo>
                        <a:pt x="141" y="142"/>
                        <a:pt x="153" y="109"/>
                        <a:pt x="165" y="76"/>
                      </a:cubicBezTo>
                      <a:lnTo>
                        <a:pt x="165" y="76"/>
                      </a:lnTo>
                      <a:cubicBezTo>
                        <a:pt x="169" y="68"/>
                        <a:pt x="172" y="60"/>
                        <a:pt x="175" y="52"/>
                      </a:cubicBezTo>
                      <a:lnTo>
                        <a:pt x="175" y="52"/>
                      </a:lnTo>
                      <a:cubicBezTo>
                        <a:pt x="179" y="43"/>
                        <a:pt x="183" y="35"/>
                        <a:pt x="187" y="28"/>
                      </a:cubicBezTo>
                      <a:lnTo>
                        <a:pt x="187" y="28"/>
                      </a:lnTo>
                      <a:cubicBezTo>
                        <a:pt x="191" y="18"/>
                        <a:pt x="188" y="7"/>
                        <a:pt x="179" y="2"/>
                      </a:cubicBezTo>
                      <a:lnTo>
                        <a:pt x="179" y="2"/>
                      </a:lnTo>
                      <a:cubicBezTo>
                        <a:pt x="176" y="1"/>
                        <a:pt x="173" y="0"/>
                        <a:pt x="170" y="0"/>
                      </a:cubicBezTo>
                      <a:lnTo>
                        <a:pt x="170" y="0"/>
                      </a:lnTo>
                      <a:cubicBezTo>
                        <a:pt x="163" y="0"/>
                        <a:pt x="157" y="3"/>
                        <a:pt x="15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79">
                  <a:extLst>
                    <a:ext uri="{FF2B5EF4-FFF2-40B4-BE49-F238E27FC236}">
                      <a16:creationId xmlns:a16="http://schemas.microsoft.com/office/drawing/2014/main" id="{987FF728-8BD1-714A-8E9B-A231B77FF7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5463" y="5367338"/>
                  <a:ext cx="15875" cy="87312"/>
                </a:xfrm>
                <a:custGeom>
                  <a:avLst/>
                  <a:gdLst>
                    <a:gd name="T0" fmla="*/ 41 w 44"/>
                    <a:gd name="T1" fmla="*/ 212 h 241"/>
                    <a:gd name="T2" fmla="*/ 41 w 44"/>
                    <a:gd name="T3" fmla="*/ 212 h 241"/>
                    <a:gd name="T4" fmla="*/ 41 w 44"/>
                    <a:gd name="T5" fmla="*/ 213 h 241"/>
                    <a:gd name="T6" fmla="*/ 41 w 44"/>
                    <a:gd name="T7" fmla="*/ 213 h 241"/>
                    <a:gd name="T8" fmla="*/ 41 w 44"/>
                    <a:gd name="T9" fmla="*/ 212 h 241"/>
                    <a:gd name="T10" fmla="*/ 20 w 44"/>
                    <a:gd name="T11" fmla="*/ 0 h 241"/>
                    <a:gd name="T12" fmla="*/ 20 w 44"/>
                    <a:gd name="T13" fmla="*/ 0 h 241"/>
                    <a:gd name="T14" fmla="*/ 2 w 44"/>
                    <a:gd name="T15" fmla="*/ 20 h 241"/>
                    <a:gd name="T16" fmla="*/ 2 w 44"/>
                    <a:gd name="T17" fmla="*/ 20 h 241"/>
                    <a:gd name="T18" fmla="*/ 0 w 44"/>
                    <a:gd name="T19" fmla="*/ 137 h 241"/>
                    <a:gd name="T20" fmla="*/ 0 w 44"/>
                    <a:gd name="T21" fmla="*/ 137 h 241"/>
                    <a:gd name="T22" fmla="*/ 2 w 44"/>
                    <a:gd name="T23" fmla="*/ 182 h 241"/>
                    <a:gd name="T24" fmla="*/ 2 w 44"/>
                    <a:gd name="T25" fmla="*/ 182 h 241"/>
                    <a:gd name="T26" fmla="*/ 6 w 44"/>
                    <a:gd name="T27" fmla="*/ 226 h 241"/>
                    <a:gd name="T28" fmla="*/ 6 w 44"/>
                    <a:gd name="T29" fmla="*/ 226 h 241"/>
                    <a:gd name="T30" fmla="*/ 30 w 44"/>
                    <a:gd name="T31" fmla="*/ 237 h 241"/>
                    <a:gd name="T32" fmla="*/ 30 w 44"/>
                    <a:gd name="T33" fmla="*/ 237 h 241"/>
                    <a:gd name="T34" fmla="*/ 40 w 44"/>
                    <a:gd name="T35" fmla="*/ 229 h 241"/>
                    <a:gd name="T36" fmla="*/ 40 w 44"/>
                    <a:gd name="T37" fmla="*/ 229 h 241"/>
                    <a:gd name="T38" fmla="*/ 42 w 44"/>
                    <a:gd name="T39" fmla="*/ 215 h 241"/>
                    <a:gd name="T40" fmla="*/ 42 w 44"/>
                    <a:gd name="T41" fmla="*/ 215 h 241"/>
                    <a:gd name="T42" fmla="*/ 37 w 44"/>
                    <a:gd name="T43" fmla="*/ 132 h 241"/>
                    <a:gd name="T44" fmla="*/ 37 w 44"/>
                    <a:gd name="T45" fmla="*/ 132 h 241"/>
                    <a:gd name="T46" fmla="*/ 39 w 44"/>
                    <a:gd name="T47" fmla="*/ 18 h 241"/>
                    <a:gd name="T48" fmla="*/ 39 w 44"/>
                    <a:gd name="T49" fmla="*/ 18 h 241"/>
                    <a:gd name="T50" fmla="*/ 20 w 44"/>
                    <a:gd name="T51" fmla="*/ 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4" h="241">
                      <a:moveTo>
                        <a:pt x="41" y="212"/>
                      </a:moveTo>
                      <a:lnTo>
                        <a:pt x="41" y="212"/>
                      </a:lnTo>
                      <a:lnTo>
                        <a:pt x="41" y="213"/>
                      </a:lnTo>
                      <a:lnTo>
                        <a:pt x="41" y="213"/>
                      </a:lnTo>
                      <a:lnTo>
                        <a:pt x="41" y="212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9" y="1"/>
                        <a:pt x="2" y="10"/>
                        <a:pt x="2" y="20"/>
                      </a:cubicBezTo>
                      <a:lnTo>
                        <a:pt x="2" y="20"/>
                      </a:lnTo>
                      <a:cubicBezTo>
                        <a:pt x="1" y="59"/>
                        <a:pt x="0" y="98"/>
                        <a:pt x="0" y="137"/>
                      </a:cubicBezTo>
                      <a:lnTo>
                        <a:pt x="0" y="137"/>
                      </a:lnTo>
                      <a:cubicBezTo>
                        <a:pt x="0" y="152"/>
                        <a:pt x="1" y="167"/>
                        <a:pt x="2" y="182"/>
                      </a:cubicBezTo>
                      <a:lnTo>
                        <a:pt x="2" y="182"/>
                      </a:lnTo>
                      <a:cubicBezTo>
                        <a:pt x="2" y="196"/>
                        <a:pt x="3" y="212"/>
                        <a:pt x="6" y="226"/>
                      </a:cubicBezTo>
                      <a:lnTo>
                        <a:pt x="6" y="226"/>
                      </a:lnTo>
                      <a:cubicBezTo>
                        <a:pt x="9" y="235"/>
                        <a:pt x="21" y="240"/>
                        <a:pt x="30" y="237"/>
                      </a:cubicBezTo>
                      <a:lnTo>
                        <a:pt x="30" y="237"/>
                      </a:lnTo>
                      <a:cubicBezTo>
                        <a:pt x="35" y="236"/>
                        <a:pt x="39" y="233"/>
                        <a:pt x="40" y="229"/>
                      </a:cubicBezTo>
                      <a:lnTo>
                        <a:pt x="40" y="229"/>
                      </a:lnTo>
                      <a:cubicBezTo>
                        <a:pt x="43" y="224"/>
                        <a:pt x="43" y="220"/>
                        <a:pt x="42" y="215"/>
                      </a:cubicBezTo>
                      <a:lnTo>
                        <a:pt x="42" y="215"/>
                      </a:lnTo>
                      <a:cubicBezTo>
                        <a:pt x="38" y="188"/>
                        <a:pt x="37" y="159"/>
                        <a:pt x="37" y="132"/>
                      </a:cubicBezTo>
                      <a:lnTo>
                        <a:pt x="37" y="132"/>
                      </a:lnTo>
                      <a:cubicBezTo>
                        <a:pt x="37" y="94"/>
                        <a:pt x="38" y="56"/>
                        <a:pt x="39" y="18"/>
                      </a:cubicBezTo>
                      <a:lnTo>
                        <a:pt x="39" y="18"/>
                      </a:lnTo>
                      <a:cubicBezTo>
                        <a:pt x="39" y="8"/>
                        <a:pt x="30" y="0"/>
                        <a:pt x="2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80">
                  <a:extLst>
                    <a:ext uri="{FF2B5EF4-FFF2-40B4-BE49-F238E27FC236}">
                      <a16:creationId xmlns:a16="http://schemas.microsoft.com/office/drawing/2014/main" id="{7DCC5E1D-C705-204F-BA06-33E2F5324C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5338" y="5032375"/>
                  <a:ext cx="98425" cy="150813"/>
                </a:xfrm>
                <a:custGeom>
                  <a:avLst/>
                  <a:gdLst>
                    <a:gd name="T0" fmla="*/ 11 w 274"/>
                    <a:gd name="T1" fmla="*/ 2 h 419"/>
                    <a:gd name="T2" fmla="*/ 11 w 274"/>
                    <a:gd name="T3" fmla="*/ 2 h 419"/>
                    <a:gd name="T4" fmla="*/ 6 w 274"/>
                    <a:gd name="T5" fmla="*/ 28 h 419"/>
                    <a:gd name="T6" fmla="*/ 6 w 274"/>
                    <a:gd name="T7" fmla="*/ 28 h 419"/>
                    <a:gd name="T8" fmla="*/ 72 w 274"/>
                    <a:gd name="T9" fmla="*/ 127 h 419"/>
                    <a:gd name="T10" fmla="*/ 72 w 274"/>
                    <a:gd name="T11" fmla="*/ 127 h 419"/>
                    <a:gd name="T12" fmla="*/ 128 w 274"/>
                    <a:gd name="T13" fmla="*/ 218 h 419"/>
                    <a:gd name="T14" fmla="*/ 128 w 274"/>
                    <a:gd name="T15" fmla="*/ 218 h 419"/>
                    <a:gd name="T16" fmla="*/ 183 w 274"/>
                    <a:gd name="T17" fmla="*/ 309 h 419"/>
                    <a:gd name="T18" fmla="*/ 183 w 274"/>
                    <a:gd name="T19" fmla="*/ 309 h 419"/>
                    <a:gd name="T20" fmla="*/ 237 w 274"/>
                    <a:gd name="T21" fmla="*/ 407 h 419"/>
                    <a:gd name="T22" fmla="*/ 237 w 274"/>
                    <a:gd name="T23" fmla="*/ 407 h 419"/>
                    <a:gd name="T24" fmla="*/ 263 w 274"/>
                    <a:gd name="T25" fmla="*/ 413 h 419"/>
                    <a:gd name="T26" fmla="*/ 263 w 274"/>
                    <a:gd name="T27" fmla="*/ 413 h 419"/>
                    <a:gd name="T28" fmla="*/ 268 w 274"/>
                    <a:gd name="T29" fmla="*/ 387 h 419"/>
                    <a:gd name="T30" fmla="*/ 268 w 274"/>
                    <a:gd name="T31" fmla="*/ 387 h 419"/>
                    <a:gd name="T32" fmla="*/ 215 w 274"/>
                    <a:gd name="T33" fmla="*/ 289 h 419"/>
                    <a:gd name="T34" fmla="*/ 215 w 274"/>
                    <a:gd name="T35" fmla="*/ 289 h 419"/>
                    <a:gd name="T36" fmla="*/ 160 w 274"/>
                    <a:gd name="T37" fmla="*/ 198 h 419"/>
                    <a:gd name="T38" fmla="*/ 160 w 274"/>
                    <a:gd name="T39" fmla="*/ 198 h 419"/>
                    <a:gd name="T40" fmla="*/ 104 w 274"/>
                    <a:gd name="T41" fmla="*/ 107 h 419"/>
                    <a:gd name="T42" fmla="*/ 104 w 274"/>
                    <a:gd name="T43" fmla="*/ 107 h 419"/>
                    <a:gd name="T44" fmla="*/ 37 w 274"/>
                    <a:gd name="T45" fmla="*/ 8 h 419"/>
                    <a:gd name="T46" fmla="*/ 37 w 274"/>
                    <a:gd name="T47" fmla="*/ 8 h 419"/>
                    <a:gd name="T48" fmla="*/ 21 w 274"/>
                    <a:gd name="T49" fmla="*/ 0 h 419"/>
                    <a:gd name="T50" fmla="*/ 21 w 274"/>
                    <a:gd name="T51" fmla="*/ 0 h 419"/>
                    <a:gd name="T52" fmla="*/ 11 w 274"/>
                    <a:gd name="T53" fmla="*/ 2 h 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74" h="419">
                      <a:moveTo>
                        <a:pt x="11" y="2"/>
                      </a:moveTo>
                      <a:lnTo>
                        <a:pt x="11" y="2"/>
                      </a:lnTo>
                      <a:cubicBezTo>
                        <a:pt x="3" y="8"/>
                        <a:pt x="0" y="20"/>
                        <a:pt x="6" y="28"/>
                      </a:cubicBezTo>
                      <a:lnTo>
                        <a:pt x="6" y="28"/>
                      </a:lnTo>
                      <a:cubicBezTo>
                        <a:pt x="28" y="61"/>
                        <a:pt x="51" y="94"/>
                        <a:pt x="72" y="127"/>
                      </a:cubicBezTo>
                      <a:lnTo>
                        <a:pt x="72" y="127"/>
                      </a:lnTo>
                      <a:cubicBezTo>
                        <a:pt x="91" y="157"/>
                        <a:pt x="110" y="188"/>
                        <a:pt x="128" y="218"/>
                      </a:cubicBezTo>
                      <a:lnTo>
                        <a:pt x="128" y="218"/>
                      </a:lnTo>
                      <a:cubicBezTo>
                        <a:pt x="147" y="248"/>
                        <a:pt x="165" y="279"/>
                        <a:pt x="183" y="309"/>
                      </a:cubicBezTo>
                      <a:lnTo>
                        <a:pt x="183" y="309"/>
                      </a:lnTo>
                      <a:cubicBezTo>
                        <a:pt x="202" y="342"/>
                        <a:pt x="218" y="375"/>
                        <a:pt x="237" y="407"/>
                      </a:cubicBezTo>
                      <a:lnTo>
                        <a:pt x="237" y="407"/>
                      </a:lnTo>
                      <a:cubicBezTo>
                        <a:pt x="242" y="416"/>
                        <a:pt x="254" y="418"/>
                        <a:pt x="263" y="413"/>
                      </a:cubicBezTo>
                      <a:lnTo>
                        <a:pt x="263" y="413"/>
                      </a:lnTo>
                      <a:cubicBezTo>
                        <a:pt x="271" y="407"/>
                        <a:pt x="273" y="396"/>
                        <a:pt x="268" y="387"/>
                      </a:cubicBezTo>
                      <a:lnTo>
                        <a:pt x="268" y="387"/>
                      </a:lnTo>
                      <a:cubicBezTo>
                        <a:pt x="249" y="355"/>
                        <a:pt x="233" y="322"/>
                        <a:pt x="215" y="289"/>
                      </a:cubicBezTo>
                      <a:lnTo>
                        <a:pt x="215" y="289"/>
                      </a:lnTo>
                      <a:cubicBezTo>
                        <a:pt x="197" y="258"/>
                        <a:pt x="178" y="228"/>
                        <a:pt x="160" y="198"/>
                      </a:cubicBezTo>
                      <a:lnTo>
                        <a:pt x="160" y="198"/>
                      </a:lnTo>
                      <a:cubicBezTo>
                        <a:pt x="142" y="168"/>
                        <a:pt x="123" y="137"/>
                        <a:pt x="104" y="107"/>
                      </a:cubicBezTo>
                      <a:lnTo>
                        <a:pt x="104" y="107"/>
                      </a:lnTo>
                      <a:cubicBezTo>
                        <a:pt x="82" y="74"/>
                        <a:pt x="59" y="41"/>
                        <a:pt x="37" y="8"/>
                      </a:cubicBezTo>
                      <a:lnTo>
                        <a:pt x="37" y="8"/>
                      </a:lnTo>
                      <a:cubicBezTo>
                        <a:pt x="33" y="2"/>
                        <a:pt x="27" y="0"/>
                        <a:pt x="21" y="0"/>
                      </a:cubicBezTo>
                      <a:lnTo>
                        <a:pt x="21" y="0"/>
                      </a:lnTo>
                      <a:cubicBezTo>
                        <a:pt x="18" y="0"/>
                        <a:pt x="14" y="0"/>
                        <a:pt x="1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281">
                  <a:extLst>
                    <a:ext uri="{FF2B5EF4-FFF2-40B4-BE49-F238E27FC236}">
                      <a16:creationId xmlns:a16="http://schemas.microsoft.com/office/drawing/2014/main" id="{FA771D65-D23B-4841-A947-1D061A3759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69163" y="5235575"/>
                  <a:ext cx="44450" cy="74613"/>
                </a:xfrm>
                <a:custGeom>
                  <a:avLst/>
                  <a:gdLst>
                    <a:gd name="T0" fmla="*/ 44 w 125"/>
                    <a:gd name="T1" fmla="*/ 108 h 208"/>
                    <a:gd name="T2" fmla="*/ 44 w 125"/>
                    <a:gd name="T3" fmla="*/ 108 h 208"/>
                    <a:gd name="T4" fmla="*/ 43 w 125"/>
                    <a:gd name="T5" fmla="*/ 107 h 208"/>
                    <a:gd name="T6" fmla="*/ 43 w 125"/>
                    <a:gd name="T7" fmla="*/ 107 h 208"/>
                    <a:gd name="T8" fmla="*/ 43 w 125"/>
                    <a:gd name="T9" fmla="*/ 107 h 208"/>
                    <a:gd name="T10" fmla="*/ 43 w 125"/>
                    <a:gd name="T11" fmla="*/ 107 h 208"/>
                    <a:gd name="T12" fmla="*/ 44 w 125"/>
                    <a:gd name="T13" fmla="*/ 108 h 208"/>
                    <a:gd name="T14" fmla="*/ 9 w 125"/>
                    <a:gd name="T15" fmla="*/ 2 h 208"/>
                    <a:gd name="T16" fmla="*/ 9 w 125"/>
                    <a:gd name="T17" fmla="*/ 2 h 208"/>
                    <a:gd name="T18" fmla="*/ 2 w 125"/>
                    <a:gd name="T19" fmla="*/ 13 h 208"/>
                    <a:gd name="T20" fmla="*/ 2 w 125"/>
                    <a:gd name="T21" fmla="*/ 13 h 208"/>
                    <a:gd name="T22" fmla="*/ 4 w 125"/>
                    <a:gd name="T23" fmla="*/ 28 h 208"/>
                    <a:gd name="T24" fmla="*/ 4 w 125"/>
                    <a:gd name="T25" fmla="*/ 28 h 208"/>
                    <a:gd name="T26" fmla="*/ 43 w 125"/>
                    <a:gd name="T27" fmla="*/ 107 h 208"/>
                    <a:gd name="T28" fmla="*/ 43 w 125"/>
                    <a:gd name="T29" fmla="*/ 107 h 208"/>
                    <a:gd name="T30" fmla="*/ 43 w 125"/>
                    <a:gd name="T31" fmla="*/ 105 h 208"/>
                    <a:gd name="T32" fmla="*/ 43 w 125"/>
                    <a:gd name="T33" fmla="*/ 105 h 208"/>
                    <a:gd name="T34" fmla="*/ 43 w 125"/>
                    <a:gd name="T35" fmla="*/ 107 h 208"/>
                    <a:gd name="T36" fmla="*/ 43 w 125"/>
                    <a:gd name="T37" fmla="*/ 107 h 208"/>
                    <a:gd name="T38" fmla="*/ 44 w 125"/>
                    <a:gd name="T39" fmla="*/ 110 h 208"/>
                    <a:gd name="T40" fmla="*/ 44 w 125"/>
                    <a:gd name="T41" fmla="*/ 110 h 208"/>
                    <a:gd name="T42" fmla="*/ 44 w 125"/>
                    <a:gd name="T43" fmla="*/ 108 h 208"/>
                    <a:gd name="T44" fmla="*/ 44 w 125"/>
                    <a:gd name="T45" fmla="*/ 108 h 208"/>
                    <a:gd name="T46" fmla="*/ 62 w 125"/>
                    <a:gd name="T47" fmla="*/ 149 h 208"/>
                    <a:gd name="T48" fmla="*/ 62 w 125"/>
                    <a:gd name="T49" fmla="*/ 149 h 208"/>
                    <a:gd name="T50" fmla="*/ 74 w 125"/>
                    <a:gd name="T51" fmla="*/ 175 h 208"/>
                    <a:gd name="T52" fmla="*/ 74 w 125"/>
                    <a:gd name="T53" fmla="*/ 175 h 208"/>
                    <a:gd name="T54" fmla="*/ 86 w 125"/>
                    <a:gd name="T55" fmla="*/ 196 h 208"/>
                    <a:gd name="T56" fmla="*/ 86 w 125"/>
                    <a:gd name="T57" fmla="*/ 196 h 208"/>
                    <a:gd name="T58" fmla="*/ 112 w 125"/>
                    <a:gd name="T59" fmla="*/ 202 h 208"/>
                    <a:gd name="T60" fmla="*/ 112 w 125"/>
                    <a:gd name="T61" fmla="*/ 202 h 208"/>
                    <a:gd name="T62" fmla="*/ 117 w 125"/>
                    <a:gd name="T63" fmla="*/ 176 h 208"/>
                    <a:gd name="T64" fmla="*/ 117 w 125"/>
                    <a:gd name="T65" fmla="*/ 176 h 208"/>
                    <a:gd name="T66" fmla="*/ 101 w 125"/>
                    <a:gd name="T67" fmla="*/ 146 h 208"/>
                    <a:gd name="T68" fmla="*/ 101 w 125"/>
                    <a:gd name="T69" fmla="*/ 146 h 208"/>
                    <a:gd name="T70" fmla="*/ 70 w 125"/>
                    <a:gd name="T71" fmla="*/ 78 h 208"/>
                    <a:gd name="T72" fmla="*/ 70 w 125"/>
                    <a:gd name="T73" fmla="*/ 78 h 208"/>
                    <a:gd name="T74" fmla="*/ 35 w 125"/>
                    <a:gd name="T75" fmla="*/ 8 h 208"/>
                    <a:gd name="T76" fmla="*/ 35 w 125"/>
                    <a:gd name="T77" fmla="*/ 8 h 208"/>
                    <a:gd name="T78" fmla="*/ 24 w 125"/>
                    <a:gd name="T79" fmla="*/ 0 h 208"/>
                    <a:gd name="T80" fmla="*/ 24 w 125"/>
                    <a:gd name="T81" fmla="*/ 0 h 208"/>
                    <a:gd name="T82" fmla="*/ 19 w 125"/>
                    <a:gd name="T83" fmla="*/ 0 h 208"/>
                    <a:gd name="T84" fmla="*/ 19 w 125"/>
                    <a:gd name="T85" fmla="*/ 0 h 208"/>
                    <a:gd name="T86" fmla="*/ 9 w 125"/>
                    <a:gd name="T87" fmla="*/ 2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25" h="208">
                      <a:moveTo>
                        <a:pt x="44" y="108"/>
                      </a:moveTo>
                      <a:lnTo>
                        <a:pt x="44" y="108"/>
                      </a:lnTo>
                      <a:cubicBezTo>
                        <a:pt x="44" y="108"/>
                        <a:pt x="43" y="108"/>
                        <a:pt x="43" y="107"/>
                      </a:cubicBezTo>
                      <a:lnTo>
                        <a:pt x="43" y="107"/>
                      </a:lnTo>
                      <a:lnTo>
                        <a:pt x="43" y="107"/>
                      </a:lnTo>
                      <a:lnTo>
                        <a:pt x="43" y="107"/>
                      </a:lnTo>
                      <a:cubicBezTo>
                        <a:pt x="43" y="107"/>
                        <a:pt x="43" y="107"/>
                        <a:pt x="44" y="108"/>
                      </a:cubicBezTo>
                      <a:close/>
                      <a:moveTo>
                        <a:pt x="9" y="2"/>
                      </a:moveTo>
                      <a:lnTo>
                        <a:pt x="9" y="2"/>
                      </a:lnTo>
                      <a:cubicBezTo>
                        <a:pt x="6" y="5"/>
                        <a:pt x="3" y="9"/>
                        <a:pt x="2" y="13"/>
                      </a:cubicBezTo>
                      <a:lnTo>
                        <a:pt x="2" y="13"/>
                      </a:lnTo>
                      <a:cubicBezTo>
                        <a:pt x="0" y="19"/>
                        <a:pt x="2" y="23"/>
                        <a:pt x="4" y="28"/>
                      </a:cubicBezTo>
                      <a:lnTo>
                        <a:pt x="4" y="28"/>
                      </a:lnTo>
                      <a:cubicBezTo>
                        <a:pt x="17" y="54"/>
                        <a:pt x="30" y="81"/>
                        <a:pt x="43" y="107"/>
                      </a:cubicBezTo>
                      <a:lnTo>
                        <a:pt x="43" y="107"/>
                      </a:lnTo>
                      <a:cubicBezTo>
                        <a:pt x="43" y="106"/>
                        <a:pt x="43" y="106"/>
                        <a:pt x="43" y="105"/>
                      </a:cubicBezTo>
                      <a:lnTo>
                        <a:pt x="43" y="105"/>
                      </a:lnTo>
                      <a:cubicBezTo>
                        <a:pt x="43" y="106"/>
                        <a:pt x="43" y="107"/>
                        <a:pt x="43" y="107"/>
                      </a:cubicBezTo>
                      <a:lnTo>
                        <a:pt x="43" y="107"/>
                      </a:lnTo>
                      <a:cubicBezTo>
                        <a:pt x="44" y="108"/>
                        <a:pt x="44" y="109"/>
                        <a:pt x="44" y="110"/>
                      </a:cubicBezTo>
                      <a:lnTo>
                        <a:pt x="44" y="110"/>
                      </a:lnTo>
                      <a:cubicBezTo>
                        <a:pt x="44" y="109"/>
                        <a:pt x="44" y="109"/>
                        <a:pt x="44" y="108"/>
                      </a:cubicBezTo>
                      <a:lnTo>
                        <a:pt x="44" y="108"/>
                      </a:lnTo>
                      <a:cubicBezTo>
                        <a:pt x="49" y="122"/>
                        <a:pt x="55" y="135"/>
                        <a:pt x="62" y="149"/>
                      </a:cubicBezTo>
                      <a:lnTo>
                        <a:pt x="62" y="149"/>
                      </a:lnTo>
                      <a:cubicBezTo>
                        <a:pt x="66" y="157"/>
                        <a:pt x="70" y="166"/>
                        <a:pt x="74" y="175"/>
                      </a:cubicBezTo>
                      <a:lnTo>
                        <a:pt x="74" y="175"/>
                      </a:lnTo>
                      <a:cubicBezTo>
                        <a:pt x="78" y="182"/>
                        <a:pt x="81" y="190"/>
                        <a:pt x="86" y="196"/>
                      </a:cubicBezTo>
                      <a:lnTo>
                        <a:pt x="86" y="196"/>
                      </a:lnTo>
                      <a:cubicBezTo>
                        <a:pt x="92" y="204"/>
                        <a:pt x="103" y="207"/>
                        <a:pt x="112" y="202"/>
                      </a:cubicBezTo>
                      <a:lnTo>
                        <a:pt x="112" y="202"/>
                      </a:lnTo>
                      <a:cubicBezTo>
                        <a:pt x="120" y="197"/>
                        <a:pt x="124" y="184"/>
                        <a:pt x="117" y="176"/>
                      </a:cubicBezTo>
                      <a:lnTo>
                        <a:pt x="117" y="176"/>
                      </a:lnTo>
                      <a:cubicBezTo>
                        <a:pt x="110" y="167"/>
                        <a:pt x="106" y="157"/>
                        <a:pt x="101" y="146"/>
                      </a:cubicBezTo>
                      <a:lnTo>
                        <a:pt x="101" y="146"/>
                      </a:lnTo>
                      <a:cubicBezTo>
                        <a:pt x="91" y="123"/>
                        <a:pt x="81" y="101"/>
                        <a:pt x="70" y="78"/>
                      </a:cubicBezTo>
                      <a:lnTo>
                        <a:pt x="70" y="78"/>
                      </a:lnTo>
                      <a:cubicBezTo>
                        <a:pt x="58" y="55"/>
                        <a:pt x="47" y="31"/>
                        <a:pt x="35" y="8"/>
                      </a:cubicBezTo>
                      <a:lnTo>
                        <a:pt x="35" y="8"/>
                      </a:lnTo>
                      <a:cubicBezTo>
                        <a:pt x="34" y="4"/>
                        <a:pt x="28" y="1"/>
                        <a:pt x="24" y="0"/>
                      </a:cubicBezTo>
                      <a:lnTo>
                        <a:pt x="24" y="0"/>
                      </a:lnTo>
                      <a:cubicBezTo>
                        <a:pt x="23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3" y="0"/>
                        <a:pt x="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82">
                  <a:extLst>
                    <a:ext uri="{FF2B5EF4-FFF2-40B4-BE49-F238E27FC236}">
                      <a16:creationId xmlns:a16="http://schemas.microsoft.com/office/drawing/2014/main" id="{95B2F543-35B5-BE49-9ECD-09132C0CC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350" y="4994275"/>
                  <a:ext cx="158750" cy="95250"/>
                </a:xfrm>
                <a:custGeom>
                  <a:avLst/>
                  <a:gdLst>
                    <a:gd name="T0" fmla="*/ 10 w 440"/>
                    <a:gd name="T1" fmla="*/ 2 h 265"/>
                    <a:gd name="T2" fmla="*/ 10 w 440"/>
                    <a:gd name="T3" fmla="*/ 2 h 265"/>
                    <a:gd name="T4" fmla="*/ 2 w 440"/>
                    <a:gd name="T5" fmla="*/ 14 h 265"/>
                    <a:gd name="T6" fmla="*/ 2 w 440"/>
                    <a:gd name="T7" fmla="*/ 14 h 265"/>
                    <a:gd name="T8" fmla="*/ 16 w 440"/>
                    <a:gd name="T9" fmla="*/ 36 h 265"/>
                    <a:gd name="T10" fmla="*/ 16 w 440"/>
                    <a:gd name="T11" fmla="*/ 36 h 265"/>
                    <a:gd name="T12" fmla="*/ 51 w 440"/>
                    <a:gd name="T13" fmla="*/ 42 h 265"/>
                    <a:gd name="T14" fmla="*/ 51 w 440"/>
                    <a:gd name="T15" fmla="*/ 42 h 265"/>
                    <a:gd name="T16" fmla="*/ 70 w 440"/>
                    <a:gd name="T17" fmla="*/ 46 h 265"/>
                    <a:gd name="T18" fmla="*/ 70 w 440"/>
                    <a:gd name="T19" fmla="*/ 46 h 265"/>
                    <a:gd name="T20" fmla="*/ 78 w 440"/>
                    <a:gd name="T21" fmla="*/ 48 h 265"/>
                    <a:gd name="T22" fmla="*/ 78 w 440"/>
                    <a:gd name="T23" fmla="*/ 48 h 265"/>
                    <a:gd name="T24" fmla="*/ 159 w 440"/>
                    <a:gd name="T25" fmla="*/ 73 h 265"/>
                    <a:gd name="T26" fmla="*/ 159 w 440"/>
                    <a:gd name="T27" fmla="*/ 73 h 265"/>
                    <a:gd name="T28" fmla="*/ 189 w 440"/>
                    <a:gd name="T29" fmla="*/ 87 h 265"/>
                    <a:gd name="T30" fmla="*/ 189 w 440"/>
                    <a:gd name="T31" fmla="*/ 87 h 265"/>
                    <a:gd name="T32" fmla="*/ 205 w 440"/>
                    <a:gd name="T33" fmla="*/ 96 h 265"/>
                    <a:gd name="T34" fmla="*/ 205 w 440"/>
                    <a:gd name="T35" fmla="*/ 96 h 265"/>
                    <a:gd name="T36" fmla="*/ 227 w 440"/>
                    <a:gd name="T37" fmla="*/ 112 h 265"/>
                    <a:gd name="T38" fmla="*/ 227 w 440"/>
                    <a:gd name="T39" fmla="*/ 112 h 265"/>
                    <a:gd name="T40" fmla="*/ 320 w 440"/>
                    <a:gd name="T41" fmla="*/ 183 h 265"/>
                    <a:gd name="T42" fmla="*/ 320 w 440"/>
                    <a:gd name="T43" fmla="*/ 183 h 265"/>
                    <a:gd name="T44" fmla="*/ 363 w 440"/>
                    <a:gd name="T45" fmla="*/ 220 h 265"/>
                    <a:gd name="T46" fmla="*/ 363 w 440"/>
                    <a:gd name="T47" fmla="*/ 220 h 265"/>
                    <a:gd name="T48" fmla="*/ 407 w 440"/>
                    <a:gd name="T49" fmla="*/ 257 h 265"/>
                    <a:gd name="T50" fmla="*/ 407 w 440"/>
                    <a:gd name="T51" fmla="*/ 257 h 265"/>
                    <a:gd name="T52" fmla="*/ 433 w 440"/>
                    <a:gd name="T53" fmla="*/ 256 h 265"/>
                    <a:gd name="T54" fmla="*/ 433 w 440"/>
                    <a:gd name="T55" fmla="*/ 256 h 265"/>
                    <a:gd name="T56" fmla="*/ 432 w 440"/>
                    <a:gd name="T57" fmla="*/ 230 h 265"/>
                    <a:gd name="T58" fmla="*/ 432 w 440"/>
                    <a:gd name="T59" fmla="*/ 230 h 265"/>
                    <a:gd name="T60" fmla="*/ 396 w 440"/>
                    <a:gd name="T61" fmla="*/ 200 h 265"/>
                    <a:gd name="T62" fmla="*/ 396 w 440"/>
                    <a:gd name="T63" fmla="*/ 200 h 265"/>
                    <a:gd name="T64" fmla="*/ 358 w 440"/>
                    <a:gd name="T65" fmla="*/ 166 h 265"/>
                    <a:gd name="T66" fmla="*/ 358 w 440"/>
                    <a:gd name="T67" fmla="*/ 166 h 265"/>
                    <a:gd name="T68" fmla="*/ 281 w 440"/>
                    <a:gd name="T69" fmla="*/ 105 h 265"/>
                    <a:gd name="T70" fmla="*/ 281 w 440"/>
                    <a:gd name="T71" fmla="*/ 105 h 265"/>
                    <a:gd name="T72" fmla="*/ 234 w 440"/>
                    <a:gd name="T73" fmla="*/ 72 h 265"/>
                    <a:gd name="T74" fmla="*/ 234 w 440"/>
                    <a:gd name="T75" fmla="*/ 72 h 265"/>
                    <a:gd name="T76" fmla="*/ 212 w 440"/>
                    <a:gd name="T77" fmla="*/ 57 h 265"/>
                    <a:gd name="T78" fmla="*/ 212 w 440"/>
                    <a:gd name="T79" fmla="*/ 57 h 265"/>
                    <a:gd name="T80" fmla="*/ 151 w 440"/>
                    <a:gd name="T81" fmla="*/ 31 h 265"/>
                    <a:gd name="T82" fmla="*/ 151 w 440"/>
                    <a:gd name="T83" fmla="*/ 31 h 265"/>
                    <a:gd name="T84" fmla="*/ 86 w 440"/>
                    <a:gd name="T85" fmla="*/ 12 h 265"/>
                    <a:gd name="T86" fmla="*/ 86 w 440"/>
                    <a:gd name="T87" fmla="*/ 12 h 265"/>
                    <a:gd name="T88" fmla="*/ 79 w 440"/>
                    <a:gd name="T89" fmla="*/ 11 h 265"/>
                    <a:gd name="T90" fmla="*/ 79 w 440"/>
                    <a:gd name="T91" fmla="*/ 11 h 265"/>
                    <a:gd name="T92" fmla="*/ 59 w 440"/>
                    <a:gd name="T93" fmla="*/ 6 h 265"/>
                    <a:gd name="T94" fmla="*/ 59 w 440"/>
                    <a:gd name="T95" fmla="*/ 6 h 265"/>
                    <a:gd name="T96" fmla="*/ 24 w 440"/>
                    <a:gd name="T97" fmla="*/ 0 h 265"/>
                    <a:gd name="T98" fmla="*/ 24 w 440"/>
                    <a:gd name="T99" fmla="*/ 0 h 265"/>
                    <a:gd name="T100" fmla="*/ 20 w 440"/>
                    <a:gd name="T101" fmla="*/ 0 h 265"/>
                    <a:gd name="T102" fmla="*/ 20 w 440"/>
                    <a:gd name="T103" fmla="*/ 0 h 265"/>
                    <a:gd name="T104" fmla="*/ 10 w 440"/>
                    <a:gd name="T105" fmla="*/ 2 h 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40" h="265">
                      <a:moveTo>
                        <a:pt x="10" y="2"/>
                      </a:moveTo>
                      <a:lnTo>
                        <a:pt x="10" y="2"/>
                      </a:lnTo>
                      <a:cubicBezTo>
                        <a:pt x="6" y="5"/>
                        <a:pt x="3" y="10"/>
                        <a:pt x="2" y="14"/>
                      </a:cubicBezTo>
                      <a:lnTo>
                        <a:pt x="2" y="14"/>
                      </a:lnTo>
                      <a:cubicBezTo>
                        <a:pt x="0" y="23"/>
                        <a:pt x="5" y="35"/>
                        <a:pt x="16" y="36"/>
                      </a:cubicBezTo>
                      <a:lnTo>
                        <a:pt x="16" y="36"/>
                      </a:lnTo>
                      <a:cubicBezTo>
                        <a:pt x="28" y="38"/>
                        <a:pt x="39" y="40"/>
                        <a:pt x="51" y="42"/>
                      </a:cubicBezTo>
                      <a:lnTo>
                        <a:pt x="51" y="42"/>
                      </a:lnTo>
                      <a:cubicBezTo>
                        <a:pt x="57" y="44"/>
                        <a:pt x="64" y="45"/>
                        <a:pt x="70" y="46"/>
                      </a:cubicBezTo>
                      <a:lnTo>
                        <a:pt x="70" y="46"/>
                      </a:lnTo>
                      <a:cubicBezTo>
                        <a:pt x="72" y="47"/>
                        <a:pt x="75" y="48"/>
                        <a:pt x="78" y="48"/>
                      </a:cubicBezTo>
                      <a:lnTo>
                        <a:pt x="78" y="48"/>
                      </a:lnTo>
                      <a:cubicBezTo>
                        <a:pt x="105" y="56"/>
                        <a:pt x="132" y="63"/>
                        <a:pt x="159" y="73"/>
                      </a:cubicBezTo>
                      <a:lnTo>
                        <a:pt x="159" y="73"/>
                      </a:lnTo>
                      <a:cubicBezTo>
                        <a:pt x="169" y="77"/>
                        <a:pt x="179" y="82"/>
                        <a:pt x="189" y="87"/>
                      </a:cubicBezTo>
                      <a:lnTo>
                        <a:pt x="189" y="87"/>
                      </a:lnTo>
                      <a:cubicBezTo>
                        <a:pt x="194" y="90"/>
                        <a:pt x="199" y="93"/>
                        <a:pt x="205" y="96"/>
                      </a:cubicBezTo>
                      <a:lnTo>
                        <a:pt x="205" y="96"/>
                      </a:lnTo>
                      <a:cubicBezTo>
                        <a:pt x="212" y="102"/>
                        <a:pt x="220" y="106"/>
                        <a:pt x="227" y="112"/>
                      </a:cubicBezTo>
                      <a:lnTo>
                        <a:pt x="227" y="112"/>
                      </a:lnTo>
                      <a:cubicBezTo>
                        <a:pt x="259" y="135"/>
                        <a:pt x="290" y="158"/>
                        <a:pt x="320" y="183"/>
                      </a:cubicBezTo>
                      <a:lnTo>
                        <a:pt x="320" y="183"/>
                      </a:lnTo>
                      <a:cubicBezTo>
                        <a:pt x="335" y="195"/>
                        <a:pt x="349" y="208"/>
                        <a:pt x="363" y="220"/>
                      </a:cubicBezTo>
                      <a:lnTo>
                        <a:pt x="363" y="220"/>
                      </a:lnTo>
                      <a:cubicBezTo>
                        <a:pt x="378" y="233"/>
                        <a:pt x="392" y="246"/>
                        <a:pt x="407" y="257"/>
                      </a:cubicBezTo>
                      <a:lnTo>
                        <a:pt x="407" y="257"/>
                      </a:lnTo>
                      <a:cubicBezTo>
                        <a:pt x="414" y="264"/>
                        <a:pt x="426" y="264"/>
                        <a:pt x="433" y="256"/>
                      </a:cubicBezTo>
                      <a:lnTo>
                        <a:pt x="433" y="256"/>
                      </a:lnTo>
                      <a:cubicBezTo>
                        <a:pt x="439" y="249"/>
                        <a:pt x="439" y="237"/>
                        <a:pt x="432" y="230"/>
                      </a:cubicBezTo>
                      <a:lnTo>
                        <a:pt x="432" y="230"/>
                      </a:lnTo>
                      <a:cubicBezTo>
                        <a:pt x="419" y="220"/>
                        <a:pt x="408" y="210"/>
                        <a:pt x="396" y="200"/>
                      </a:cubicBezTo>
                      <a:lnTo>
                        <a:pt x="396" y="200"/>
                      </a:lnTo>
                      <a:cubicBezTo>
                        <a:pt x="383" y="189"/>
                        <a:pt x="370" y="177"/>
                        <a:pt x="358" y="166"/>
                      </a:cubicBezTo>
                      <a:lnTo>
                        <a:pt x="358" y="166"/>
                      </a:lnTo>
                      <a:cubicBezTo>
                        <a:pt x="333" y="145"/>
                        <a:pt x="307" y="125"/>
                        <a:pt x="281" y="105"/>
                      </a:cubicBezTo>
                      <a:lnTo>
                        <a:pt x="281" y="105"/>
                      </a:lnTo>
                      <a:cubicBezTo>
                        <a:pt x="266" y="94"/>
                        <a:pt x="250" y="82"/>
                        <a:pt x="234" y="72"/>
                      </a:cubicBezTo>
                      <a:lnTo>
                        <a:pt x="234" y="72"/>
                      </a:lnTo>
                      <a:cubicBezTo>
                        <a:pt x="227" y="66"/>
                        <a:pt x="219" y="62"/>
                        <a:pt x="212" y="57"/>
                      </a:cubicBezTo>
                      <a:lnTo>
                        <a:pt x="212" y="57"/>
                      </a:lnTo>
                      <a:cubicBezTo>
                        <a:pt x="193" y="45"/>
                        <a:pt x="172" y="38"/>
                        <a:pt x="151" y="31"/>
                      </a:cubicBezTo>
                      <a:lnTo>
                        <a:pt x="151" y="31"/>
                      </a:lnTo>
                      <a:cubicBezTo>
                        <a:pt x="129" y="24"/>
                        <a:pt x="108" y="18"/>
                        <a:pt x="86" y="12"/>
                      </a:cubicBezTo>
                      <a:lnTo>
                        <a:pt x="86" y="12"/>
                      </a:lnTo>
                      <a:cubicBezTo>
                        <a:pt x="84" y="11"/>
                        <a:pt x="81" y="11"/>
                        <a:pt x="79" y="11"/>
                      </a:cubicBezTo>
                      <a:lnTo>
                        <a:pt x="79" y="11"/>
                      </a:lnTo>
                      <a:cubicBezTo>
                        <a:pt x="72" y="9"/>
                        <a:pt x="65" y="8"/>
                        <a:pt x="59" y="6"/>
                      </a:cubicBezTo>
                      <a:lnTo>
                        <a:pt x="59" y="6"/>
                      </a:lnTo>
                      <a:cubicBezTo>
                        <a:pt x="47" y="4"/>
                        <a:pt x="36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20" y="0"/>
                      </a:cubicBezTo>
                      <a:lnTo>
                        <a:pt x="20" y="0"/>
                      </a:lnTo>
                      <a:cubicBezTo>
                        <a:pt x="17" y="0"/>
                        <a:pt x="13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83">
                  <a:extLst>
                    <a:ext uri="{FF2B5EF4-FFF2-40B4-BE49-F238E27FC236}">
                      <a16:creationId xmlns:a16="http://schemas.microsoft.com/office/drawing/2014/main" id="{7151859D-7CC5-2746-9A53-40752A9A6B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3150" y="5118100"/>
                  <a:ext cx="69850" cy="77788"/>
                </a:xfrm>
                <a:custGeom>
                  <a:avLst/>
                  <a:gdLst>
                    <a:gd name="T0" fmla="*/ 7 w 195"/>
                    <a:gd name="T1" fmla="*/ 5 h 216"/>
                    <a:gd name="T2" fmla="*/ 7 w 195"/>
                    <a:gd name="T3" fmla="*/ 5 h 216"/>
                    <a:gd name="T4" fmla="*/ 8 w 195"/>
                    <a:gd name="T5" fmla="*/ 32 h 216"/>
                    <a:gd name="T6" fmla="*/ 8 w 195"/>
                    <a:gd name="T7" fmla="*/ 32 h 216"/>
                    <a:gd name="T8" fmla="*/ 83 w 195"/>
                    <a:gd name="T9" fmla="*/ 105 h 216"/>
                    <a:gd name="T10" fmla="*/ 83 w 195"/>
                    <a:gd name="T11" fmla="*/ 105 h 216"/>
                    <a:gd name="T12" fmla="*/ 122 w 195"/>
                    <a:gd name="T13" fmla="*/ 158 h 216"/>
                    <a:gd name="T14" fmla="*/ 122 w 195"/>
                    <a:gd name="T15" fmla="*/ 158 h 216"/>
                    <a:gd name="T16" fmla="*/ 160 w 195"/>
                    <a:gd name="T17" fmla="*/ 208 h 216"/>
                    <a:gd name="T18" fmla="*/ 160 w 195"/>
                    <a:gd name="T19" fmla="*/ 208 h 216"/>
                    <a:gd name="T20" fmla="*/ 187 w 195"/>
                    <a:gd name="T21" fmla="*/ 207 h 216"/>
                    <a:gd name="T22" fmla="*/ 187 w 195"/>
                    <a:gd name="T23" fmla="*/ 207 h 216"/>
                    <a:gd name="T24" fmla="*/ 186 w 195"/>
                    <a:gd name="T25" fmla="*/ 181 h 216"/>
                    <a:gd name="T26" fmla="*/ 186 w 195"/>
                    <a:gd name="T27" fmla="*/ 181 h 216"/>
                    <a:gd name="T28" fmla="*/ 179 w 195"/>
                    <a:gd name="T29" fmla="*/ 174 h 216"/>
                    <a:gd name="T30" fmla="*/ 179 w 195"/>
                    <a:gd name="T31" fmla="*/ 174 h 216"/>
                    <a:gd name="T32" fmla="*/ 151 w 195"/>
                    <a:gd name="T33" fmla="*/ 134 h 216"/>
                    <a:gd name="T34" fmla="*/ 151 w 195"/>
                    <a:gd name="T35" fmla="*/ 134 h 216"/>
                    <a:gd name="T36" fmla="*/ 120 w 195"/>
                    <a:gd name="T37" fmla="*/ 93 h 216"/>
                    <a:gd name="T38" fmla="*/ 120 w 195"/>
                    <a:gd name="T39" fmla="*/ 93 h 216"/>
                    <a:gd name="T40" fmla="*/ 34 w 195"/>
                    <a:gd name="T41" fmla="*/ 4 h 216"/>
                    <a:gd name="T42" fmla="*/ 34 w 195"/>
                    <a:gd name="T43" fmla="*/ 4 h 216"/>
                    <a:gd name="T44" fmla="*/ 21 w 195"/>
                    <a:gd name="T45" fmla="*/ 0 h 216"/>
                    <a:gd name="T46" fmla="*/ 21 w 195"/>
                    <a:gd name="T47" fmla="*/ 0 h 216"/>
                    <a:gd name="T48" fmla="*/ 7 w 195"/>
                    <a:gd name="T49" fmla="*/ 5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5" h="216">
                      <a:moveTo>
                        <a:pt x="7" y="5"/>
                      </a:moveTo>
                      <a:lnTo>
                        <a:pt x="7" y="5"/>
                      </a:lnTo>
                      <a:cubicBezTo>
                        <a:pt x="0" y="13"/>
                        <a:pt x="1" y="25"/>
                        <a:pt x="8" y="32"/>
                      </a:cubicBezTo>
                      <a:lnTo>
                        <a:pt x="8" y="32"/>
                      </a:lnTo>
                      <a:cubicBezTo>
                        <a:pt x="35" y="55"/>
                        <a:pt x="60" y="79"/>
                        <a:pt x="83" y="105"/>
                      </a:cubicBezTo>
                      <a:lnTo>
                        <a:pt x="83" y="105"/>
                      </a:lnTo>
                      <a:cubicBezTo>
                        <a:pt x="97" y="123"/>
                        <a:pt x="109" y="139"/>
                        <a:pt x="122" y="158"/>
                      </a:cubicBezTo>
                      <a:lnTo>
                        <a:pt x="122" y="158"/>
                      </a:lnTo>
                      <a:cubicBezTo>
                        <a:pt x="134" y="175"/>
                        <a:pt x="146" y="193"/>
                        <a:pt x="160" y="208"/>
                      </a:cubicBezTo>
                      <a:lnTo>
                        <a:pt x="160" y="208"/>
                      </a:lnTo>
                      <a:cubicBezTo>
                        <a:pt x="167" y="215"/>
                        <a:pt x="180" y="214"/>
                        <a:pt x="187" y="207"/>
                      </a:cubicBezTo>
                      <a:lnTo>
                        <a:pt x="187" y="207"/>
                      </a:lnTo>
                      <a:cubicBezTo>
                        <a:pt x="194" y="199"/>
                        <a:pt x="193" y="188"/>
                        <a:pt x="186" y="181"/>
                      </a:cubicBezTo>
                      <a:lnTo>
                        <a:pt x="186" y="181"/>
                      </a:lnTo>
                      <a:cubicBezTo>
                        <a:pt x="183" y="178"/>
                        <a:pt x="181" y="176"/>
                        <a:pt x="179" y="174"/>
                      </a:cubicBezTo>
                      <a:lnTo>
                        <a:pt x="179" y="174"/>
                      </a:lnTo>
                      <a:cubicBezTo>
                        <a:pt x="169" y="161"/>
                        <a:pt x="160" y="148"/>
                        <a:pt x="151" y="134"/>
                      </a:cubicBezTo>
                      <a:lnTo>
                        <a:pt x="151" y="134"/>
                      </a:lnTo>
                      <a:cubicBezTo>
                        <a:pt x="141" y="120"/>
                        <a:pt x="131" y="106"/>
                        <a:pt x="120" y="93"/>
                      </a:cubicBezTo>
                      <a:lnTo>
                        <a:pt x="120" y="93"/>
                      </a:lnTo>
                      <a:cubicBezTo>
                        <a:pt x="94" y="60"/>
                        <a:pt x="64" y="32"/>
                        <a:pt x="34" y="4"/>
                      </a:cubicBezTo>
                      <a:lnTo>
                        <a:pt x="34" y="4"/>
                      </a:lnTo>
                      <a:cubicBezTo>
                        <a:pt x="29" y="2"/>
                        <a:pt x="25" y="0"/>
                        <a:pt x="21" y="0"/>
                      </a:cubicBezTo>
                      <a:lnTo>
                        <a:pt x="21" y="0"/>
                      </a:lnTo>
                      <a:cubicBezTo>
                        <a:pt x="15" y="0"/>
                        <a:pt x="11" y="2"/>
                        <a:pt x="7" y="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84">
                  <a:extLst>
                    <a:ext uri="{FF2B5EF4-FFF2-40B4-BE49-F238E27FC236}">
                      <a16:creationId xmlns:a16="http://schemas.microsoft.com/office/drawing/2014/main" id="{AF7F9D47-7CEE-4A45-9C22-5EB6B52A0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4863" y="5419725"/>
                  <a:ext cx="176212" cy="66675"/>
                </a:xfrm>
                <a:custGeom>
                  <a:avLst/>
                  <a:gdLst>
                    <a:gd name="T0" fmla="*/ 452 w 491"/>
                    <a:gd name="T1" fmla="*/ 2 h 185"/>
                    <a:gd name="T2" fmla="*/ 452 w 491"/>
                    <a:gd name="T3" fmla="*/ 2 h 185"/>
                    <a:gd name="T4" fmla="*/ 409 w 491"/>
                    <a:gd name="T5" fmla="*/ 25 h 185"/>
                    <a:gd name="T6" fmla="*/ 409 w 491"/>
                    <a:gd name="T7" fmla="*/ 25 h 185"/>
                    <a:gd name="T8" fmla="*/ 337 w 491"/>
                    <a:gd name="T9" fmla="*/ 57 h 185"/>
                    <a:gd name="T10" fmla="*/ 337 w 491"/>
                    <a:gd name="T11" fmla="*/ 57 h 185"/>
                    <a:gd name="T12" fmla="*/ 285 w 491"/>
                    <a:gd name="T13" fmla="*/ 76 h 185"/>
                    <a:gd name="T14" fmla="*/ 285 w 491"/>
                    <a:gd name="T15" fmla="*/ 76 h 185"/>
                    <a:gd name="T16" fmla="*/ 236 w 491"/>
                    <a:gd name="T17" fmla="*/ 91 h 185"/>
                    <a:gd name="T18" fmla="*/ 236 w 491"/>
                    <a:gd name="T19" fmla="*/ 91 h 185"/>
                    <a:gd name="T20" fmla="*/ 170 w 491"/>
                    <a:gd name="T21" fmla="*/ 107 h 185"/>
                    <a:gd name="T22" fmla="*/ 170 w 491"/>
                    <a:gd name="T23" fmla="*/ 107 h 185"/>
                    <a:gd name="T24" fmla="*/ 28 w 491"/>
                    <a:gd name="T25" fmla="*/ 127 h 185"/>
                    <a:gd name="T26" fmla="*/ 28 w 491"/>
                    <a:gd name="T27" fmla="*/ 127 h 185"/>
                    <a:gd name="T28" fmla="*/ 1 w 491"/>
                    <a:gd name="T29" fmla="*/ 157 h 185"/>
                    <a:gd name="T30" fmla="*/ 1 w 491"/>
                    <a:gd name="T31" fmla="*/ 157 h 185"/>
                    <a:gd name="T32" fmla="*/ 31 w 491"/>
                    <a:gd name="T33" fmla="*/ 183 h 185"/>
                    <a:gd name="T34" fmla="*/ 31 w 491"/>
                    <a:gd name="T35" fmla="*/ 183 h 185"/>
                    <a:gd name="T36" fmla="*/ 219 w 491"/>
                    <a:gd name="T37" fmla="*/ 153 h 185"/>
                    <a:gd name="T38" fmla="*/ 219 w 491"/>
                    <a:gd name="T39" fmla="*/ 153 h 185"/>
                    <a:gd name="T40" fmla="*/ 337 w 491"/>
                    <a:gd name="T41" fmla="*/ 116 h 185"/>
                    <a:gd name="T42" fmla="*/ 337 w 491"/>
                    <a:gd name="T43" fmla="*/ 116 h 185"/>
                    <a:gd name="T44" fmla="*/ 363 w 491"/>
                    <a:gd name="T45" fmla="*/ 106 h 185"/>
                    <a:gd name="T46" fmla="*/ 363 w 491"/>
                    <a:gd name="T47" fmla="*/ 106 h 185"/>
                    <a:gd name="T48" fmla="*/ 401 w 491"/>
                    <a:gd name="T49" fmla="*/ 90 h 185"/>
                    <a:gd name="T50" fmla="*/ 401 w 491"/>
                    <a:gd name="T51" fmla="*/ 90 h 185"/>
                    <a:gd name="T52" fmla="*/ 469 w 491"/>
                    <a:gd name="T53" fmla="*/ 56 h 185"/>
                    <a:gd name="T54" fmla="*/ 469 w 491"/>
                    <a:gd name="T55" fmla="*/ 56 h 185"/>
                    <a:gd name="T56" fmla="*/ 470 w 491"/>
                    <a:gd name="T57" fmla="*/ 55 h 185"/>
                    <a:gd name="T58" fmla="*/ 470 w 491"/>
                    <a:gd name="T59" fmla="*/ 55 h 185"/>
                    <a:gd name="T60" fmla="*/ 486 w 491"/>
                    <a:gd name="T61" fmla="*/ 41 h 185"/>
                    <a:gd name="T62" fmla="*/ 486 w 491"/>
                    <a:gd name="T63" fmla="*/ 41 h 185"/>
                    <a:gd name="T64" fmla="*/ 488 w 491"/>
                    <a:gd name="T65" fmla="*/ 19 h 185"/>
                    <a:gd name="T66" fmla="*/ 488 w 491"/>
                    <a:gd name="T67" fmla="*/ 19 h 185"/>
                    <a:gd name="T68" fmla="*/ 461 w 491"/>
                    <a:gd name="T69" fmla="*/ 0 h 185"/>
                    <a:gd name="T70" fmla="*/ 461 w 491"/>
                    <a:gd name="T71" fmla="*/ 0 h 185"/>
                    <a:gd name="T72" fmla="*/ 452 w 491"/>
                    <a:gd name="T73" fmla="*/ 2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91" h="185">
                      <a:moveTo>
                        <a:pt x="452" y="2"/>
                      </a:moveTo>
                      <a:lnTo>
                        <a:pt x="452" y="2"/>
                      </a:lnTo>
                      <a:cubicBezTo>
                        <a:pt x="438" y="9"/>
                        <a:pt x="424" y="17"/>
                        <a:pt x="409" y="25"/>
                      </a:cubicBezTo>
                      <a:lnTo>
                        <a:pt x="409" y="25"/>
                      </a:lnTo>
                      <a:cubicBezTo>
                        <a:pt x="385" y="37"/>
                        <a:pt x="361" y="48"/>
                        <a:pt x="337" y="57"/>
                      </a:cubicBezTo>
                      <a:lnTo>
                        <a:pt x="337" y="57"/>
                      </a:lnTo>
                      <a:cubicBezTo>
                        <a:pt x="319" y="63"/>
                        <a:pt x="302" y="69"/>
                        <a:pt x="285" y="76"/>
                      </a:cubicBezTo>
                      <a:lnTo>
                        <a:pt x="285" y="76"/>
                      </a:lnTo>
                      <a:cubicBezTo>
                        <a:pt x="268" y="82"/>
                        <a:pt x="252" y="86"/>
                        <a:pt x="236" y="91"/>
                      </a:cubicBezTo>
                      <a:lnTo>
                        <a:pt x="236" y="91"/>
                      </a:lnTo>
                      <a:cubicBezTo>
                        <a:pt x="214" y="97"/>
                        <a:pt x="192" y="103"/>
                        <a:pt x="170" y="107"/>
                      </a:cubicBezTo>
                      <a:lnTo>
                        <a:pt x="170" y="107"/>
                      </a:lnTo>
                      <a:cubicBezTo>
                        <a:pt x="123" y="116"/>
                        <a:pt x="75" y="122"/>
                        <a:pt x="28" y="127"/>
                      </a:cubicBezTo>
                      <a:lnTo>
                        <a:pt x="28" y="127"/>
                      </a:lnTo>
                      <a:cubicBezTo>
                        <a:pt x="12" y="129"/>
                        <a:pt x="0" y="141"/>
                        <a:pt x="1" y="157"/>
                      </a:cubicBezTo>
                      <a:lnTo>
                        <a:pt x="1" y="157"/>
                      </a:lnTo>
                      <a:cubicBezTo>
                        <a:pt x="2" y="171"/>
                        <a:pt x="16" y="184"/>
                        <a:pt x="31" y="183"/>
                      </a:cubicBezTo>
                      <a:lnTo>
                        <a:pt x="31" y="183"/>
                      </a:lnTo>
                      <a:cubicBezTo>
                        <a:pt x="94" y="176"/>
                        <a:pt x="157" y="168"/>
                        <a:pt x="219" y="153"/>
                      </a:cubicBezTo>
                      <a:lnTo>
                        <a:pt x="219" y="153"/>
                      </a:lnTo>
                      <a:cubicBezTo>
                        <a:pt x="260" y="143"/>
                        <a:pt x="298" y="130"/>
                        <a:pt x="337" y="116"/>
                      </a:cubicBezTo>
                      <a:lnTo>
                        <a:pt x="337" y="116"/>
                      </a:lnTo>
                      <a:cubicBezTo>
                        <a:pt x="346" y="113"/>
                        <a:pt x="355" y="110"/>
                        <a:pt x="363" y="106"/>
                      </a:cubicBezTo>
                      <a:lnTo>
                        <a:pt x="363" y="106"/>
                      </a:lnTo>
                      <a:cubicBezTo>
                        <a:pt x="375" y="101"/>
                        <a:pt x="388" y="96"/>
                        <a:pt x="401" y="90"/>
                      </a:cubicBezTo>
                      <a:lnTo>
                        <a:pt x="401" y="90"/>
                      </a:lnTo>
                      <a:cubicBezTo>
                        <a:pt x="424" y="80"/>
                        <a:pt x="446" y="68"/>
                        <a:pt x="469" y="56"/>
                      </a:cubicBezTo>
                      <a:lnTo>
                        <a:pt x="469" y="56"/>
                      </a:lnTo>
                      <a:cubicBezTo>
                        <a:pt x="469" y="55"/>
                        <a:pt x="470" y="55"/>
                        <a:pt x="470" y="55"/>
                      </a:cubicBezTo>
                      <a:lnTo>
                        <a:pt x="470" y="55"/>
                      </a:lnTo>
                      <a:cubicBezTo>
                        <a:pt x="478" y="52"/>
                        <a:pt x="483" y="48"/>
                        <a:pt x="486" y="41"/>
                      </a:cubicBezTo>
                      <a:lnTo>
                        <a:pt x="486" y="41"/>
                      </a:lnTo>
                      <a:cubicBezTo>
                        <a:pt x="490" y="34"/>
                        <a:pt x="490" y="27"/>
                        <a:pt x="488" y="19"/>
                      </a:cubicBezTo>
                      <a:lnTo>
                        <a:pt x="488" y="19"/>
                      </a:lnTo>
                      <a:cubicBezTo>
                        <a:pt x="484" y="9"/>
                        <a:pt x="473" y="0"/>
                        <a:pt x="461" y="0"/>
                      </a:cubicBezTo>
                      <a:lnTo>
                        <a:pt x="461" y="0"/>
                      </a:lnTo>
                      <a:cubicBezTo>
                        <a:pt x="458" y="0"/>
                        <a:pt x="455" y="0"/>
                        <a:pt x="45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285">
                  <a:extLst>
                    <a:ext uri="{FF2B5EF4-FFF2-40B4-BE49-F238E27FC236}">
                      <a16:creationId xmlns:a16="http://schemas.microsoft.com/office/drawing/2014/main" id="{339E1441-60B6-6947-AD43-96451B13D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4713" y="5537200"/>
                  <a:ext cx="76200" cy="42863"/>
                </a:xfrm>
                <a:custGeom>
                  <a:avLst/>
                  <a:gdLst>
                    <a:gd name="T0" fmla="*/ 170 w 211"/>
                    <a:gd name="T1" fmla="*/ 2 h 121"/>
                    <a:gd name="T2" fmla="*/ 170 w 211"/>
                    <a:gd name="T3" fmla="*/ 2 h 121"/>
                    <a:gd name="T4" fmla="*/ 23 w 211"/>
                    <a:gd name="T5" fmla="*/ 61 h 121"/>
                    <a:gd name="T6" fmla="*/ 23 w 211"/>
                    <a:gd name="T7" fmla="*/ 61 h 121"/>
                    <a:gd name="T8" fmla="*/ 6 w 211"/>
                    <a:gd name="T9" fmla="*/ 96 h 121"/>
                    <a:gd name="T10" fmla="*/ 6 w 211"/>
                    <a:gd name="T11" fmla="*/ 96 h 121"/>
                    <a:gd name="T12" fmla="*/ 41 w 211"/>
                    <a:gd name="T13" fmla="*/ 114 h 121"/>
                    <a:gd name="T14" fmla="*/ 41 w 211"/>
                    <a:gd name="T15" fmla="*/ 114 h 121"/>
                    <a:gd name="T16" fmla="*/ 188 w 211"/>
                    <a:gd name="T17" fmla="*/ 55 h 121"/>
                    <a:gd name="T18" fmla="*/ 188 w 211"/>
                    <a:gd name="T19" fmla="*/ 55 h 121"/>
                    <a:gd name="T20" fmla="*/ 205 w 211"/>
                    <a:gd name="T21" fmla="*/ 19 h 121"/>
                    <a:gd name="T22" fmla="*/ 205 w 211"/>
                    <a:gd name="T23" fmla="*/ 19 h 121"/>
                    <a:gd name="T24" fmla="*/ 179 w 211"/>
                    <a:gd name="T25" fmla="*/ 0 h 121"/>
                    <a:gd name="T26" fmla="*/ 179 w 211"/>
                    <a:gd name="T27" fmla="*/ 0 h 121"/>
                    <a:gd name="T28" fmla="*/ 170 w 211"/>
                    <a:gd name="T29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1" h="121">
                      <a:moveTo>
                        <a:pt x="170" y="2"/>
                      </a:moveTo>
                      <a:lnTo>
                        <a:pt x="170" y="2"/>
                      </a:lnTo>
                      <a:cubicBezTo>
                        <a:pt x="121" y="22"/>
                        <a:pt x="72" y="41"/>
                        <a:pt x="23" y="61"/>
                      </a:cubicBezTo>
                      <a:lnTo>
                        <a:pt x="23" y="61"/>
                      </a:lnTo>
                      <a:cubicBezTo>
                        <a:pt x="9" y="67"/>
                        <a:pt x="0" y="82"/>
                        <a:pt x="6" y="96"/>
                      </a:cubicBezTo>
                      <a:lnTo>
                        <a:pt x="6" y="96"/>
                      </a:lnTo>
                      <a:cubicBezTo>
                        <a:pt x="10" y="110"/>
                        <a:pt x="27" y="120"/>
                        <a:pt x="41" y="114"/>
                      </a:cubicBezTo>
                      <a:lnTo>
                        <a:pt x="41" y="114"/>
                      </a:lnTo>
                      <a:cubicBezTo>
                        <a:pt x="89" y="94"/>
                        <a:pt x="139" y="74"/>
                        <a:pt x="188" y="55"/>
                      </a:cubicBezTo>
                      <a:lnTo>
                        <a:pt x="188" y="55"/>
                      </a:lnTo>
                      <a:cubicBezTo>
                        <a:pt x="202" y="49"/>
                        <a:pt x="210" y="34"/>
                        <a:pt x="205" y="19"/>
                      </a:cubicBezTo>
                      <a:lnTo>
                        <a:pt x="205" y="19"/>
                      </a:lnTo>
                      <a:cubicBezTo>
                        <a:pt x="201" y="9"/>
                        <a:pt x="190" y="0"/>
                        <a:pt x="179" y="0"/>
                      </a:cubicBezTo>
                      <a:lnTo>
                        <a:pt x="179" y="0"/>
                      </a:lnTo>
                      <a:cubicBezTo>
                        <a:pt x="176" y="0"/>
                        <a:pt x="173" y="1"/>
                        <a:pt x="17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286">
                  <a:extLst>
                    <a:ext uri="{FF2B5EF4-FFF2-40B4-BE49-F238E27FC236}">
                      <a16:creationId xmlns:a16="http://schemas.microsoft.com/office/drawing/2014/main" id="{E491159D-18B6-C84B-A9C4-34FB8EDF68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80275" y="5638800"/>
                  <a:ext cx="41275" cy="25400"/>
                </a:xfrm>
                <a:custGeom>
                  <a:avLst/>
                  <a:gdLst>
                    <a:gd name="T0" fmla="*/ 73 w 114"/>
                    <a:gd name="T1" fmla="*/ 1 h 71"/>
                    <a:gd name="T2" fmla="*/ 73 w 114"/>
                    <a:gd name="T3" fmla="*/ 1 h 71"/>
                    <a:gd name="T4" fmla="*/ 20 w 114"/>
                    <a:gd name="T5" fmla="*/ 15 h 71"/>
                    <a:gd name="T6" fmla="*/ 20 w 114"/>
                    <a:gd name="T7" fmla="*/ 15 h 71"/>
                    <a:gd name="T8" fmla="*/ 4 w 114"/>
                    <a:gd name="T9" fmla="*/ 28 h 71"/>
                    <a:gd name="T10" fmla="*/ 4 w 114"/>
                    <a:gd name="T11" fmla="*/ 28 h 71"/>
                    <a:gd name="T12" fmla="*/ 3 w 114"/>
                    <a:gd name="T13" fmla="*/ 50 h 71"/>
                    <a:gd name="T14" fmla="*/ 3 w 114"/>
                    <a:gd name="T15" fmla="*/ 50 h 71"/>
                    <a:gd name="T16" fmla="*/ 17 w 114"/>
                    <a:gd name="T17" fmla="*/ 66 h 71"/>
                    <a:gd name="T18" fmla="*/ 17 w 114"/>
                    <a:gd name="T19" fmla="*/ 66 h 71"/>
                    <a:gd name="T20" fmla="*/ 38 w 114"/>
                    <a:gd name="T21" fmla="*/ 67 h 71"/>
                    <a:gd name="T22" fmla="*/ 38 w 114"/>
                    <a:gd name="T23" fmla="*/ 67 h 71"/>
                    <a:gd name="T24" fmla="*/ 90 w 114"/>
                    <a:gd name="T25" fmla="*/ 54 h 71"/>
                    <a:gd name="T26" fmla="*/ 90 w 114"/>
                    <a:gd name="T27" fmla="*/ 54 h 71"/>
                    <a:gd name="T28" fmla="*/ 108 w 114"/>
                    <a:gd name="T29" fmla="*/ 18 h 71"/>
                    <a:gd name="T30" fmla="*/ 108 w 114"/>
                    <a:gd name="T31" fmla="*/ 18 h 71"/>
                    <a:gd name="T32" fmla="*/ 81 w 114"/>
                    <a:gd name="T33" fmla="*/ 0 h 71"/>
                    <a:gd name="T34" fmla="*/ 81 w 114"/>
                    <a:gd name="T35" fmla="*/ 0 h 71"/>
                    <a:gd name="T36" fmla="*/ 73 w 114"/>
                    <a:gd name="T37" fmla="*/ 1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" h="71">
                      <a:moveTo>
                        <a:pt x="73" y="1"/>
                      </a:moveTo>
                      <a:lnTo>
                        <a:pt x="73" y="1"/>
                      </a:lnTo>
                      <a:cubicBezTo>
                        <a:pt x="55" y="6"/>
                        <a:pt x="38" y="10"/>
                        <a:pt x="20" y="15"/>
                      </a:cubicBezTo>
                      <a:lnTo>
                        <a:pt x="20" y="15"/>
                      </a:lnTo>
                      <a:cubicBezTo>
                        <a:pt x="14" y="16"/>
                        <a:pt x="7" y="23"/>
                        <a:pt x="4" y="28"/>
                      </a:cubicBezTo>
                      <a:lnTo>
                        <a:pt x="4" y="28"/>
                      </a:lnTo>
                      <a:cubicBezTo>
                        <a:pt x="1" y="35"/>
                        <a:pt x="0" y="43"/>
                        <a:pt x="3" y="50"/>
                      </a:cubicBezTo>
                      <a:lnTo>
                        <a:pt x="3" y="50"/>
                      </a:lnTo>
                      <a:cubicBezTo>
                        <a:pt x="6" y="57"/>
                        <a:pt x="10" y="63"/>
                        <a:pt x="17" y="66"/>
                      </a:cubicBezTo>
                      <a:lnTo>
                        <a:pt x="17" y="66"/>
                      </a:lnTo>
                      <a:cubicBezTo>
                        <a:pt x="24" y="70"/>
                        <a:pt x="31" y="69"/>
                        <a:pt x="38" y="67"/>
                      </a:cubicBezTo>
                      <a:lnTo>
                        <a:pt x="38" y="67"/>
                      </a:lnTo>
                      <a:cubicBezTo>
                        <a:pt x="56" y="63"/>
                        <a:pt x="73" y="58"/>
                        <a:pt x="90" y="54"/>
                      </a:cubicBezTo>
                      <a:lnTo>
                        <a:pt x="90" y="54"/>
                      </a:lnTo>
                      <a:cubicBezTo>
                        <a:pt x="105" y="49"/>
                        <a:pt x="113" y="32"/>
                        <a:pt x="108" y="18"/>
                      </a:cubicBezTo>
                      <a:lnTo>
                        <a:pt x="108" y="18"/>
                      </a:lnTo>
                      <a:cubicBezTo>
                        <a:pt x="104" y="6"/>
                        <a:pt x="93" y="0"/>
                        <a:pt x="81" y="0"/>
                      </a:cubicBezTo>
                      <a:lnTo>
                        <a:pt x="81" y="0"/>
                      </a:lnTo>
                      <a:cubicBezTo>
                        <a:pt x="78" y="0"/>
                        <a:pt x="75" y="0"/>
                        <a:pt x="73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2708E4F-A74C-BE4B-96BF-83CBA8F32D32}"/>
                  </a:ext>
                </a:extLst>
              </p:cNvPr>
              <p:cNvGrpSpPr/>
              <p:nvPr/>
            </p:nvGrpSpPr>
            <p:grpSpPr>
              <a:xfrm>
                <a:off x="3398104" y="3015753"/>
                <a:ext cx="496986" cy="452029"/>
                <a:chOff x="3370775" y="663370"/>
                <a:chExt cx="631827" cy="574673"/>
              </a:xfrm>
              <a:solidFill>
                <a:schemeClr val="accent3">
                  <a:lumMod val="40000"/>
                  <a:lumOff val="60000"/>
                </a:schemeClr>
              </a:solidFill>
            </p:grpSpPr>
            <p:sp>
              <p:nvSpPr>
                <p:cNvPr id="139" name="Freeform 49">
                  <a:extLst>
                    <a:ext uri="{FF2B5EF4-FFF2-40B4-BE49-F238E27FC236}">
                      <a16:creationId xmlns:a16="http://schemas.microsoft.com/office/drawing/2014/main" id="{B4BE6282-8DDB-CE43-9D4E-94046970F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0001" y="788783"/>
                  <a:ext cx="290513" cy="311150"/>
                </a:xfrm>
                <a:custGeom>
                  <a:avLst/>
                  <a:gdLst>
                    <a:gd name="T0" fmla="*/ 215 w 808"/>
                    <a:gd name="T1" fmla="*/ 465 h 865"/>
                    <a:gd name="T2" fmla="*/ 404 w 808"/>
                    <a:gd name="T3" fmla="*/ 524 h 865"/>
                    <a:gd name="T4" fmla="*/ 404 w 808"/>
                    <a:gd name="T5" fmla="*/ 527 h 865"/>
                    <a:gd name="T6" fmla="*/ 439 w 808"/>
                    <a:gd name="T7" fmla="*/ 717 h 865"/>
                    <a:gd name="T8" fmla="*/ 545 w 808"/>
                    <a:gd name="T9" fmla="*/ 306 h 865"/>
                    <a:gd name="T10" fmla="*/ 541 w 808"/>
                    <a:gd name="T11" fmla="*/ 306 h 865"/>
                    <a:gd name="T12" fmla="*/ 317 w 808"/>
                    <a:gd name="T13" fmla="*/ 436 h 865"/>
                    <a:gd name="T14" fmla="*/ 374 w 808"/>
                    <a:gd name="T15" fmla="*/ 415 h 865"/>
                    <a:gd name="T16" fmla="*/ 354 w 808"/>
                    <a:gd name="T17" fmla="*/ 279 h 865"/>
                    <a:gd name="T18" fmla="*/ 332 w 808"/>
                    <a:gd name="T19" fmla="*/ 158 h 865"/>
                    <a:gd name="T20" fmla="*/ 512 w 808"/>
                    <a:gd name="T21" fmla="*/ 353 h 865"/>
                    <a:gd name="T22" fmla="*/ 586 w 808"/>
                    <a:gd name="T23" fmla="*/ 353 h 865"/>
                    <a:gd name="T24" fmla="*/ 686 w 808"/>
                    <a:gd name="T25" fmla="*/ 339 h 865"/>
                    <a:gd name="T26" fmla="*/ 597 w 808"/>
                    <a:gd name="T27" fmla="*/ 407 h 865"/>
                    <a:gd name="T28" fmla="*/ 657 w 808"/>
                    <a:gd name="T29" fmla="*/ 515 h 865"/>
                    <a:gd name="T30" fmla="*/ 743 w 808"/>
                    <a:gd name="T31" fmla="*/ 638 h 865"/>
                    <a:gd name="T32" fmla="*/ 556 w 808"/>
                    <a:gd name="T33" fmla="*/ 525 h 865"/>
                    <a:gd name="T34" fmla="*/ 479 w 808"/>
                    <a:gd name="T35" fmla="*/ 507 h 865"/>
                    <a:gd name="T36" fmla="*/ 461 w 808"/>
                    <a:gd name="T37" fmla="*/ 543 h 865"/>
                    <a:gd name="T38" fmla="*/ 439 w 808"/>
                    <a:gd name="T39" fmla="*/ 717 h 865"/>
                    <a:gd name="T40" fmla="*/ 438 w 808"/>
                    <a:gd name="T41" fmla="*/ 720 h 865"/>
                    <a:gd name="T42" fmla="*/ 437 w 808"/>
                    <a:gd name="T43" fmla="*/ 731 h 865"/>
                    <a:gd name="T44" fmla="*/ 414 w 808"/>
                    <a:gd name="T45" fmla="*/ 601 h 865"/>
                    <a:gd name="T46" fmla="*/ 404 w 808"/>
                    <a:gd name="T47" fmla="*/ 528 h 865"/>
                    <a:gd name="T48" fmla="*/ 362 w 808"/>
                    <a:gd name="T49" fmla="*/ 450 h 865"/>
                    <a:gd name="T50" fmla="*/ 324 w 808"/>
                    <a:gd name="T51" fmla="*/ 456 h 865"/>
                    <a:gd name="T52" fmla="*/ 137 w 808"/>
                    <a:gd name="T53" fmla="*/ 509 h 865"/>
                    <a:gd name="T54" fmla="*/ 214 w 808"/>
                    <a:gd name="T55" fmla="*/ 466 h 865"/>
                    <a:gd name="T56" fmla="*/ 216 w 808"/>
                    <a:gd name="T57" fmla="*/ 465 h 865"/>
                    <a:gd name="T58" fmla="*/ 320 w 808"/>
                    <a:gd name="T59" fmla="*/ 50 h 865"/>
                    <a:gd name="T60" fmla="*/ 275 w 808"/>
                    <a:gd name="T61" fmla="*/ 1 h 865"/>
                    <a:gd name="T62" fmla="*/ 291 w 808"/>
                    <a:gd name="T63" fmla="*/ 245 h 865"/>
                    <a:gd name="T64" fmla="*/ 315 w 808"/>
                    <a:gd name="T65" fmla="*/ 363 h 865"/>
                    <a:gd name="T66" fmla="*/ 118 w 808"/>
                    <a:gd name="T67" fmla="*/ 454 h 865"/>
                    <a:gd name="T68" fmla="*/ 42 w 808"/>
                    <a:gd name="T69" fmla="*/ 506 h 865"/>
                    <a:gd name="T70" fmla="*/ 12 w 808"/>
                    <a:gd name="T71" fmla="*/ 576 h 865"/>
                    <a:gd name="T72" fmla="*/ 46 w 808"/>
                    <a:gd name="T73" fmla="*/ 587 h 865"/>
                    <a:gd name="T74" fmla="*/ 168 w 808"/>
                    <a:gd name="T75" fmla="*/ 558 h 865"/>
                    <a:gd name="T76" fmla="*/ 345 w 808"/>
                    <a:gd name="T77" fmla="*/ 508 h 865"/>
                    <a:gd name="T78" fmla="*/ 353 w 808"/>
                    <a:gd name="T79" fmla="*/ 562 h 865"/>
                    <a:gd name="T80" fmla="*/ 370 w 808"/>
                    <a:gd name="T81" fmla="*/ 681 h 865"/>
                    <a:gd name="T82" fmla="*/ 411 w 808"/>
                    <a:gd name="T83" fmla="*/ 847 h 865"/>
                    <a:gd name="T84" fmla="*/ 447 w 808"/>
                    <a:gd name="T85" fmla="*/ 861 h 865"/>
                    <a:gd name="T86" fmla="*/ 504 w 808"/>
                    <a:gd name="T87" fmla="*/ 642 h 865"/>
                    <a:gd name="T88" fmla="*/ 513 w 808"/>
                    <a:gd name="T89" fmla="*/ 565 h 865"/>
                    <a:gd name="T90" fmla="*/ 718 w 808"/>
                    <a:gd name="T91" fmla="*/ 692 h 865"/>
                    <a:gd name="T92" fmla="*/ 779 w 808"/>
                    <a:gd name="T93" fmla="*/ 706 h 865"/>
                    <a:gd name="T94" fmla="*/ 781 w 808"/>
                    <a:gd name="T95" fmla="*/ 590 h 865"/>
                    <a:gd name="T96" fmla="*/ 743 w 808"/>
                    <a:gd name="T97" fmla="*/ 532 h 865"/>
                    <a:gd name="T98" fmla="*/ 666 w 808"/>
                    <a:gd name="T99" fmla="*/ 447 h 865"/>
                    <a:gd name="T100" fmla="*/ 734 w 808"/>
                    <a:gd name="T101" fmla="*/ 371 h 865"/>
                    <a:gd name="T102" fmla="*/ 804 w 808"/>
                    <a:gd name="T103" fmla="*/ 287 h 865"/>
                    <a:gd name="T104" fmla="*/ 779 w 808"/>
                    <a:gd name="T105" fmla="*/ 261 h 865"/>
                    <a:gd name="T106" fmla="*/ 645 w 808"/>
                    <a:gd name="T107" fmla="*/ 280 h 865"/>
                    <a:gd name="T108" fmla="*/ 542 w 808"/>
                    <a:gd name="T109" fmla="*/ 306 h 865"/>
                    <a:gd name="T110" fmla="*/ 432 w 808"/>
                    <a:gd name="T111" fmla="*/ 192 h 865"/>
                    <a:gd name="T112" fmla="*/ 319 w 808"/>
                    <a:gd name="T113" fmla="*/ 48 h 865"/>
                    <a:gd name="T114" fmla="*/ 309 w 808"/>
                    <a:gd name="T115" fmla="*/ 20 h 865"/>
                    <a:gd name="T116" fmla="*/ 283 w 808"/>
                    <a:gd name="T117" fmla="*/ 0 h 8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08" h="865">
                      <a:moveTo>
                        <a:pt x="215" y="465"/>
                      </a:moveTo>
                      <a:lnTo>
                        <a:pt x="215" y="465"/>
                      </a:lnTo>
                      <a:cubicBezTo>
                        <a:pt x="214" y="465"/>
                        <a:pt x="214" y="465"/>
                        <a:pt x="214" y="466"/>
                      </a:cubicBezTo>
                      <a:lnTo>
                        <a:pt x="214" y="466"/>
                      </a:lnTo>
                      <a:cubicBezTo>
                        <a:pt x="214" y="465"/>
                        <a:pt x="215" y="465"/>
                        <a:pt x="215" y="465"/>
                      </a:cubicBezTo>
                      <a:close/>
                      <a:moveTo>
                        <a:pt x="404" y="524"/>
                      </a:moveTo>
                      <a:lnTo>
                        <a:pt x="404" y="524"/>
                      </a:lnTo>
                      <a:cubicBezTo>
                        <a:pt x="404" y="523"/>
                        <a:pt x="403" y="521"/>
                        <a:pt x="403" y="520"/>
                      </a:cubicBezTo>
                      <a:lnTo>
                        <a:pt x="403" y="520"/>
                      </a:lnTo>
                      <a:cubicBezTo>
                        <a:pt x="403" y="521"/>
                        <a:pt x="404" y="523"/>
                        <a:pt x="404" y="524"/>
                      </a:cubicBezTo>
                      <a:close/>
                      <a:moveTo>
                        <a:pt x="404" y="527"/>
                      </a:moveTo>
                      <a:lnTo>
                        <a:pt x="404" y="527"/>
                      </a:lnTo>
                      <a:cubicBezTo>
                        <a:pt x="404" y="527"/>
                        <a:pt x="404" y="525"/>
                        <a:pt x="404" y="524"/>
                      </a:cubicBezTo>
                      <a:lnTo>
                        <a:pt x="404" y="524"/>
                      </a:lnTo>
                      <a:cubicBezTo>
                        <a:pt x="404" y="525"/>
                        <a:pt x="404" y="527"/>
                        <a:pt x="404" y="527"/>
                      </a:cubicBezTo>
                      <a:close/>
                      <a:moveTo>
                        <a:pt x="438" y="720"/>
                      </a:move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19"/>
                        <a:pt x="439" y="718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8"/>
                        <a:pt x="438" y="719"/>
                        <a:pt x="438" y="720"/>
                      </a:cubicBezTo>
                      <a:close/>
                      <a:moveTo>
                        <a:pt x="547" y="306"/>
                      </a:moveTo>
                      <a:lnTo>
                        <a:pt x="547" y="306"/>
                      </a:lnTo>
                      <a:cubicBezTo>
                        <a:pt x="546" y="306"/>
                        <a:pt x="546" y="306"/>
                        <a:pt x="545" y="306"/>
                      </a:cubicBezTo>
                      <a:lnTo>
                        <a:pt x="545" y="306"/>
                      </a:lnTo>
                      <a:cubicBezTo>
                        <a:pt x="546" y="306"/>
                        <a:pt x="546" y="306"/>
                        <a:pt x="547" y="306"/>
                      </a:cubicBezTo>
                      <a:close/>
                      <a:moveTo>
                        <a:pt x="535" y="306"/>
                      </a:moveTo>
                      <a:lnTo>
                        <a:pt x="535" y="306"/>
                      </a:lnTo>
                      <a:cubicBezTo>
                        <a:pt x="537" y="306"/>
                        <a:pt x="539" y="306"/>
                        <a:pt x="541" y="306"/>
                      </a:cubicBezTo>
                      <a:lnTo>
                        <a:pt x="541" y="306"/>
                      </a:lnTo>
                      <a:cubicBezTo>
                        <a:pt x="539" y="306"/>
                        <a:pt x="537" y="306"/>
                        <a:pt x="535" y="306"/>
                      </a:cubicBezTo>
                      <a:close/>
                      <a:moveTo>
                        <a:pt x="283" y="444"/>
                      </a:moveTo>
                      <a:lnTo>
                        <a:pt x="283" y="444"/>
                      </a:lnTo>
                      <a:cubicBezTo>
                        <a:pt x="294" y="441"/>
                        <a:pt x="305" y="439"/>
                        <a:pt x="317" y="436"/>
                      </a:cubicBezTo>
                      <a:lnTo>
                        <a:pt x="317" y="436"/>
                      </a:lnTo>
                      <a:cubicBezTo>
                        <a:pt x="326" y="434"/>
                        <a:pt x="335" y="433"/>
                        <a:pt x="344" y="431"/>
                      </a:cubicBezTo>
                      <a:lnTo>
                        <a:pt x="344" y="431"/>
                      </a:lnTo>
                      <a:cubicBezTo>
                        <a:pt x="356" y="429"/>
                        <a:pt x="368" y="426"/>
                        <a:pt x="374" y="415"/>
                      </a:cubicBezTo>
                      <a:lnTo>
                        <a:pt x="374" y="415"/>
                      </a:lnTo>
                      <a:cubicBezTo>
                        <a:pt x="377" y="410"/>
                        <a:pt x="380" y="403"/>
                        <a:pt x="380" y="398"/>
                      </a:cubicBezTo>
                      <a:lnTo>
                        <a:pt x="380" y="398"/>
                      </a:lnTo>
                      <a:cubicBezTo>
                        <a:pt x="380" y="393"/>
                        <a:pt x="378" y="387"/>
                        <a:pt x="377" y="383"/>
                      </a:cubicBezTo>
                      <a:lnTo>
                        <a:pt x="377" y="383"/>
                      </a:lnTo>
                      <a:cubicBezTo>
                        <a:pt x="368" y="349"/>
                        <a:pt x="361" y="314"/>
                        <a:pt x="354" y="279"/>
                      </a:cubicBezTo>
                      <a:lnTo>
                        <a:pt x="354" y="279"/>
                      </a:lnTo>
                      <a:cubicBezTo>
                        <a:pt x="346" y="239"/>
                        <a:pt x="339" y="198"/>
                        <a:pt x="332" y="158"/>
                      </a:cubicBezTo>
                      <a:lnTo>
                        <a:pt x="332" y="158"/>
                      </a:lnTo>
                      <a:lnTo>
                        <a:pt x="332" y="158"/>
                      </a:lnTo>
                      <a:lnTo>
                        <a:pt x="332" y="158"/>
                      </a:lnTo>
                      <a:cubicBezTo>
                        <a:pt x="357" y="188"/>
                        <a:pt x="381" y="218"/>
                        <a:pt x="405" y="248"/>
                      </a:cubicBezTo>
                      <a:lnTo>
                        <a:pt x="405" y="248"/>
                      </a:lnTo>
                      <a:cubicBezTo>
                        <a:pt x="431" y="278"/>
                        <a:pt x="455" y="308"/>
                        <a:pt x="485" y="333"/>
                      </a:cubicBezTo>
                      <a:lnTo>
                        <a:pt x="485" y="333"/>
                      </a:lnTo>
                      <a:cubicBezTo>
                        <a:pt x="494" y="341"/>
                        <a:pt x="502" y="348"/>
                        <a:pt x="512" y="353"/>
                      </a:cubicBezTo>
                      <a:lnTo>
                        <a:pt x="512" y="353"/>
                      </a:lnTo>
                      <a:cubicBezTo>
                        <a:pt x="522" y="360"/>
                        <a:pt x="535" y="363"/>
                        <a:pt x="547" y="362"/>
                      </a:cubicBezTo>
                      <a:lnTo>
                        <a:pt x="547" y="362"/>
                      </a:lnTo>
                      <a:cubicBezTo>
                        <a:pt x="560" y="360"/>
                        <a:pt x="574" y="356"/>
                        <a:pt x="586" y="353"/>
                      </a:cubicBezTo>
                      <a:lnTo>
                        <a:pt x="586" y="353"/>
                      </a:lnTo>
                      <a:cubicBezTo>
                        <a:pt x="605" y="349"/>
                        <a:pt x="622" y="343"/>
                        <a:pt x="640" y="339"/>
                      </a:cubicBezTo>
                      <a:lnTo>
                        <a:pt x="640" y="339"/>
                      </a:lnTo>
                      <a:cubicBezTo>
                        <a:pt x="661" y="333"/>
                        <a:pt x="683" y="328"/>
                        <a:pt x="705" y="323"/>
                      </a:cubicBezTo>
                      <a:lnTo>
                        <a:pt x="705" y="323"/>
                      </a:lnTo>
                      <a:cubicBezTo>
                        <a:pt x="698" y="329"/>
                        <a:pt x="692" y="334"/>
                        <a:pt x="686" y="339"/>
                      </a:cubicBezTo>
                      <a:lnTo>
                        <a:pt x="686" y="339"/>
                      </a:lnTo>
                      <a:cubicBezTo>
                        <a:pt x="670" y="350"/>
                        <a:pt x="655" y="362"/>
                        <a:pt x="639" y="373"/>
                      </a:cubicBezTo>
                      <a:lnTo>
                        <a:pt x="639" y="373"/>
                      </a:lnTo>
                      <a:cubicBezTo>
                        <a:pt x="625" y="384"/>
                        <a:pt x="609" y="393"/>
                        <a:pt x="597" y="407"/>
                      </a:cubicBezTo>
                      <a:lnTo>
                        <a:pt x="597" y="407"/>
                      </a:lnTo>
                      <a:cubicBezTo>
                        <a:pt x="589" y="418"/>
                        <a:pt x="587" y="433"/>
                        <a:pt x="592" y="446"/>
                      </a:cubicBezTo>
                      <a:lnTo>
                        <a:pt x="592" y="446"/>
                      </a:lnTo>
                      <a:cubicBezTo>
                        <a:pt x="595" y="457"/>
                        <a:pt x="605" y="465"/>
                        <a:pt x="613" y="474"/>
                      </a:cubicBezTo>
                      <a:lnTo>
                        <a:pt x="613" y="474"/>
                      </a:lnTo>
                      <a:cubicBezTo>
                        <a:pt x="628" y="487"/>
                        <a:pt x="643" y="501"/>
                        <a:pt x="657" y="515"/>
                      </a:cubicBezTo>
                      <a:lnTo>
                        <a:pt x="657" y="515"/>
                      </a:lnTo>
                      <a:cubicBezTo>
                        <a:pt x="671" y="531"/>
                        <a:pt x="684" y="546"/>
                        <a:pt x="697" y="562"/>
                      </a:cubicBezTo>
                      <a:lnTo>
                        <a:pt x="697" y="562"/>
                      </a:lnTo>
                      <a:cubicBezTo>
                        <a:pt x="714" y="586"/>
                        <a:pt x="731" y="610"/>
                        <a:pt x="743" y="638"/>
                      </a:cubicBezTo>
                      <a:lnTo>
                        <a:pt x="743" y="638"/>
                      </a:lnTo>
                      <a:cubicBezTo>
                        <a:pt x="744" y="639"/>
                        <a:pt x="744" y="641"/>
                        <a:pt x="745" y="643"/>
                      </a:cubicBezTo>
                      <a:lnTo>
                        <a:pt x="745" y="643"/>
                      </a:lnTo>
                      <a:cubicBezTo>
                        <a:pt x="714" y="628"/>
                        <a:pt x="685" y="608"/>
                        <a:pt x="656" y="590"/>
                      </a:cubicBezTo>
                      <a:lnTo>
                        <a:pt x="656" y="590"/>
                      </a:lnTo>
                      <a:cubicBezTo>
                        <a:pt x="623" y="568"/>
                        <a:pt x="590" y="546"/>
                        <a:pt x="556" y="525"/>
                      </a:cubicBezTo>
                      <a:lnTo>
                        <a:pt x="556" y="525"/>
                      </a:lnTo>
                      <a:cubicBezTo>
                        <a:pt x="538" y="514"/>
                        <a:pt x="518" y="501"/>
                        <a:pt x="496" y="501"/>
                      </a:cubicBezTo>
                      <a:lnTo>
                        <a:pt x="496" y="501"/>
                      </a:lnTo>
                      <a:cubicBezTo>
                        <a:pt x="490" y="501"/>
                        <a:pt x="485" y="504"/>
                        <a:pt x="479" y="507"/>
                      </a:cubicBezTo>
                      <a:lnTo>
                        <a:pt x="479" y="507"/>
                      </a:lnTo>
                      <a:cubicBezTo>
                        <a:pt x="476" y="508"/>
                        <a:pt x="469" y="515"/>
                        <a:pt x="468" y="518"/>
                      </a:cubicBezTo>
                      <a:lnTo>
                        <a:pt x="468" y="518"/>
                      </a:lnTo>
                      <a:cubicBezTo>
                        <a:pt x="465" y="523"/>
                        <a:pt x="464" y="527"/>
                        <a:pt x="463" y="531"/>
                      </a:cubicBezTo>
                      <a:lnTo>
                        <a:pt x="463" y="531"/>
                      </a:lnTo>
                      <a:cubicBezTo>
                        <a:pt x="462" y="535"/>
                        <a:pt x="461" y="539"/>
                        <a:pt x="461" y="543"/>
                      </a:cubicBezTo>
                      <a:lnTo>
                        <a:pt x="461" y="543"/>
                      </a:lnTo>
                      <a:cubicBezTo>
                        <a:pt x="457" y="564"/>
                        <a:pt x="455" y="584"/>
                        <a:pt x="453" y="604"/>
                      </a:cubicBezTo>
                      <a:lnTo>
                        <a:pt x="453" y="604"/>
                      </a:lnTo>
                      <a:cubicBezTo>
                        <a:pt x="448" y="642"/>
                        <a:pt x="444" y="679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6"/>
                        <a:pt x="439" y="715"/>
                        <a:pt x="440" y="714"/>
                      </a:cubicBezTo>
                      <a:lnTo>
                        <a:pt x="440" y="714"/>
                      </a:lnTo>
                      <a:cubicBezTo>
                        <a:pt x="439" y="716"/>
                        <a:pt x="439" y="717"/>
                        <a:pt x="438" y="720"/>
                      </a:cubicBez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24"/>
                        <a:pt x="437" y="727"/>
                        <a:pt x="437" y="731"/>
                      </a:cubicBezTo>
                      <a:lnTo>
                        <a:pt x="437" y="731"/>
                      </a:lnTo>
                      <a:cubicBezTo>
                        <a:pt x="435" y="723"/>
                        <a:pt x="434" y="715"/>
                        <a:pt x="432" y="707"/>
                      </a:cubicBezTo>
                      <a:lnTo>
                        <a:pt x="432" y="707"/>
                      </a:lnTo>
                      <a:cubicBezTo>
                        <a:pt x="424" y="669"/>
                        <a:pt x="418" y="631"/>
                        <a:pt x="413" y="594"/>
                      </a:cubicBezTo>
                      <a:lnTo>
                        <a:pt x="413" y="594"/>
                      </a:lnTo>
                      <a:cubicBezTo>
                        <a:pt x="413" y="596"/>
                        <a:pt x="414" y="598"/>
                        <a:pt x="414" y="601"/>
                      </a:cubicBezTo>
                      <a:lnTo>
                        <a:pt x="414" y="601"/>
                      </a:lnTo>
                      <a:cubicBezTo>
                        <a:pt x="411" y="576"/>
                        <a:pt x="407" y="552"/>
                        <a:pt x="404" y="527"/>
                      </a:cubicBezTo>
                      <a:lnTo>
                        <a:pt x="404" y="527"/>
                      </a:lnTo>
                      <a:cubicBezTo>
                        <a:pt x="404" y="528"/>
                        <a:pt x="404" y="528"/>
                        <a:pt x="404" y="528"/>
                      </a:cubicBezTo>
                      <a:lnTo>
                        <a:pt x="404" y="528"/>
                      </a:lnTo>
                      <a:cubicBezTo>
                        <a:pt x="403" y="519"/>
                        <a:pt x="401" y="511"/>
                        <a:pt x="400" y="502"/>
                      </a:cubicBezTo>
                      <a:lnTo>
                        <a:pt x="400" y="502"/>
                      </a:lnTo>
                      <a:cubicBezTo>
                        <a:pt x="398" y="488"/>
                        <a:pt x="395" y="471"/>
                        <a:pt x="385" y="460"/>
                      </a:cubicBezTo>
                      <a:lnTo>
                        <a:pt x="385" y="460"/>
                      </a:lnTo>
                      <a:cubicBezTo>
                        <a:pt x="378" y="454"/>
                        <a:pt x="371" y="451"/>
                        <a:pt x="362" y="450"/>
                      </a:cubicBezTo>
                      <a:lnTo>
                        <a:pt x="362" y="450"/>
                      </a:lnTo>
                      <a:cubicBezTo>
                        <a:pt x="356" y="449"/>
                        <a:pt x="350" y="450"/>
                        <a:pt x="344" y="451"/>
                      </a:cubicBezTo>
                      <a:lnTo>
                        <a:pt x="344" y="451"/>
                      </a:lnTo>
                      <a:cubicBezTo>
                        <a:pt x="337" y="453"/>
                        <a:pt x="331" y="454"/>
                        <a:pt x="324" y="456"/>
                      </a:cubicBezTo>
                      <a:lnTo>
                        <a:pt x="324" y="456"/>
                      </a:lnTo>
                      <a:cubicBezTo>
                        <a:pt x="296" y="463"/>
                        <a:pt x="269" y="471"/>
                        <a:pt x="241" y="479"/>
                      </a:cubicBezTo>
                      <a:lnTo>
                        <a:pt x="241" y="479"/>
                      </a:lnTo>
                      <a:cubicBezTo>
                        <a:pt x="213" y="487"/>
                        <a:pt x="185" y="495"/>
                        <a:pt x="157" y="503"/>
                      </a:cubicBezTo>
                      <a:lnTo>
                        <a:pt x="157" y="503"/>
                      </a:lnTo>
                      <a:cubicBezTo>
                        <a:pt x="151" y="505"/>
                        <a:pt x="143" y="507"/>
                        <a:pt x="137" y="509"/>
                      </a:cubicBezTo>
                      <a:lnTo>
                        <a:pt x="137" y="509"/>
                      </a:lnTo>
                      <a:cubicBezTo>
                        <a:pt x="139" y="507"/>
                        <a:pt x="142" y="505"/>
                        <a:pt x="145" y="504"/>
                      </a:cubicBezTo>
                      <a:lnTo>
                        <a:pt x="145" y="504"/>
                      </a:lnTo>
                      <a:cubicBezTo>
                        <a:pt x="167" y="489"/>
                        <a:pt x="190" y="477"/>
                        <a:pt x="214" y="466"/>
                      </a:cubicBezTo>
                      <a:lnTo>
                        <a:pt x="214" y="466"/>
                      </a:lnTo>
                      <a:cubicBezTo>
                        <a:pt x="212" y="467"/>
                        <a:pt x="211" y="467"/>
                        <a:pt x="209" y="468"/>
                      </a:cubicBezTo>
                      <a:lnTo>
                        <a:pt x="209" y="468"/>
                      </a:lnTo>
                      <a:cubicBezTo>
                        <a:pt x="211" y="467"/>
                        <a:pt x="213" y="466"/>
                        <a:pt x="215" y="465"/>
                      </a:cubicBezTo>
                      <a:lnTo>
                        <a:pt x="215" y="465"/>
                      </a:lnTo>
                      <a:cubicBezTo>
                        <a:pt x="216" y="465"/>
                        <a:pt x="216" y="465"/>
                        <a:pt x="216" y="465"/>
                      </a:cubicBezTo>
                      <a:lnTo>
                        <a:pt x="216" y="465"/>
                      </a:lnTo>
                      <a:cubicBezTo>
                        <a:pt x="216" y="465"/>
                        <a:pt x="216" y="465"/>
                        <a:pt x="215" y="465"/>
                      </a:cubicBezTo>
                      <a:lnTo>
                        <a:pt x="215" y="465"/>
                      </a:lnTo>
                      <a:cubicBezTo>
                        <a:pt x="238" y="457"/>
                        <a:pt x="260" y="450"/>
                        <a:pt x="283" y="444"/>
                      </a:cubicBezTo>
                      <a:close/>
                      <a:moveTo>
                        <a:pt x="320" y="50"/>
                      </a:moveTo>
                      <a:lnTo>
                        <a:pt x="320" y="52"/>
                      </a:lnTo>
                      <a:lnTo>
                        <a:pt x="320" y="52"/>
                      </a:lnTo>
                      <a:cubicBezTo>
                        <a:pt x="320" y="51"/>
                        <a:pt x="320" y="51"/>
                        <a:pt x="320" y="50"/>
                      </a:cubicBezTo>
                      <a:close/>
                      <a:moveTo>
                        <a:pt x="275" y="1"/>
                      </a:moveTo>
                      <a:lnTo>
                        <a:pt x="275" y="1"/>
                      </a:lnTo>
                      <a:cubicBezTo>
                        <a:pt x="268" y="3"/>
                        <a:pt x="262" y="7"/>
                        <a:pt x="259" y="13"/>
                      </a:cubicBezTo>
                      <a:lnTo>
                        <a:pt x="259" y="13"/>
                      </a:lnTo>
                      <a:cubicBezTo>
                        <a:pt x="254" y="20"/>
                        <a:pt x="254" y="27"/>
                        <a:pt x="256" y="35"/>
                      </a:cubicBezTo>
                      <a:lnTo>
                        <a:pt x="256" y="35"/>
                      </a:lnTo>
                      <a:cubicBezTo>
                        <a:pt x="267" y="105"/>
                        <a:pt x="277" y="175"/>
                        <a:pt x="291" y="245"/>
                      </a:cubicBezTo>
                      <a:lnTo>
                        <a:pt x="291" y="245"/>
                      </a:lnTo>
                      <a:cubicBezTo>
                        <a:pt x="296" y="271"/>
                        <a:pt x="300" y="297"/>
                        <a:pt x="306" y="322"/>
                      </a:cubicBezTo>
                      <a:lnTo>
                        <a:pt x="306" y="322"/>
                      </a:lnTo>
                      <a:cubicBezTo>
                        <a:pt x="309" y="336"/>
                        <a:pt x="312" y="350"/>
                        <a:pt x="315" y="363"/>
                      </a:cubicBezTo>
                      <a:lnTo>
                        <a:pt x="315" y="363"/>
                      </a:lnTo>
                      <a:cubicBezTo>
                        <a:pt x="316" y="369"/>
                        <a:pt x="317" y="374"/>
                        <a:pt x="319" y="379"/>
                      </a:cubicBezTo>
                      <a:lnTo>
                        <a:pt x="319" y="379"/>
                      </a:lnTo>
                      <a:cubicBezTo>
                        <a:pt x="302" y="383"/>
                        <a:pt x="285" y="386"/>
                        <a:pt x="268" y="390"/>
                      </a:cubicBezTo>
                      <a:lnTo>
                        <a:pt x="268" y="390"/>
                      </a:lnTo>
                      <a:cubicBezTo>
                        <a:pt x="214" y="403"/>
                        <a:pt x="163" y="424"/>
                        <a:pt x="118" y="454"/>
                      </a:cubicBezTo>
                      <a:lnTo>
                        <a:pt x="118" y="454"/>
                      </a:lnTo>
                      <a:cubicBezTo>
                        <a:pt x="100" y="467"/>
                        <a:pt x="82" y="479"/>
                        <a:pt x="64" y="491"/>
                      </a:cubicBezTo>
                      <a:lnTo>
                        <a:pt x="64" y="491"/>
                      </a:lnTo>
                      <a:cubicBezTo>
                        <a:pt x="57" y="496"/>
                        <a:pt x="50" y="501"/>
                        <a:pt x="42" y="506"/>
                      </a:cubicBezTo>
                      <a:lnTo>
                        <a:pt x="42" y="506"/>
                      </a:lnTo>
                      <a:cubicBezTo>
                        <a:pt x="34" y="512"/>
                        <a:pt x="25" y="518"/>
                        <a:pt x="17" y="525"/>
                      </a:cubicBezTo>
                      <a:lnTo>
                        <a:pt x="17" y="525"/>
                      </a:lnTo>
                      <a:cubicBezTo>
                        <a:pt x="6" y="533"/>
                        <a:pt x="0" y="550"/>
                        <a:pt x="3" y="563"/>
                      </a:cubicBezTo>
                      <a:lnTo>
                        <a:pt x="3" y="563"/>
                      </a:lnTo>
                      <a:cubicBezTo>
                        <a:pt x="5" y="568"/>
                        <a:pt x="8" y="573"/>
                        <a:pt x="12" y="576"/>
                      </a:cubicBezTo>
                      <a:lnTo>
                        <a:pt x="12" y="576"/>
                      </a:lnTo>
                      <a:cubicBezTo>
                        <a:pt x="15" y="580"/>
                        <a:pt x="23" y="585"/>
                        <a:pt x="27" y="585"/>
                      </a:cubicBezTo>
                      <a:lnTo>
                        <a:pt x="27" y="585"/>
                      </a:lnTo>
                      <a:cubicBezTo>
                        <a:pt x="34" y="586"/>
                        <a:pt x="40" y="587"/>
                        <a:pt x="46" y="587"/>
                      </a:cubicBezTo>
                      <a:lnTo>
                        <a:pt x="46" y="587"/>
                      </a:lnTo>
                      <a:cubicBezTo>
                        <a:pt x="53" y="586"/>
                        <a:pt x="60" y="585"/>
                        <a:pt x="67" y="584"/>
                      </a:cubicBezTo>
                      <a:lnTo>
                        <a:pt x="67" y="584"/>
                      </a:lnTo>
                      <a:cubicBezTo>
                        <a:pt x="82" y="581"/>
                        <a:pt x="98" y="577"/>
                        <a:pt x="113" y="574"/>
                      </a:cubicBezTo>
                      <a:lnTo>
                        <a:pt x="113" y="574"/>
                      </a:lnTo>
                      <a:cubicBezTo>
                        <a:pt x="132" y="569"/>
                        <a:pt x="150" y="563"/>
                        <a:pt x="168" y="558"/>
                      </a:cubicBezTo>
                      <a:lnTo>
                        <a:pt x="168" y="558"/>
                      </a:lnTo>
                      <a:cubicBezTo>
                        <a:pt x="206" y="547"/>
                        <a:pt x="243" y="537"/>
                        <a:pt x="280" y="525"/>
                      </a:cubicBezTo>
                      <a:lnTo>
                        <a:pt x="280" y="525"/>
                      </a:lnTo>
                      <a:cubicBezTo>
                        <a:pt x="302" y="520"/>
                        <a:pt x="323" y="513"/>
                        <a:pt x="345" y="508"/>
                      </a:cubicBezTo>
                      <a:lnTo>
                        <a:pt x="345" y="508"/>
                      </a:lnTo>
                      <a:cubicBezTo>
                        <a:pt x="347" y="517"/>
                        <a:pt x="348" y="526"/>
                        <a:pt x="349" y="535"/>
                      </a:cubicBezTo>
                      <a:lnTo>
                        <a:pt x="349" y="535"/>
                      </a:lnTo>
                      <a:cubicBezTo>
                        <a:pt x="349" y="534"/>
                        <a:pt x="349" y="534"/>
                        <a:pt x="349" y="534"/>
                      </a:cubicBezTo>
                      <a:lnTo>
                        <a:pt x="349" y="534"/>
                      </a:lnTo>
                      <a:cubicBezTo>
                        <a:pt x="350" y="544"/>
                        <a:pt x="351" y="553"/>
                        <a:pt x="353" y="562"/>
                      </a:cubicBezTo>
                      <a:lnTo>
                        <a:pt x="353" y="562"/>
                      </a:lnTo>
                      <a:cubicBezTo>
                        <a:pt x="353" y="561"/>
                        <a:pt x="353" y="561"/>
                        <a:pt x="353" y="561"/>
                      </a:cubicBezTo>
                      <a:lnTo>
                        <a:pt x="353" y="561"/>
                      </a:lnTo>
                      <a:cubicBezTo>
                        <a:pt x="358" y="601"/>
                        <a:pt x="363" y="641"/>
                        <a:pt x="370" y="681"/>
                      </a:cubicBezTo>
                      <a:lnTo>
                        <a:pt x="370" y="681"/>
                      </a:lnTo>
                      <a:cubicBezTo>
                        <a:pt x="377" y="719"/>
                        <a:pt x="385" y="759"/>
                        <a:pt x="395" y="797"/>
                      </a:cubicBezTo>
                      <a:lnTo>
                        <a:pt x="395" y="797"/>
                      </a:lnTo>
                      <a:cubicBezTo>
                        <a:pt x="397" y="806"/>
                        <a:pt x="400" y="816"/>
                        <a:pt x="403" y="825"/>
                      </a:cubicBezTo>
                      <a:lnTo>
                        <a:pt x="403" y="825"/>
                      </a:lnTo>
                      <a:cubicBezTo>
                        <a:pt x="405" y="833"/>
                        <a:pt x="408" y="840"/>
                        <a:pt x="411" y="847"/>
                      </a:cubicBezTo>
                      <a:lnTo>
                        <a:pt x="411" y="847"/>
                      </a:lnTo>
                      <a:cubicBezTo>
                        <a:pt x="413" y="851"/>
                        <a:pt x="419" y="857"/>
                        <a:pt x="423" y="859"/>
                      </a:cubicBezTo>
                      <a:lnTo>
                        <a:pt x="423" y="859"/>
                      </a:lnTo>
                      <a:cubicBezTo>
                        <a:pt x="430" y="863"/>
                        <a:pt x="439" y="864"/>
                        <a:pt x="447" y="861"/>
                      </a:cubicBezTo>
                      <a:lnTo>
                        <a:pt x="447" y="861"/>
                      </a:lnTo>
                      <a:cubicBezTo>
                        <a:pt x="471" y="855"/>
                        <a:pt x="476" y="826"/>
                        <a:pt x="481" y="805"/>
                      </a:cubicBezTo>
                      <a:lnTo>
                        <a:pt x="481" y="805"/>
                      </a:lnTo>
                      <a:cubicBezTo>
                        <a:pt x="484" y="791"/>
                        <a:pt x="486" y="776"/>
                        <a:pt x="488" y="762"/>
                      </a:cubicBezTo>
                      <a:lnTo>
                        <a:pt x="488" y="762"/>
                      </a:lnTo>
                      <a:cubicBezTo>
                        <a:pt x="495" y="723"/>
                        <a:pt x="499" y="682"/>
                        <a:pt x="504" y="642"/>
                      </a:cubicBezTo>
                      <a:lnTo>
                        <a:pt x="504" y="642"/>
                      </a:lnTo>
                      <a:cubicBezTo>
                        <a:pt x="506" y="618"/>
                        <a:pt x="509" y="592"/>
                        <a:pt x="513" y="568"/>
                      </a:cubicBezTo>
                      <a:lnTo>
                        <a:pt x="513" y="568"/>
                      </a:lnTo>
                      <a:cubicBezTo>
                        <a:pt x="513" y="566"/>
                        <a:pt x="513" y="566"/>
                        <a:pt x="513" y="565"/>
                      </a:cubicBezTo>
                      <a:lnTo>
                        <a:pt x="513" y="565"/>
                      </a:lnTo>
                      <a:cubicBezTo>
                        <a:pt x="530" y="574"/>
                        <a:pt x="546" y="585"/>
                        <a:pt x="562" y="595"/>
                      </a:cubicBezTo>
                      <a:lnTo>
                        <a:pt x="562" y="595"/>
                      </a:lnTo>
                      <a:cubicBezTo>
                        <a:pt x="581" y="607"/>
                        <a:pt x="600" y="619"/>
                        <a:pt x="619" y="631"/>
                      </a:cubicBezTo>
                      <a:lnTo>
                        <a:pt x="619" y="631"/>
                      </a:lnTo>
                      <a:cubicBezTo>
                        <a:pt x="651" y="653"/>
                        <a:pt x="683" y="674"/>
                        <a:pt x="718" y="692"/>
                      </a:cubicBezTo>
                      <a:lnTo>
                        <a:pt x="718" y="692"/>
                      </a:lnTo>
                      <a:cubicBezTo>
                        <a:pt x="731" y="699"/>
                        <a:pt x="746" y="706"/>
                        <a:pt x="761" y="707"/>
                      </a:cubicBezTo>
                      <a:lnTo>
                        <a:pt x="761" y="707"/>
                      </a:lnTo>
                      <a:cubicBezTo>
                        <a:pt x="768" y="708"/>
                        <a:pt x="772" y="707"/>
                        <a:pt x="779" y="706"/>
                      </a:cubicBezTo>
                      <a:lnTo>
                        <a:pt x="779" y="706"/>
                      </a:lnTo>
                      <a:cubicBezTo>
                        <a:pt x="784" y="705"/>
                        <a:pt x="790" y="701"/>
                        <a:pt x="794" y="697"/>
                      </a:cubicBezTo>
                      <a:lnTo>
                        <a:pt x="794" y="697"/>
                      </a:lnTo>
                      <a:cubicBezTo>
                        <a:pt x="803" y="687"/>
                        <a:pt x="807" y="674"/>
                        <a:pt x="806" y="661"/>
                      </a:cubicBezTo>
                      <a:lnTo>
                        <a:pt x="806" y="661"/>
                      </a:lnTo>
                      <a:cubicBezTo>
                        <a:pt x="804" y="636"/>
                        <a:pt x="793" y="612"/>
                        <a:pt x="781" y="590"/>
                      </a:cubicBezTo>
                      <a:lnTo>
                        <a:pt x="781" y="590"/>
                      </a:lnTo>
                      <a:cubicBezTo>
                        <a:pt x="775" y="577"/>
                        <a:pt x="767" y="566"/>
                        <a:pt x="760" y="555"/>
                      </a:cubicBezTo>
                      <a:lnTo>
                        <a:pt x="760" y="555"/>
                      </a:lnTo>
                      <a:cubicBezTo>
                        <a:pt x="755" y="547"/>
                        <a:pt x="748" y="540"/>
                        <a:pt x="743" y="532"/>
                      </a:cubicBezTo>
                      <a:lnTo>
                        <a:pt x="743" y="532"/>
                      </a:lnTo>
                      <a:cubicBezTo>
                        <a:pt x="737" y="523"/>
                        <a:pt x="730" y="514"/>
                        <a:pt x="723" y="506"/>
                      </a:cubicBezTo>
                      <a:lnTo>
                        <a:pt x="723" y="506"/>
                      </a:lnTo>
                      <a:cubicBezTo>
                        <a:pt x="711" y="491"/>
                        <a:pt x="697" y="477"/>
                        <a:pt x="684" y="464"/>
                      </a:cubicBezTo>
                      <a:lnTo>
                        <a:pt x="684" y="464"/>
                      </a:lnTo>
                      <a:cubicBezTo>
                        <a:pt x="678" y="458"/>
                        <a:pt x="672" y="452"/>
                        <a:pt x="666" y="447"/>
                      </a:cubicBezTo>
                      <a:lnTo>
                        <a:pt x="666" y="447"/>
                      </a:lnTo>
                      <a:cubicBezTo>
                        <a:pt x="661" y="442"/>
                        <a:pt x="656" y="438"/>
                        <a:pt x="652" y="433"/>
                      </a:cubicBezTo>
                      <a:lnTo>
                        <a:pt x="652" y="433"/>
                      </a:lnTo>
                      <a:cubicBezTo>
                        <a:pt x="679" y="413"/>
                        <a:pt x="707" y="393"/>
                        <a:pt x="734" y="371"/>
                      </a:cubicBezTo>
                      <a:lnTo>
                        <a:pt x="734" y="371"/>
                      </a:lnTo>
                      <a:cubicBezTo>
                        <a:pt x="747" y="361"/>
                        <a:pt x="760" y="350"/>
                        <a:pt x="772" y="339"/>
                      </a:cubicBezTo>
                      <a:lnTo>
                        <a:pt x="772" y="339"/>
                      </a:lnTo>
                      <a:cubicBezTo>
                        <a:pt x="779" y="333"/>
                        <a:pt x="787" y="326"/>
                        <a:pt x="794" y="319"/>
                      </a:cubicBezTo>
                      <a:lnTo>
                        <a:pt x="794" y="319"/>
                      </a:lnTo>
                      <a:cubicBezTo>
                        <a:pt x="801" y="310"/>
                        <a:pt x="807" y="298"/>
                        <a:pt x="804" y="287"/>
                      </a:cubicBezTo>
                      <a:lnTo>
                        <a:pt x="804" y="287"/>
                      </a:lnTo>
                      <a:cubicBezTo>
                        <a:pt x="801" y="281"/>
                        <a:pt x="799" y="275"/>
                        <a:pt x="795" y="270"/>
                      </a:cubicBezTo>
                      <a:lnTo>
                        <a:pt x="795" y="270"/>
                      </a:lnTo>
                      <a:cubicBezTo>
                        <a:pt x="791" y="267"/>
                        <a:pt x="785" y="262"/>
                        <a:pt x="779" y="261"/>
                      </a:cubicBezTo>
                      <a:lnTo>
                        <a:pt x="779" y="261"/>
                      </a:lnTo>
                      <a:cubicBezTo>
                        <a:pt x="762" y="257"/>
                        <a:pt x="744" y="260"/>
                        <a:pt x="727" y="263"/>
                      </a:cubicBezTo>
                      <a:lnTo>
                        <a:pt x="727" y="263"/>
                      </a:lnTo>
                      <a:cubicBezTo>
                        <a:pt x="718" y="264"/>
                        <a:pt x="710" y="266"/>
                        <a:pt x="701" y="268"/>
                      </a:cubicBezTo>
                      <a:lnTo>
                        <a:pt x="701" y="268"/>
                      </a:lnTo>
                      <a:cubicBezTo>
                        <a:pt x="682" y="271"/>
                        <a:pt x="663" y="275"/>
                        <a:pt x="645" y="280"/>
                      </a:cubicBezTo>
                      <a:lnTo>
                        <a:pt x="645" y="280"/>
                      </a:lnTo>
                      <a:cubicBezTo>
                        <a:pt x="610" y="288"/>
                        <a:pt x="577" y="299"/>
                        <a:pt x="543" y="306"/>
                      </a:cubicBezTo>
                      <a:lnTo>
                        <a:pt x="543" y="306"/>
                      </a:lnTo>
                      <a:lnTo>
                        <a:pt x="542" y="306"/>
                      </a:lnTo>
                      <a:lnTo>
                        <a:pt x="542" y="306"/>
                      </a:lnTo>
                      <a:cubicBezTo>
                        <a:pt x="537" y="304"/>
                        <a:pt x="534" y="301"/>
                        <a:pt x="529" y="298"/>
                      </a:cubicBezTo>
                      <a:lnTo>
                        <a:pt x="529" y="298"/>
                      </a:lnTo>
                      <a:cubicBezTo>
                        <a:pt x="510" y="282"/>
                        <a:pt x="493" y="264"/>
                        <a:pt x="476" y="245"/>
                      </a:cubicBezTo>
                      <a:lnTo>
                        <a:pt x="476" y="245"/>
                      </a:lnTo>
                      <a:cubicBezTo>
                        <a:pt x="461" y="228"/>
                        <a:pt x="446" y="210"/>
                        <a:pt x="432" y="192"/>
                      </a:cubicBezTo>
                      <a:lnTo>
                        <a:pt x="432" y="192"/>
                      </a:lnTo>
                      <a:cubicBezTo>
                        <a:pt x="403" y="157"/>
                        <a:pt x="373" y="121"/>
                        <a:pt x="345" y="86"/>
                      </a:cubicBezTo>
                      <a:lnTo>
                        <a:pt x="345" y="86"/>
                      </a:lnTo>
                      <a:cubicBezTo>
                        <a:pt x="335" y="73"/>
                        <a:pt x="326" y="61"/>
                        <a:pt x="319" y="48"/>
                      </a:cubicBezTo>
                      <a:lnTo>
                        <a:pt x="319" y="48"/>
                      </a:lnTo>
                      <a:cubicBezTo>
                        <a:pt x="319" y="47"/>
                        <a:pt x="319" y="46"/>
                        <a:pt x="319" y="46"/>
                      </a:cubicBezTo>
                      <a:lnTo>
                        <a:pt x="319" y="46"/>
                      </a:lnTo>
                      <a:cubicBezTo>
                        <a:pt x="318" y="41"/>
                        <a:pt x="315" y="36"/>
                        <a:pt x="312" y="33"/>
                      </a:cubicBezTo>
                      <a:lnTo>
                        <a:pt x="312" y="33"/>
                      </a:lnTo>
                      <a:cubicBezTo>
                        <a:pt x="311" y="28"/>
                        <a:pt x="310" y="25"/>
                        <a:pt x="309" y="20"/>
                      </a:cubicBezTo>
                      <a:lnTo>
                        <a:pt x="309" y="20"/>
                      </a:lnTo>
                      <a:cubicBezTo>
                        <a:pt x="309" y="13"/>
                        <a:pt x="302" y="7"/>
                        <a:pt x="297" y="3"/>
                      </a:cubicBezTo>
                      <a:lnTo>
                        <a:pt x="297" y="3"/>
                      </a:lnTo>
                      <a:cubicBezTo>
                        <a:pt x="292" y="1"/>
                        <a:pt x="287" y="0"/>
                        <a:pt x="283" y="0"/>
                      </a:cubicBezTo>
                      <a:lnTo>
                        <a:pt x="283" y="0"/>
                      </a:lnTo>
                      <a:cubicBezTo>
                        <a:pt x="280" y="0"/>
                        <a:pt x="277" y="0"/>
                        <a:pt x="27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50">
                  <a:extLst>
                    <a:ext uri="{FF2B5EF4-FFF2-40B4-BE49-F238E27FC236}">
                      <a16:creationId xmlns:a16="http://schemas.microsoft.com/office/drawing/2014/main" id="{B065D288-B0C1-7E48-8E4A-2C6973C02C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9038" y="823707"/>
                  <a:ext cx="46037" cy="34925"/>
                </a:xfrm>
                <a:custGeom>
                  <a:avLst/>
                  <a:gdLst>
                    <a:gd name="T0" fmla="*/ 8 w 130"/>
                    <a:gd name="T1" fmla="*/ 13 h 97"/>
                    <a:gd name="T2" fmla="*/ 8 w 130"/>
                    <a:gd name="T3" fmla="*/ 13 h 97"/>
                    <a:gd name="T4" fmla="*/ 16 w 130"/>
                    <a:gd name="T5" fmla="*/ 51 h 97"/>
                    <a:gd name="T6" fmla="*/ 16 w 130"/>
                    <a:gd name="T7" fmla="*/ 51 h 97"/>
                    <a:gd name="T8" fmla="*/ 83 w 130"/>
                    <a:gd name="T9" fmla="*/ 88 h 97"/>
                    <a:gd name="T10" fmla="*/ 83 w 130"/>
                    <a:gd name="T11" fmla="*/ 88 h 97"/>
                    <a:gd name="T12" fmla="*/ 121 w 130"/>
                    <a:gd name="T13" fmla="*/ 80 h 97"/>
                    <a:gd name="T14" fmla="*/ 121 w 130"/>
                    <a:gd name="T15" fmla="*/ 80 h 97"/>
                    <a:gd name="T16" fmla="*/ 113 w 130"/>
                    <a:gd name="T17" fmla="*/ 41 h 97"/>
                    <a:gd name="T18" fmla="*/ 113 w 130"/>
                    <a:gd name="T19" fmla="*/ 41 h 97"/>
                    <a:gd name="T20" fmla="*/ 46 w 130"/>
                    <a:gd name="T21" fmla="*/ 4 h 97"/>
                    <a:gd name="T22" fmla="*/ 46 w 130"/>
                    <a:gd name="T23" fmla="*/ 4 h 97"/>
                    <a:gd name="T24" fmla="*/ 31 w 130"/>
                    <a:gd name="T25" fmla="*/ 0 h 97"/>
                    <a:gd name="T26" fmla="*/ 31 w 130"/>
                    <a:gd name="T27" fmla="*/ 0 h 97"/>
                    <a:gd name="T28" fmla="*/ 8 w 130"/>
                    <a:gd name="T29" fmla="*/ 1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0" h="97">
                      <a:moveTo>
                        <a:pt x="8" y="13"/>
                      </a:moveTo>
                      <a:lnTo>
                        <a:pt x="8" y="13"/>
                      </a:lnTo>
                      <a:cubicBezTo>
                        <a:pt x="0" y="25"/>
                        <a:pt x="3" y="44"/>
                        <a:pt x="16" y="51"/>
                      </a:cubicBezTo>
                      <a:lnTo>
                        <a:pt x="16" y="51"/>
                      </a:lnTo>
                      <a:cubicBezTo>
                        <a:pt x="39" y="64"/>
                        <a:pt x="60" y="76"/>
                        <a:pt x="83" y="88"/>
                      </a:cubicBezTo>
                      <a:lnTo>
                        <a:pt x="83" y="88"/>
                      </a:lnTo>
                      <a:cubicBezTo>
                        <a:pt x="96" y="96"/>
                        <a:pt x="113" y="94"/>
                        <a:pt x="121" y="80"/>
                      </a:cubicBezTo>
                      <a:lnTo>
                        <a:pt x="121" y="80"/>
                      </a:lnTo>
                      <a:cubicBezTo>
                        <a:pt x="129" y="68"/>
                        <a:pt x="126" y="49"/>
                        <a:pt x="113" y="41"/>
                      </a:cubicBezTo>
                      <a:lnTo>
                        <a:pt x="113" y="41"/>
                      </a:lnTo>
                      <a:cubicBezTo>
                        <a:pt x="91" y="29"/>
                        <a:pt x="69" y="17"/>
                        <a:pt x="46" y="4"/>
                      </a:cubicBezTo>
                      <a:lnTo>
                        <a:pt x="46" y="4"/>
                      </a:lnTo>
                      <a:cubicBezTo>
                        <a:pt x="41" y="1"/>
                        <a:pt x="36" y="0"/>
                        <a:pt x="31" y="0"/>
                      </a:cubicBezTo>
                      <a:lnTo>
                        <a:pt x="31" y="0"/>
                      </a:lnTo>
                      <a:cubicBezTo>
                        <a:pt x="22" y="0"/>
                        <a:pt x="13" y="4"/>
                        <a:pt x="8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51">
                  <a:extLst>
                    <a:ext uri="{FF2B5EF4-FFF2-40B4-BE49-F238E27FC236}">
                      <a16:creationId xmlns:a16="http://schemas.microsoft.com/office/drawing/2014/main" id="{2469F6FE-26BB-9442-B5C9-AD1C858880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0775" y="939594"/>
                  <a:ext cx="73025" cy="25400"/>
                </a:xfrm>
                <a:custGeom>
                  <a:avLst/>
                  <a:gdLst>
                    <a:gd name="T0" fmla="*/ 1 w 204"/>
                    <a:gd name="T1" fmla="*/ 26 h 72"/>
                    <a:gd name="T2" fmla="*/ 1 w 204"/>
                    <a:gd name="T3" fmla="*/ 26 h 72"/>
                    <a:gd name="T4" fmla="*/ 28 w 204"/>
                    <a:gd name="T5" fmla="*/ 56 h 72"/>
                    <a:gd name="T6" fmla="*/ 28 w 204"/>
                    <a:gd name="T7" fmla="*/ 56 h 72"/>
                    <a:gd name="T8" fmla="*/ 173 w 204"/>
                    <a:gd name="T9" fmla="*/ 70 h 72"/>
                    <a:gd name="T10" fmla="*/ 173 w 204"/>
                    <a:gd name="T11" fmla="*/ 70 h 72"/>
                    <a:gd name="T12" fmla="*/ 202 w 204"/>
                    <a:gd name="T13" fmla="*/ 42 h 72"/>
                    <a:gd name="T14" fmla="*/ 202 w 204"/>
                    <a:gd name="T15" fmla="*/ 42 h 72"/>
                    <a:gd name="T16" fmla="*/ 175 w 204"/>
                    <a:gd name="T17" fmla="*/ 14 h 72"/>
                    <a:gd name="T18" fmla="*/ 175 w 204"/>
                    <a:gd name="T19" fmla="*/ 14 h 72"/>
                    <a:gd name="T20" fmla="*/ 30 w 204"/>
                    <a:gd name="T21" fmla="*/ 0 h 72"/>
                    <a:gd name="T22" fmla="*/ 30 w 204"/>
                    <a:gd name="T23" fmla="*/ 0 h 72"/>
                    <a:gd name="T24" fmla="*/ 28 w 204"/>
                    <a:gd name="T25" fmla="*/ 0 h 72"/>
                    <a:gd name="T26" fmla="*/ 28 w 204"/>
                    <a:gd name="T27" fmla="*/ 0 h 72"/>
                    <a:gd name="T28" fmla="*/ 1 w 204"/>
                    <a:gd name="T29" fmla="*/ 2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4" h="7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2"/>
                        <a:pt x="13" y="54"/>
                        <a:pt x="28" y="56"/>
                      </a:cubicBezTo>
                      <a:lnTo>
                        <a:pt x="28" y="56"/>
                      </a:lnTo>
                      <a:cubicBezTo>
                        <a:pt x="76" y="60"/>
                        <a:pt x="125" y="64"/>
                        <a:pt x="173" y="70"/>
                      </a:cubicBezTo>
                      <a:lnTo>
                        <a:pt x="173" y="70"/>
                      </a:lnTo>
                      <a:cubicBezTo>
                        <a:pt x="188" y="71"/>
                        <a:pt x="201" y="57"/>
                        <a:pt x="202" y="42"/>
                      </a:cubicBezTo>
                      <a:lnTo>
                        <a:pt x="202" y="42"/>
                      </a:lnTo>
                      <a:cubicBezTo>
                        <a:pt x="203" y="27"/>
                        <a:pt x="190" y="15"/>
                        <a:pt x="175" y="14"/>
                      </a:cubicBezTo>
                      <a:lnTo>
                        <a:pt x="175" y="14"/>
                      </a:lnTo>
                      <a:cubicBezTo>
                        <a:pt x="127" y="9"/>
                        <a:pt x="78" y="4"/>
                        <a:pt x="30" y="0"/>
                      </a:cubicBezTo>
                      <a:lnTo>
                        <a:pt x="30" y="0"/>
                      </a:lnTo>
                      <a:cubicBezTo>
                        <a:pt x="29" y="0"/>
                        <a:pt x="28" y="0"/>
                        <a:pt x="28" y="0"/>
                      </a:cubicBezTo>
                      <a:lnTo>
                        <a:pt x="28" y="0"/>
                      </a:lnTo>
                      <a:cubicBezTo>
                        <a:pt x="14" y="0"/>
                        <a:pt x="1" y="13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 52">
                  <a:extLst>
                    <a:ext uri="{FF2B5EF4-FFF2-40B4-BE49-F238E27FC236}">
                      <a16:creationId xmlns:a16="http://schemas.microsoft.com/office/drawing/2014/main" id="{4BEBD7FC-71CD-2544-BB9F-54D54DA82B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50151" y="1076119"/>
                  <a:ext cx="53975" cy="61913"/>
                </a:xfrm>
                <a:custGeom>
                  <a:avLst/>
                  <a:gdLst>
                    <a:gd name="T0" fmla="*/ 115 w 151"/>
                    <a:gd name="T1" fmla="*/ 1 h 171"/>
                    <a:gd name="T2" fmla="*/ 115 w 151"/>
                    <a:gd name="T3" fmla="*/ 1 h 171"/>
                    <a:gd name="T4" fmla="*/ 98 w 151"/>
                    <a:gd name="T5" fmla="*/ 13 h 171"/>
                    <a:gd name="T6" fmla="*/ 98 w 151"/>
                    <a:gd name="T7" fmla="*/ 13 h 171"/>
                    <a:gd name="T8" fmla="*/ 9 w 151"/>
                    <a:gd name="T9" fmla="*/ 126 h 171"/>
                    <a:gd name="T10" fmla="*/ 9 w 151"/>
                    <a:gd name="T11" fmla="*/ 126 h 171"/>
                    <a:gd name="T12" fmla="*/ 18 w 151"/>
                    <a:gd name="T13" fmla="*/ 164 h 171"/>
                    <a:gd name="T14" fmla="*/ 18 w 151"/>
                    <a:gd name="T15" fmla="*/ 164 h 171"/>
                    <a:gd name="T16" fmla="*/ 39 w 151"/>
                    <a:gd name="T17" fmla="*/ 168 h 171"/>
                    <a:gd name="T18" fmla="*/ 39 w 151"/>
                    <a:gd name="T19" fmla="*/ 168 h 171"/>
                    <a:gd name="T20" fmla="*/ 56 w 151"/>
                    <a:gd name="T21" fmla="*/ 156 h 171"/>
                    <a:gd name="T22" fmla="*/ 56 w 151"/>
                    <a:gd name="T23" fmla="*/ 156 h 171"/>
                    <a:gd name="T24" fmla="*/ 145 w 151"/>
                    <a:gd name="T25" fmla="*/ 43 h 171"/>
                    <a:gd name="T26" fmla="*/ 145 w 151"/>
                    <a:gd name="T27" fmla="*/ 43 h 171"/>
                    <a:gd name="T28" fmla="*/ 148 w 151"/>
                    <a:gd name="T29" fmla="*/ 22 h 171"/>
                    <a:gd name="T30" fmla="*/ 148 w 151"/>
                    <a:gd name="T31" fmla="*/ 22 h 171"/>
                    <a:gd name="T32" fmla="*/ 137 w 151"/>
                    <a:gd name="T33" fmla="*/ 5 h 171"/>
                    <a:gd name="T34" fmla="*/ 137 w 151"/>
                    <a:gd name="T35" fmla="*/ 5 h 171"/>
                    <a:gd name="T36" fmla="*/ 121 w 151"/>
                    <a:gd name="T37" fmla="*/ 0 h 171"/>
                    <a:gd name="T38" fmla="*/ 121 w 151"/>
                    <a:gd name="T39" fmla="*/ 0 h 171"/>
                    <a:gd name="T40" fmla="*/ 115 w 151"/>
                    <a:gd name="T41" fmla="*/ 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1" h="171">
                      <a:moveTo>
                        <a:pt x="115" y="1"/>
                      </a:moveTo>
                      <a:lnTo>
                        <a:pt x="115" y="1"/>
                      </a:lnTo>
                      <a:cubicBezTo>
                        <a:pt x="107" y="3"/>
                        <a:pt x="103" y="7"/>
                        <a:pt x="98" y="13"/>
                      </a:cubicBezTo>
                      <a:lnTo>
                        <a:pt x="98" y="13"/>
                      </a:lnTo>
                      <a:cubicBezTo>
                        <a:pt x="68" y="50"/>
                        <a:pt x="38" y="88"/>
                        <a:pt x="9" y="126"/>
                      </a:cubicBezTo>
                      <a:lnTo>
                        <a:pt x="9" y="126"/>
                      </a:lnTo>
                      <a:cubicBezTo>
                        <a:pt x="0" y="137"/>
                        <a:pt x="5" y="156"/>
                        <a:pt x="18" y="164"/>
                      </a:cubicBezTo>
                      <a:lnTo>
                        <a:pt x="18" y="164"/>
                      </a:lnTo>
                      <a:cubicBezTo>
                        <a:pt x="23" y="168"/>
                        <a:pt x="31" y="170"/>
                        <a:pt x="39" y="168"/>
                      </a:cubicBezTo>
                      <a:lnTo>
                        <a:pt x="39" y="168"/>
                      </a:lnTo>
                      <a:cubicBezTo>
                        <a:pt x="46" y="166"/>
                        <a:pt x="51" y="161"/>
                        <a:pt x="56" y="156"/>
                      </a:cubicBezTo>
                      <a:lnTo>
                        <a:pt x="56" y="156"/>
                      </a:lnTo>
                      <a:cubicBezTo>
                        <a:pt x="85" y="118"/>
                        <a:pt x="115" y="80"/>
                        <a:pt x="145" y="43"/>
                      </a:cubicBezTo>
                      <a:lnTo>
                        <a:pt x="145" y="43"/>
                      </a:lnTo>
                      <a:cubicBezTo>
                        <a:pt x="149" y="37"/>
                        <a:pt x="150" y="29"/>
                        <a:pt x="148" y="22"/>
                      </a:cubicBezTo>
                      <a:lnTo>
                        <a:pt x="148" y="22"/>
                      </a:lnTo>
                      <a:cubicBezTo>
                        <a:pt x="147" y="15"/>
                        <a:pt x="142" y="9"/>
                        <a:pt x="137" y="5"/>
                      </a:cubicBezTo>
                      <a:lnTo>
                        <a:pt x="137" y="5"/>
                      </a:lnTo>
                      <a:cubicBezTo>
                        <a:pt x="132" y="2"/>
                        <a:pt x="127" y="0"/>
                        <a:pt x="121" y="0"/>
                      </a:cubicBezTo>
                      <a:lnTo>
                        <a:pt x="121" y="0"/>
                      </a:lnTo>
                      <a:cubicBezTo>
                        <a:pt x="119" y="0"/>
                        <a:pt x="117" y="1"/>
                        <a:pt x="1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53">
                  <a:extLst>
                    <a:ext uri="{FF2B5EF4-FFF2-40B4-BE49-F238E27FC236}">
                      <a16:creationId xmlns:a16="http://schemas.microsoft.com/office/drawing/2014/main" id="{C883EABF-47C2-0144-BDDE-BF9CAC9FE7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7789" y="1158668"/>
                  <a:ext cx="34925" cy="79375"/>
                </a:xfrm>
                <a:custGeom>
                  <a:avLst/>
                  <a:gdLst>
                    <a:gd name="T0" fmla="*/ 39 w 96"/>
                    <a:gd name="T1" fmla="*/ 18 h 222"/>
                    <a:gd name="T2" fmla="*/ 39 w 96"/>
                    <a:gd name="T3" fmla="*/ 18 h 222"/>
                    <a:gd name="T4" fmla="*/ 2 w 96"/>
                    <a:gd name="T5" fmla="*/ 182 h 222"/>
                    <a:gd name="T6" fmla="*/ 2 w 96"/>
                    <a:gd name="T7" fmla="*/ 182 h 222"/>
                    <a:gd name="T8" fmla="*/ 4 w 96"/>
                    <a:gd name="T9" fmla="*/ 203 h 222"/>
                    <a:gd name="T10" fmla="*/ 4 w 96"/>
                    <a:gd name="T11" fmla="*/ 203 h 222"/>
                    <a:gd name="T12" fmla="*/ 20 w 96"/>
                    <a:gd name="T13" fmla="*/ 217 h 222"/>
                    <a:gd name="T14" fmla="*/ 20 w 96"/>
                    <a:gd name="T15" fmla="*/ 217 h 222"/>
                    <a:gd name="T16" fmla="*/ 55 w 96"/>
                    <a:gd name="T17" fmla="*/ 199 h 222"/>
                    <a:gd name="T18" fmla="*/ 55 w 96"/>
                    <a:gd name="T19" fmla="*/ 199 h 222"/>
                    <a:gd name="T20" fmla="*/ 93 w 96"/>
                    <a:gd name="T21" fmla="*/ 36 h 222"/>
                    <a:gd name="T22" fmla="*/ 93 w 96"/>
                    <a:gd name="T23" fmla="*/ 36 h 222"/>
                    <a:gd name="T24" fmla="*/ 91 w 96"/>
                    <a:gd name="T25" fmla="*/ 14 h 222"/>
                    <a:gd name="T26" fmla="*/ 91 w 96"/>
                    <a:gd name="T27" fmla="*/ 14 h 222"/>
                    <a:gd name="T28" fmla="*/ 75 w 96"/>
                    <a:gd name="T29" fmla="*/ 1 h 222"/>
                    <a:gd name="T30" fmla="*/ 75 w 96"/>
                    <a:gd name="T31" fmla="*/ 1 h 222"/>
                    <a:gd name="T32" fmla="*/ 67 w 96"/>
                    <a:gd name="T33" fmla="*/ 0 h 222"/>
                    <a:gd name="T34" fmla="*/ 67 w 96"/>
                    <a:gd name="T35" fmla="*/ 0 h 222"/>
                    <a:gd name="T36" fmla="*/ 39 w 96"/>
                    <a:gd name="T37" fmla="*/ 18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6" h="222">
                      <a:moveTo>
                        <a:pt x="39" y="18"/>
                      </a:moveTo>
                      <a:lnTo>
                        <a:pt x="39" y="18"/>
                      </a:lnTo>
                      <a:cubicBezTo>
                        <a:pt x="27" y="73"/>
                        <a:pt x="14" y="127"/>
                        <a:pt x="2" y="182"/>
                      </a:cubicBezTo>
                      <a:lnTo>
                        <a:pt x="2" y="182"/>
                      </a:lnTo>
                      <a:cubicBezTo>
                        <a:pt x="0" y="189"/>
                        <a:pt x="0" y="196"/>
                        <a:pt x="4" y="203"/>
                      </a:cubicBezTo>
                      <a:lnTo>
                        <a:pt x="4" y="203"/>
                      </a:lnTo>
                      <a:cubicBezTo>
                        <a:pt x="7" y="210"/>
                        <a:pt x="13" y="214"/>
                        <a:pt x="20" y="217"/>
                      </a:cubicBezTo>
                      <a:lnTo>
                        <a:pt x="20" y="217"/>
                      </a:lnTo>
                      <a:cubicBezTo>
                        <a:pt x="34" y="221"/>
                        <a:pt x="52" y="213"/>
                        <a:pt x="55" y="199"/>
                      </a:cubicBezTo>
                      <a:lnTo>
                        <a:pt x="55" y="199"/>
                      </a:lnTo>
                      <a:cubicBezTo>
                        <a:pt x="67" y="145"/>
                        <a:pt x="80" y="90"/>
                        <a:pt x="93" y="36"/>
                      </a:cubicBezTo>
                      <a:lnTo>
                        <a:pt x="93" y="36"/>
                      </a:lnTo>
                      <a:cubicBezTo>
                        <a:pt x="95" y="28"/>
                        <a:pt x="95" y="21"/>
                        <a:pt x="91" y="14"/>
                      </a:cubicBezTo>
                      <a:lnTo>
                        <a:pt x="91" y="14"/>
                      </a:lnTo>
                      <a:cubicBezTo>
                        <a:pt x="87" y="8"/>
                        <a:pt x="82" y="3"/>
                        <a:pt x="75" y="1"/>
                      </a:cubicBezTo>
                      <a:lnTo>
                        <a:pt x="75" y="1"/>
                      </a:lnTo>
                      <a:cubicBezTo>
                        <a:pt x="72" y="0"/>
                        <a:pt x="69" y="0"/>
                        <a:pt x="67" y="0"/>
                      </a:cubicBezTo>
                      <a:lnTo>
                        <a:pt x="67" y="0"/>
                      </a:lnTo>
                      <a:cubicBezTo>
                        <a:pt x="55" y="0"/>
                        <a:pt x="42" y="7"/>
                        <a:pt x="39" y="1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54">
                  <a:extLst>
                    <a:ext uri="{FF2B5EF4-FFF2-40B4-BE49-F238E27FC236}">
                      <a16:creationId xmlns:a16="http://schemas.microsoft.com/office/drawing/2014/main" id="{BF33FDF2-DA1D-484A-A1D0-BF50AF5B46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34315" y="1149145"/>
                  <a:ext cx="52387" cy="74613"/>
                </a:xfrm>
                <a:custGeom>
                  <a:avLst/>
                  <a:gdLst>
                    <a:gd name="T0" fmla="*/ 19 w 147"/>
                    <a:gd name="T1" fmla="*/ 3 h 208"/>
                    <a:gd name="T2" fmla="*/ 19 w 147"/>
                    <a:gd name="T3" fmla="*/ 3 h 208"/>
                    <a:gd name="T4" fmla="*/ 8 w 147"/>
                    <a:gd name="T5" fmla="*/ 41 h 208"/>
                    <a:gd name="T6" fmla="*/ 8 w 147"/>
                    <a:gd name="T7" fmla="*/ 41 h 208"/>
                    <a:gd name="T8" fmla="*/ 89 w 147"/>
                    <a:gd name="T9" fmla="*/ 188 h 208"/>
                    <a:gd name="T10" fmla="*/ 89 w 147"/>
                    <a:gd name="T11" fmla="*/ 188 h 208"/>
                    <a:gd name="T12" fmla="*/ 127 w 147"/>
                    <a:gd name="T13" fmla="*/ 200 h 208"/>
                    <a:gd name="T14" fmla="*/ 127 w 147"/>
                    <a:gd name="T15" fmla="*/ 200 h 208"/>
                    <a:gd name="T16" fmla="*/ 138 w 147"/>
                    <a:gd name="T17" fmla="*/ 162 h 208"/>
                    <a:gd name="T18" fmla="*/ 138 w 147"/>
                    <a:gd name="T19" fmla="*/ 162 h 208"/>
                    <a:gd name="T20" fmla="*/ 57 w 147"/>
                    <a:gd name="T21" fmla="*/ 15 h 208"/>
                    <a:gd name="T22" fmla="*/ 57 w 147"/>
                    <a:gd name="T23" fmla="*/ 15 h 208"/>
                    <a:gd name="T24" fmla="*/ 32 w 147"/>
                    <a:gd name="T25" fmla="*/ 0 h 208"/>
                    <a:gd name="T26" fmla="*/ 32 w 147"/>
                    <a:gd name="T27" fmla="*/ 0 h 208"/>
                    <a:gd name="T28" fmla="*/ 19 w 147"/>
                    <a:gd name="T29" fmla="*/ 3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" h="208">
                      <a:moveTo>
                        <a:pt x="19" y="3"/>
                      </a:moveTo>
                      <a:lnTo>
                        <a:pt x="19" y="3"/>
                      </a:lnTo>
                      <a:cubicBezTo>
                        <a:pt x="6" y="10"/>
                        <a:pt x="0" y="27"/>
                        <a:pt x="8" y="41"/>
                      </a:cubicBezTo>
                      <a:lnTo>
                        <a:pt x="8" y="41"/>
                      </a:lnTo>
                      <a:cubicBezTo>
                        <a:pt x="34" y="90"/>
                        <a:pt x="60" y="140"/>
                        <a:pt x="89" y="188"/>
                      </a:cubicBezTo>
                      <a:lnTo>
                        <a:pt x="89" y="188"/>
                      </a:lnTo>
                      <a:cubicBezTo>
                        <a:pt x="97" y="201"/>
                        <a:pt x="112" y="207"/>
                        <a:pt x="127" y="200"/>
                      </a:cubicBezTo>
                      <a:lnTo>
                        <a:pt x="127" y="200"/>
                      </a:lnTo>
                      <a:cubicBezTo>
                        <a:pt x="140" y="193"/>
                        <a:pt x="146" y="175"/>
                        <a:pt x="138" y="162"/>
                      </a:cubicBezTo>
                      <a:lnTo>
                        <a:pt x="138" y="162"/>
                      </a:lnTo>
                      <a:cubicBezTo>
                        <a:pt x="110" y="114"/>
                        <a:pt x="83" y="65"/>
                        <a:pt x="57" y="15"/>
                      </a:cubicBezTo>
                      <a:lnTo>
                        <a:pt x="57" y="15"/>
                      </a:lnTo>
                      <a:cubicBezTo>
                        <a:pt x="52" y="6"/>
                        <a:pt x="42" y="0"/>
                        <a:pt x="32" y="0"/>
                      </a:cubicBezTo>
                      <a:lnTo>
                        <a:pt x="32" y="0"/>
                      </a:lnTo>
                      <a:cubicBezTo>
                        <a:pt x="28" y="0"/>
                        <a:pt x="23" y="2"/>
                        <a:pt x="1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55">
                  <a:extLst>
                    <a:ext uri="{FF2B5EF4-FFF2-40B4-BE49-F238E27FC236}">
                      <a16:creationId xmlns:a16="http://schemas.microsoft.com/office/drawing/2014/main" id="{B19AE399-4E39-0949-983E-437303F9F8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8616" y="1103108"/>
                  <a:ext cx="41275" cy="52387"/>
                </a:xfrm>
                <a:custGeom>
                  <a:avLst/>
                  <a:gdLst>
                    <a:gd name="T0" fmla="*/ 15 w 116"/>
                    <a:gd name="T1" fmla="*/ 3 h 144"/>
                    <a:gd name="T2" fmla="*/ 15 w 116"/>
                    <a:gd name="T3" fmla="*/ 3 h 144"/>
                    <a:gd name="T4" fmla="*/ 2 w 116"/>
                    <a:gd name="T5" fmla="*/ 19 h 144"/>
                    <a:gd name="T6" fmla="*/ 2 w 116"/>
                    <a:gd name="T7" fmla="*/ 19 h 144"/>
                    <a:gd name="T8" fmla="*/ 4 w 116"/>
                    <a:gd name="T9" fmla="*/ 41 h 144"/>
                    <a:gd name="T10" fmla="*/ 4 w 116"/>
                    <a:gd name="T11" fmla="*/ 41 h 144"/>
                    <a:gd name="T12" fmla="*/ 62 w 116"/>
                    <a:gd name="T13" fmla="*/ 127 h 144"/>
                    <a:gd name="T14" fmla="*/ 62 w 116"/>
                    <a:gd name="T15" fmla="*/ 127 h 144"/>
                    <a:gd name="T16" fmla="*/ 78 w 116"/>
                    <a:gd name="T17" fmla="*/ 141 h 144"/>
                    <a:gd name="T18" fmla="*/ 78 w 116"/>
                    <a:gd name="T19" fmla="*/ 141 h 144"/>
                    <a:gd name="T20" fmla="*/ 99 w 116"/>
                    <a:gd name="T21" fmla="*/ 139 h 144"/>
                    <a:gd name="T22" fmla="*/ 99 w 116"/>
                    <a:gd name="T23" fmla="*/ 139 h 144"/>
                    <a:gd name="T24" fmla="*/ 113 w 116"/>
                    <a:gd name="T25" fmla="*/ 123 h 144"/>
                    <a:gd name="T26" fmla="*/ 113 w 116"/>
                    <a:gd name="T27" fmla="*/ 123 h 144"/>
                    <a:gd name="T28" fmla="*/ 111 w 116"/>
                    <a:gd name="T29" fmla="*/ 101 h 144"/>
                    <a:gd name="T30" fmla="*/ 111 w 116"/>
                    <a:gd name="T31" fmla="*/ 101 h 144"/>
                    <a:gd name="T32" fmla="*/ 53 w 116"/>
                    <a:gd name="T33" fmla="*/ 15 h 144"/>
                    <a:gd name="T34" fmla="*/ 53 w 116"/>
                    <a:gd name="T35" fmla="*/ 15 h 144"/>
                    <a:gd name="T36" fmla="*/ 37 w 116"/>
                    <a:gd name="T37" fmla="*/ 2 h 144"/>
                    <a:gd name="T38" fmla="*/ 37 w 116"/>
                    <a:gd name="T39" fmla="*/ 2 h 144"/>
                    <a:gd name="T40" fmla="*/ 28 w 116"/>
                    <a:gd name="T41" fmla="*/ 0 h 144"/>
                    <a:gd name="T42" fmla="*/ 28 w 116"/>
                    <a:gd name="T43" fmla="*/ 0 h 144"/>
                    <a:gd name="T44" fmla="*/ 15 w 116"/>
                    <a:gd name="T45" fmla="*/ 3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6" h="144">
                      <a:moveTo>
                        <a:pt x="15" y="3"/>
                      </a:moveTo>
                      <a:lnTo>
                        <a:pt x="15" y="3"/>
                      </a:lnTo>
                      <a:cubicBezTo>
                        <a:pt x="9" y="7"/>
                        <a:pt x="4" y="13"/>
                        <a:pt x="2" y="19"/>
                      </a:cubicBezTo>
                      <a:lnTo>
                        <a:pt x="2" y="19"/>
                      </a:lnTo>
                      <a:cubicBezTo>
                        <a:pt x="0" y="26"/>
                        <a:pt x="0" y="35"/>
                        <a:pt x="4" y="41"/>
                      </a:cubicBezTo>
                      <a:lnTo>
                        <a:pt x="4" y="41"/>
                      </a:lnTo>
                      <a:cubicBezTo>
                        <a:pt x="23" y="70"/>
                        <a:pt x="42" y="99"/>
                        <a:pt x="62" y="127"/>
                      </a:cubicBezTo>
                      <a:lnTo>
                        <a:pt x="62" y="127"/>
                      </a:lnTo>
                      <a:cubicBezTo>
                        <a:pt x="66" y="134"/>
                        <a:pt x="70" y="138"/>
                        <a:pt x="78" y="141"/>
                      </a:cubicBezTo>
                      <a:lnTo>
                        <a:pt x="78" y="141"/>
                      </a:lnTo>
                      <a:cubicBezTo>
                        <a:pt x="85" y="143"/>
                        <a:pt x="93" y="143"/>
                        <a:pt x="99" y="139"/>
                      </a:cubicBezTo>
                      <a:lnTo>
                        <a:pt x="99" y="139"/>
                      </a:lnTo>
                      <a:cubicBezTo>
                        <a:pt x="106" y="135"/>
                        <a:pt x="111" y="130"/>
                        <a:pt x="113" y="123"/>
                      </a:cubicBezTo>
                      <a:lnTo>
                        <a:pt x="113" y="123"/>
                      </a:lnTo>
                      <a:cubicBezTo>
                        <a:pt x="115" y="117"/>
                        <a:pt x="115" y="107"/>
                        <a:pt x="111" y="101"/>
                      </a:cubicBezTo>
                      <a:lnTo>
                        <a:pt x="111" y="101"/>
                      </a:lnTo>
                      <a:cubicBezTo>
                        <a:pt x="92" y="73"/>
                        <a:pt x="72" y="44"/>
                        <a:pt x="53" y="15"/>
                      </a:cubicBezTo>
                      <a:lnTo>
                        <a:pt x="53" y="15"/>
                      </a:lnTo>
                      <a:cubicBezTo>
                        <a:pt x="49" y="9"/>
                        <a:pt x="44" y="4"/>
                        <a:pt x="37" y="2"/>
                      </a:cubicBezTo>
                      <a:lnTo>
                        <a:pt x="37" y="2"/>
                      </a:lnTo>
                      <a:cubicBezTo>
                        <a:pt x="34" y="1"/>
                        <a:pt x="31" y="0"/>
                        <a:pt x="28" y="0"/>
                      </a:cubicBezTo>
                      <a:lnTo>
                        <a:pt x="28" y="0"/>
                      </a:lnTo>
                      <a:cubicBezTo>
                        <a:pt x="24" y="0"/>
                        <a:pt x="19" y="2"/>
                        <a:pt x="15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56">
                  <a:extLst>
                    <a:ext uri="{FF2B5EF4-FFF2-40B4-BE49-F238E27FC236}">
                      <a16:creationId xmlns:a16="http://schemas.microsoft.com/office/drawing/2014/main" id="{1D623C99-18ED-1F49-A1D0-BF6CB02FE3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7827" y="972933"/>
                  <a:ext cx="104775" cy="46037"/>
                </a:xfrm>
                <a:custGeom>
                  <a:avLst/>
                  <a:gdLst>
                    <a:gd name="T0" fmla="*/ 253 w 289"/>
                    <a:gd name="T1" fmla="*/ 0 h 126"/>
                    <a:gd name="T2" fmla="*/ 253 w 289"/>
                    <a:gd name="T3" fmla="*/ 0 h 126"/>
                    <a:gd name="T4" fmla="*/ 141 w 289"/>
                    <a:gd name="T5" fmla="*/ 35 h 126"/>
                    <a:gd name="T6" fmla="*/ 141 w 289"/>
                    <a:gd name="T7" fmla="*/ 35 h 126"/>
                    <a:gd name="T8" fmla="*/ 25 w 289"/>
                    <a:gd name="T9" fmla="*/ 67 h 126"/>
                    <a:gd name="T10" fmla="*/ 25 w 289"/>
                    <a:gd name="T11" fmla="*/ 67 h 126"/>
                    <a:gd name="T12" fmla="*/ 4 w 289"/>
                    <a:gd name="T13" fmla="*/ 100 h 126"/>
                    <a:gd name="T14" fmla="*/ 4 w 289"/>
                    <a:gd name="T15" fmla="*/ 100 h 126"/>
                    <a:gd name="T16" fmla="*/ 37 w 289"/>
                    <a:gd name="T17" fmla="*/ 121 h 126"/>
                    <a:gd name="T18" fmla="*/ 37 w 289"/>
                    <a:gd name="T19" fmla="*/ 121 h 126"/>
                    <a:gd name="T20" fmla="*/ 152 w 289"/>
                    <a:gd name="T21" fmla="*/ 89 h 126"/>
                    <a:gd name="T22" fmla="*/ 152 w 289"/>
                    <a:gd name="T23" fmla="*/ 89 h 126"/>
                    <a:gd name="T24" fmla="*/ 265 w 289"/>
                    <a:gd name="T25" fmla="*/ 55 h 126"/>
                    <a:gd name="T26" fmla="*/ 265 w 289"/>
                    <a:gd name="T27" fmla="*/ 55 h 126"/>
                    <a:gd name="T28" fmla="*/ 283 w 289"/>
                    <a:gd name="T29" fmla="*/ 42 h 126"/>
                    <a:gd name="T30" fmla="*/ 283 w 289"/>
                    <a:gd name="T31" fmla="*/ 42 h 126"/>
                    <a:gd name="T32" fmla="*/ 287 w 289"/>
                    <a:gd name="T33" fmla="*/ 21 h 126"/>
                    <a:gd name="T34" fmla="*/ 287 w 289"/>
                    <a:gd name="T35" fmla="*/ 21 h 126"/>
                    <a:gd name="T36" fmla="*/ 275 w 289"/>
                    <a:gd name="T37" fmla="*/ 4 h 126"/>
                    <a:gd name="T38" fmla="*/ 275 w 289"/>
                    <a:gd name="T39" fmla="*/ 4 h 126"/>
                    <a:gd name="T40" fmla="*/ 259 w 289"/>
                    <a:gd name="T41" fmla="*/ 0 h 126"/>
                    <a:gd name="T42" fmla="*/ 259 w 289"/>
                    <a:gd name="T43" fmla="*/ 0 h 126"/>
                    <a:gd name="T44" fmla="*/ 253 w 289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9" h="126">
                      <a:moveTo>
                        <a:pt x="253" y="0"/>
                      </a:moveTo>
                      <a:lnTo>
                        <a:pt x="253" y="0"/>
                      </a:lnTo>
                      <a:cubicBezTo>
                        <a:pt x="216" y="14"/>
                        <a:pt x="179" y="24"/>
                        <a:pt x="141" y="35"/>
                      </a:cubicBezTo>
                      <a:lnTo>
                        <a:pt x="141" y="35"/>
                      </a:lnTo>
                      <a:cubicBezTo>
                        <a:pt x="102" y="45"/>
                        <a:pt x="63" y="56"/>
                        <a:pt x="25" y="67"/>
                      </a:cubicBezTo>
                      <a:lnTo>
                        <a:pt x="25" y="67"/>
                      </a:lnTo>
                      <a:cubicBezTo>
                        <a:pt x="10" y="70"/>
                        <a:pt x="0" y="84"/>
                        <a:pt x="4" y="100"/>
                      </a:cubicBezTo>
                      <a:lnTo>
                        <a:pt x="4" y="100"/>
                      </a:lnTo>
                      <a:cubicBezTo>
                        <a:pt x="7" y="114"/>
                        <a:pt x="22" y="125"/>
                        <a:pt x="37" y="121"/>
                      </a:cubicBezTo>
                      <a:lnTo>
                        <a:pt x="37" y="121"/>
                      </a:lnTo>
                      <a:cubicBezTo>
                        <a:pt x="75" y="110"/>
                        <a:pt x="114" y="100"/>
                        <a:pt x="152" y="89"/>
                      </a:cubicBezTo>
                      <a:lnTo>
                        <a:pt x="152" y="89"/>
                      </a:lnTo>
                      <a:cubicBezTo>
                        <a:pt x="190" y="79"/>
                        <a:pt x="229" y="68"/>
                        <a:pt x="265" y="55"/>
                      </a:cubicBezTo>
                      <a:lnTo>
                        <a:pt x="265" y="55"/>
                      </a:lnTo>
                      <a:cubicBezTo>
                        <a:pt x="273" y="52"/>
                        <a:pt x="278" y="50"/>
                        <a:pt x="283" y="42"/>
                      </a:cubicBezTo>
                      <a:lnTo>
                        <a:pt x="283" y="42"/>
                      </a:lnTo>
                      <a:cubicBezTo>
                        <a:pt x="287" y="37"/>
                        <a:pt x="288" y="28"/>
                        <a:pt x="287" y="21"/>
                      </a:cubicBezTo>
                      <a:lnTo>
                        <a:pt x="287" y="21"/>
                      </a:lnTo>
                      <a:cubicBezTo>
                        <a:pt x="285" y="14"/>
                        <a:pt x="281" y="8"/>
                        <a:pt x="275" y="4"/>
                      </a:cubicBezTo>
                      <a:lnTo>
                        <a:pt x="275" y="4"/>
                      </a:lnTo>
                      <a:cubicBezTo>
                        <a:pt x="271" y="1"/>
                        <a:pt x="265" y="0"/>
                        <a:pt x="259" y="0"/>
                      </a:cubicBezTo>
                      <a:lnTo>
                        <a:pt x="259" y="0"/>
                      </a:lnTo>
                      <a:cubicBezTo>
                        <a:pt x="257" y="0"/>
                        <a:pt x="255" y="0"/>
                        <a:pt x="25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57">
                  <a:extLst>
                    <a:ext uri="{FF2B5EF4-FFF2-40B4-BE49-F238E27FC236}">
                      <a16:creationId xmlns:a16="http://schemas.microsoft.com/office/drawing/2014/main" id="{93FB588F-A826-B145-AFD6-DD2235632D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9413" y="803070"/>
                  <a:ext cx="53975" cy="66675"/>
                </a:xfrm>
                <a:custGeom>
                  <a:avLst/>
                  <a:gdLst>
                    <a:gd name="T0" fmla="*/ 95 w 151"/>
                    <a:gd name="T1" fmla="*/ 13 h 185"/>
                    <a:gd name="T2" fmla="*/ 95 w 151"/>
                    <a:gd name="T3" fmla="*/ 13 h 185"/>
                    <a:gd name="T4" fmla="*/ 9 w 151"/>
                    <a:gd name="T5" fmla="*/ 137 h 185"/>
                    <a:gd name="T6" fmla="*/ 9 w 151"/>
                    <a:gd name="T7" fmla="*/ 137 h 185"/>
                    <a:gd name="T8" fmla="*/ 18 w 151"/>
                    <a:gd name="T9" fmla="*/ 175 h 185"/>
                    <a:gd name="T10" fmla="*/ 18 w 151"/>
                    <a:gd name="T11" fmla="*/ 175 h 185"/>
                    <a:gd name="T12" fmla="*/ 56 w 151"/>
                    <a:gd name="T13" fmla="*/ 167 h 185"/>
                    <a:gd name="T14" fmla="*/ 56 w 151"/>
                    <a:gd name="T15" fmla="*/ 167 h 185"/>
                    <a:gd name="T16" fmla="*/ 142 w 151"/>
                    <a:gd name="T17" fmla="*/ 43 h 185"/>
                    <a:gd name="T18" fmla="*/ 142 w 151"/>
                    <a:gd name="T19" fmla="*/ 43 h 185"/>
                    <a:gd name="T20" fmla="*/ 134 w 151"/>
                    <a:gd name="T21" fmla="*/ 5 h 185"/>
                    <a:gd name="T22" fmla="*/ 134 w 151"/>
                    <a:gd name="T23" fmla="*/ 5 h 185"/>
                    <a:gd name="T24" fmla="*/ 119 w 151"/>
                    <a:gd name="T25" fmla="*/ 0 h 185"/>
                    <a:gd name="T26" fmla="*/ 119 w 151"/>
                    <a:gd name="T27" fmla="*/ 0 h 185"/>
                    <a:gd name="T28" fmla="*/ 95 w 151"/>
                    <a:gd name="T29" fmla="*/ 1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1" h="185">
                      <a:moveTo>
                        <a:pt x="95" y="13"/>
                      </a:moveTo>
                      <a:lnTo>
                        <a:pt x="95" y="13"/>
                      </a:lnTo>
                      <a:cubicBezTo>
                        <a:pt x="69" y="56"/>
                        <a:pt x="39" y="96"/>
                        <a:pt x="9" y="137"/>
                      </a:cubicBezTo>
                      <a:lnTo>
                        <a:pt x="9" y="137"/>
                      </a:lnTo>
                      <a:cubicBezTo>
                        <a:pt x="0" y="148"/>
                        <a:pt x="5" y="167"/>
                        <a:pt x="18" y="175"/>
                      </a:cubicBezTo>
                      <a:lnTo>
                        <a:pt x="18" y="175"/>
                      </a:lnTo>
                      <a:cubicBezTo>
                        <a:pt x="31" y="184"/>
                        <a:pt x="47" y="179"/>
                        <a:pt x="56" y="167"/>
                      </a:cubicBezTo>
                      <a:lnTo>
                        <a:pt x="56" y="167"/>
                      </a:lnTo>
                      <a:cubicBezTo>
                        <a:pt x="86" y="127"/>
                        <a:pt x="117" y="86"/>
                        <a:pt x="142" y="43"/>
                      </a:cubicBezTo>
                      <a:lnTo>
                        <a:pt x="142" y="43"/>
                      </a:lnTo>
                      <a:cubicBezTo>
                        <a:pt x="150" y="30"/>
                        <a:pt x="147" y="13"/>
                        <a:pt x="134" y="5"/>
                      </a:cubicBezTo>
                      <a:lnTo>
                        <a:pt x="134" y="5"/>
                      </a:lnTo>
                      <a:cubicBezTo>
                        <a:pt x="129" y="2"/>
                        <a:pt x="124" y="0"/>
                        <a:pt x="119" y="0"/>
                      </a:cubicBezTo>
                      <a:lnTo>
                        <a:pt x="119" y="0"/>
                      </a:lnTo>
                      <a:cubicBezTo>
                        <a:pt x="110" y="0"/>
                        <a:pt x="101" y="5"/>
                        <a:pt x="95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8">
                  <a:extLst>
                    <a:ext uri="{FF2B5EF4-FFF2-40B4-BE49-F238E27FC236}">
                      <a16:creationId xmlns:a16="http://schemas.microsoft.com/office/drawing/2014/main" id="{62F95647-AC8F-9741-9AD9-2DBE001548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1300" y="730044"/>
                  <a:ext cx="31750" cy="57150"/>
                </a:xfrm>
                <a:custGeom>
                  <a:avLst/>
                  <a:gdLst>
                    <a:gd name="T0" fmla="*/ 28 w 87"/>
                    <a:gd name="T1" fmla="*/ 19 h 157"/>
                    <a:gd name="T2" fmla="*/ 28 w 87"/>
                    <a:gd name="T3" fmla="*/ 19 h 157"/>
                    <a:gd name="T4" fmla="*/ 4 w 87"/>
                    <a:gd name="T5" fmla="*/ 117 h 157"/>
                    <a:gd name="T6" fmla="*/ 4 w 87"/>
                    <a:gd name="T7" fmla="*/ 117 h 157"/>
                    <a:gd name="T8" fmla="*/ 22 w 87"/>
                    <a:gd name="T9" fmla="*/ 152 h 157"/>
                    <a:gd name="T10" fmla="*/ 22 w 87"/>
                    <a:gd name="T11" fmla="*/ 152 h 157"/>
                    <a:gd name="T12" fmla="*/ 57 w 87"/>
                    <a:gd name="T13" fmla="*/ 134 h 157"/>
                    <a:gd name="T14" fmla="*/ 57 w 87"/>
                    <a:gd name="T15" fmla="*/ 134 h 157"/>
                    <a:gd name="T16" fmla="*/ 81 w 87"/>
                    <a:gd name="T17" fmla="*/ 37 h 157"/>
                    <a:gd name="T18" fmla="*/ 81 w 87"/>
                    <a:gd name="T19" fmla="*/ 37 h 157"/>
                    <a:gd name="T20" fmla="*/ 64 w 87"/>
                    <a:gd name="T21" fmla="*/ 1 h 157"/>
                    <a:gd name="T22" fmla="*/ 64 w 87"/>
                    <a:gd name="T23" fmla="*/ 1 h 157"/>
                    <a:gd name="T24" fmla="*/ 56 w 87"/>
                    <a:gd name="T25" fmla="*/ 0 h 157"/>
                    <a:gd name="T26" fmla="*/ 56 w 87"/>
                    <a:gd name="T27" fmla="*/ 0 h 157"/>
                    <a:gd name="T28" fmla="*/ 28 w 87"/>
                    <a:gd name="T29" fmla="*/ 1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" h="157">
                      <a:moveTo>
                        <a:pt x="28" y="19"/>
                      </a:moveTo>
                      <a:lnTo>
                        <a:pt x="28" y="19"/>
                      </a:lnTo>
                      <a:cubicBezTo>
                        <a:pt x="20" y="52"/>
                        <a:pt x="12" y="85"/>
                        <a:pt x="4" y="117"/>
                      </a:cubicBezTo>
                      <a:lnTo>
                        <a:pt x="4" y="117"/>
                      </a:lnTo>
                      <a:cubicBezTo>
                        <a:pt x="0" y="132"/>
                        <a:pt x="7" y="148"/>
                        <a:pt x="22" y="152"/>
                      </a:cubicBezTo>
                      <a:lnTo>
                        <a:pt x="22" y="152"/>
                      </a:lnTo>
                      <a:cubicBezTo>
                        <a:pt x="36" y="156"/>
                        <a:pt x="53" y="149"/>
                        <a:pt x="57" y="134"/>
                      </a:cubicBezTo>
                      <a:lnTo>
                        <a:pt x="57" y="134"/>
                      </a:lnTo>
                      <a:cubicBezTo>
                        <a:pt x="65" y="102"/>
                        <a:pt x="73" y="69"/>
                        <a:pt x="81" y="37"/>
                      </a:cubicBezTo>
                      <a:lnTo>
                        <a:pt x="81" y="37"/>
                      </a:lnTo>
                      <a:cubicBezTo>
                        <a:pt x="86" y="22"/>
                        <a:pt x="78" y="6"/>
                        <a:pt x="64" y="1"/>
                      </a:cubicBezTo>
                      <a:lnTo>
                        <a:pt x="64" y="1"/>
                      </a:lnTo>
                      <a:cubicBezTo>
                        <a:pt x="61" y="1"/>
                        <a:pt x="58" y="0"/>
                        <a:pt x="56" y="0"/>
                      </a:cubicBezTo>
                      <a:lnTo>
                        <a:pt x="56" y="0"/>
                      </a:lnTo>
                      <a:cubicBezTo>
                        <a:pt x="44" y="0"/>
                        <a:pt x="31" y="7"/>
                        <a:pt x="28" y="1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59">
                  <a:extLst>
                    <a:ext uri="{FF2B5EF4-FFF2-40B4-BE49-F238E27FC236}">
                      <a16:creationId xmlns:a16="http://schemas.microsoft.com/office/drawing/2014/main" id="{C27BA42F-A962-A546-8897-F7E086431D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69212" y="663370"/>
                  <a:ext cx="31750" cy="79375"/>
                </a:xfrm>
                <a:custGeom>
                  <a:avLst/>
                  <a:gdLst>
                    <a:gd name="T0" fmla="*/ 24 w 89"/>
                    <a:gd name="T1" fmla="*/ 0 h 219"/>
                    <a:gd name="T2" fmla="*/ 24 w 89"/>
                    <a:gd name="T3" fmla="*/ 0 h 219"/>
                    <a:gd name="T4" fmla="*/ 3 w 89"/>
                    <a:gd name="T5" fmla="*/ 34 h 219"/>
                    <a:gd name="T6" fmla="*/ 3 w 89"/>
                    <a:gd name="T7" fmla="*/ 34 h 219"/>
                    <a:gd name="T8" fmla="*/ 31 w 89"/>
                    <a:gd name="T9" fmla="*/ 193 h 219"/>
                    <a:gd name="T10" fmla="*/ 31 w 89"/>
                    <a:gd name="T11" fmla="*/ 193 h 219"/>
                    <a:gd name="T12" fmla="*/ 64 w 89"/>
                    <a:gd name="T13" fmla="*/ 214 h 219"/>
                    <a:gd name="T14" fmla="*/ 64 w 89"/>
                    <a:gd name="T15" fmla="*/ 214 h 219"/>
                    <a:gd name="T16" fmla="*/ 85 w 89"/>
                    <a:gd name="T17" fmla="*/ 181 h 219"/>
                    <a:gd name="T18" fmla="*/ 85 w 89"/>
                    <a:gd name="T19" fmla="*/ 181 h 219"/>
                    <a:gd name="T20" fmla="*/ 57 w 89"/>
                    <a:gd name="T21" fmla="*/ 22 h 219"/>
                    <a:gd name="T22" fmla="*/ 57 w 89"/>
                    <a:gd name="T23" fmla="*/ 22 h 219"/>
                    <a:gd name="T24" fmla="*/ 30 w 89"/>
                    <a:gd name="T25" fmla="*/ 0 h 219"/>
                    <a:gd name="T26" fmla="*/ 30 w 89"/>
                    <a:gd name="T27" fmla="*/ 0 h 219"/>
                    <a:gd name="T28" fmla="*/ 24 w 89"/>
                    <a:gd name="T29" fmla="*/ 0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9" h="219">
                      <a:moveTo>
                        <a:pt x="24" y="0"/>
                      </a:moveTo>
                      <a:lnTo>
                        <a:pt x="24" y="0"/>
                      </a:lnTo>
                      <a:cubicBezTo>
                        <a:pt x="9" y="4"/>
                        <a:pt x="0" y="19"/>
                        <a:pt x="3" y="34"/>
                      </a:cubicBezTo>
                      <a:lnTo>
                        <a:pt x="3" y="34"/>
                      </a:lnTo>
                      <a:cubicBezTo>
                        <a:pt x="13" y="87"/>
                        <a:pt x="22" y="140"/>
                        <a:pt x="31" y="193"/>
                      </a:cubicBezTo>
                      <a:lnTo>
                        <a:pt x="31" y="193"/>
                      </a:lnTo>
                      <a:cubicBezTo>
                        <a:pt x="34" y="208"/>
                        <a:pt x="50" y="218"/>
                        <a:pt x="64" y="214"/>
                      </a:cubicBezTo>
                      <a:lnTo>
                        <a:pt x="64" y="214"/>
                      </a:lnTo>
                      <a:cubicBezTo>
                        <a:pt x="80" y="211"/>
                        <a:pt x="88" y="196"/>
                        <a:pt x="85" y="181"/>
                      </a:cubicBezTo>
                      <a:lnTo>
                        <a:pt x="85" y="181"/>
                      </a:lnTo>
                      <a:cubicBezTo>
                        <a:pt x="76" y="128"/>
                        <a:pt x="67" y="75"/>
                        <a:pt x="57" y="22"/>
                      </a:cubicBezTo>
                      <a:lnTo>
                        <a:pt x="57" y="22"/>
                      </a:lnTo>
                      <a:cubicBezTo>
                        <a:pt x="55" y="9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21EAC1D1-2F32-FF46-8D61-5E28A91B7305}"/>
                  </a:ext>
                </a:extLst>
              </p:cNvPr>
              <p:cNvGrpSpPr/>
              <p:nvPr/>
            </p:nvGrpSpPr>
            <p:grpSpPr>
              <a:xfrm>
                <a:off x="1817603" y="3288242"/>
                <a:ext cx="1222481" cy="822896"/>
                <a:chOff x="4562475" y="4438650"/>
                <a:chExt cx="1554163" cy="1046163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118" name="Freeform 71">
                  <a:extLst>
                    <a:ext uri="{FF2B5EF4-FFF2-40B4-BE49-F238E27FC236}">
                      <a16:creationId xmlns:a16="http://schemas.microsoft.com/office/drawing/2014/main" id="{5017874D-F35E-4747-844B-A1CA35F24F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7713" y="4589463"/>
                  <a:ext cx="20637" cy="20637"/>
                </a:xfrm>
                <a:custGeom>
                  <a:avLst/>
                  <a:gdLst>
                    <a:gd name="T0" fmla="*/ 11 w 59"/>
                    <a:gd name="T1" fmla="*/ 6 h 56"/>
                    <a:gd name="T2" fmla="*/ 11 w 59"/>
                    <a:gd name="T3" fmla="*/ 6 h 56"/>
                    <a:gd name="T4" fmla="*/ 1 w 59"/>
                    <a:gd name="T5" fmla="*/ 25 h 56"/>
                    <a:gd name="T6" fmla="*/ 1 w 59"/>
                    <a:gd name="T7" fmla="*/ 25 h 56"/>
                    <a:gd name="T8" fmla="*/ 27 w 59"/>
                    <a:gd name="T9" fmla="*/ 55 h 56"/>
                    <a:gd name="T10" fmla="*/ 27 w 59"/>
                    <a:gd name="T11" fmla="*/ 55 h 56"/>
                    <a:gd name="T12" fmla="*/ 47 w 59"/>
                    <a:gd name="T13" fmla="*/ 48 h 56"/>
                    <a:gd name="T14" fmla="*/ 47 w 59"/>
                    <a:gd name="T15" fmla="*/ 48 h 56"/>
                    <a:gd name="T16" fmla="*/ 57 w 59"/>
                    <a:gd name="T17" fmla="*/ 29 h 56"/>
                    <a:gd name="T18" fmla="*/ 57 w 59"/>
                    <a:gd name="T19" fmla="*/ 29 h 56"/>
                    <a:gd name="T20" fmla="*/ 31 w 59"/>
                    <a:gd name="T21" fmla="*/ 0 h 56"/>
                    <a:gd name="T22" fmla="*/ 31 w 59"/>
                    <a:gd name="T23" fmla="*/ 0 h 56"/>
                    <a:gd name="T24" fmla="*/ 11 w 59"/>
                    <a:gd name="T25" fmla="*/ 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9" h="56">
                      <a:moveTo>
                        <a:pt x="11" y="6"/>
                      </a:moveTo>
                      <a:lnTo>
                        <a:pt x="11" y="6"/>
                      </a:lnTo>
                      <a:cubicBezTo>
                        <a:pt x="5" y="11"/>
                        <a:pt x="2" y="17"/>
                        <a:pt x="1" y="25"/>
                      </a:cubicBezTo>
                      <a:lnTo>
                        <a:pt x="1" y="25"/>
                      </a:lnTo>
                      <a:cubicBezTo>
                        <a:pt x="0" y="39"/>
                        <a:pt x="12" y="55"/>
                        <a:pt x="27" y="55"/>
                      </a:cubicBezTo>
                      <a:lnTo>
                        <a:pt x="27" y="55"/>
                      </a:lnTo>
                      <a:cubicBezTo>
                        <a:pt x="34" y="55"/>
                        <a:pt x="41" y="53"/>
                        <a:pt x="47" y="48"/>
                      </a:cubicBezTo>
                      <a:lnTo>
                        <a:pt x="47" y="48"/>
                      </a:lnTo>
                      <a:cubicBezTo>
                        <a:pt x="53" y="43"/>
                        <a:pt x="56" y="36"/>
                        <a:pt x="57" y="29"/>
                      </a:cubicBezTo>
                      <a:lnTo>
                        <a:pt x="57" y="29"/>
                      </a:lnTo>
                      <a:cubicBezTo>
                        <a:pt x="58" y="15"/>
                        <a:pt x="46" y="0"/>
                        <a:pt x="31" y="0"/>
                      </a:cubicBezTo>
                      <a:lnTo>
                        <a:pt x="31" y="0"/>
                      </a:lnTo>
                      <a:cubicBezTo>
                        <a:pt x="23" y="0"/>
                        <a:pt x="17" y="1"/>
                        <a:pt x="11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72">
                  <a:extLst>
                    <a:ext uri="{FF2B5EF4-FFF2-40B4-BE49-F238E27FC236}">
                      <a16:creationId xmlns:a16="http://schemas.microsoft.com/office/drawing/2014/main" id="{DF0BEB73-5BE1-324A-8FEE-A4E6ACB432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4863" y="4457700"/>
                  <a:ext cx="1501775" cy="904875"/>
                </a:xfrm>
                <a:custGeom>
                  <a:avLst/>
                  <a:gdLst>
                    <a:gd name="T0" fmla="*/ 147 w 4172"/>
                    <a:gd name="T1" fmla="*/ 2224 h 2515"/>
                    <a:gd name="T2" fmla="*/ 67 w 4172"/>
                    <a:gd name="T3" fmla="*/ 1836 h 2515"/>
                    <a:gd name="T4" fmla="*/ 4052 w 4172"/>
                    <a:gd name="T5" fmla="*/ 58 h 2515"/>
                    <a:gd name="T6" fmla="*/ 3659 w 4172"/>
                    <a:gd name="T7" fmla="*/ 319 h 2515"/>
                    <a:gd name="T8" fmla="*/ 3385 w 4172"/>
                    <a:gd name="T9" fmla="*/ 552 h 2515"/>
                    <a:gd name="T10" fmla="*/ 2935 w 4172"/>
                    <a:gd name="T11" fmla="*/ 1065 h 2515"/>
                    <a:gd name="T12" fmla="*/ 2657 w 4172"/>
                    <a:gd name="T13" fmla="*/ 1366 h 2515"/>
                    <a:gd name="T14" fmla="*/ 2258 w 4172"/>
                    <a:gd name="T15" fmla="*/ 1725 h 2515"/>
                    <a:gd name="T16" fmla="*/ 2054 w 4172"/>
                    <a:gd name="T17" fmla="*/ 1887 h 2515"/>
                    <a:gd name="T18" fmla="*/ 1728 w 4172"/>
                    <a:gd name="T19" fmla="*/ 2110 h 2515"/>
                    <a:gd name="T20" fmla="*/ 1469 w 4172"/>
                    <a:gd name="T21" fmla="*/ 2242 h 2515"/>
                    <a:gd name="T22" fmla="*/ 1044 w 4172"/>
                    <a:gd name="T23" fmla="*/ 2399 h 2515"/>
                    <a:gd name="T24" fmla="*/ 797 w 4172"/>
                    <a:gd name="T25" fmla="*/ 2450 h 2515"/>
                    <a:gd name="T26" fmla="*/ 148 w 4172"/>
                    <a:gd name="T27" fmla="*/ 2225 h 2515"/>
                    <a:gd name="T28" fmla="*/ 133 w 4172"/>
                    <a:gd name="T29" fmla="*/ 1660 h 2515"/>
                    <a:gd name="T30" fmla="*/ 505 w 4172"/>
                    <a:gd name="T31" fmla="*/ 1231 h 2515"/>
                    <a:gd name="T32" fmla="*/ 830 w 4172"/>
                    <a:gd name="T33" fmla="*/ 999 h 2515"/>
                    <a:gd name="T34" fmla="*/ 1002 w 4172"/>
                    <a:gd name="T35" fmla="*/ 907 h 2515"/>
                    <a:gd name="T36" fmla="*/ 1368 w 4172"/>
                    <a:gd name="T37" fmla="*/ 742 h 2515"/>
                    <a:gd name="T38" fmla="*/ 1699 w 4172"/>
                    <a:gd name="T39" fmla="*/ 623 h 2515"/>
                    <a:gd name="T40" fmla="*/ 2318 w 4172"/>
                    <a:gd name="T41" fmla="*/ 465 h 2515"/>
                    <a:gd name="T42" fmla="*/ 2228 w 4172"/>
                    <a:gd name="T43" fmla="*/ 623 h 2515"/>
                    <a:gd name="T44" fmla="*/ 2089 w 4172"/>
                    <a:gd name="T45" fmla="*/ 879 h 2515"/>
                    <a:gd name="T46" fmla="*/ 2201 w 4172"/>
                    <a:gd name="T47" fmla="*/ 793 h 2515"/>
                    <a:gd name="T48" fmla="*/ 2450 w 4172"/>
                    <a:gd name="T49" fmla="*/ 601 h 2515"/>
                    <a:gd name="T50" fmla="*/ 2743 w 4172"/>
                    <a:gd name="T51" fmla="*/ 438 h 2515"/>
                    <a:gd name="T52" fmla="*/ 3097 w 4172"/>
                    <a:gd name="T53" fmla="*/ 296 h 2515"/>
                    <a:gd name="T54" fmla="*/ 3794 w 4172"/>
                    <a:gd name="T55" fmla="*/ 88 h 2515"/>
                    <a:gd name="T56" fmla="*/ 3672 w 4172"/>
                    <a:gd name="T57" fmla="*/ 63 h 2515"/>
                    <a:gd name="T58" fmla="*/ 2906 w 4172"/>
                    <a:gd name="T59" fmla="*/ 306 h 2515"/>
                    <a:gd name="T60" fmla="*/ 2662 w 4172"/>
                    <a:gd name="T61" fmla="*/ 416 h 2515"/>
                    <a:gd name="T62" fmla="*/ 2352 w 4172"/>
                    <a:gd name="T63" fmla="*/ 600 h 2515"/>
                    <a:gd name="T64" fmla="*/ 2350 w 4172"/>
                    <a:gd name="T65" fmla="*/ 556 h 2515"/>
                    <a:gd name="T66" fmla="*/ 2446 w 4172"/>
                    <a:gd name="T67" fmla="*/ 421 h 2515"/>
                    <a:gd name="T68" fmla="*/ 2348 w 4172"/>
                    <a:gd name="T69" fmla="*/ 402 h 2515"/>
                    <a:gd name="T70" fmla="*/ 1769 w 4172"/>
                    <a:gd name="T71" fmla="*/ 545 h 2515"/>
                    <a:gd name="T72" fmla="*/ 1501 w 4172"/>
                    <a:gd name="T73" fmla="*/ 632 h 2515"/>
                    <a:gd name="T74" fmla="*/ 1128 w 4172"/>
                    <a:gd name="T75" fmla="*/ 785 h 2515"/>
                    <a:gd name="T76" fmla="*/ 886 w 4172"/>
                    <a:gd name="T77" fmla="*/ 904 h 2515"/>
                    <a:gd name="T78" fmla="*/ 580 w 4172"/>
                    <a:gd name="T79" fmla="*/ 1101 h 2515"/>
                    <a:gd name="T80" fmla="*/ 377 w 4172"/>
                    <a:gd name="T81" fmla="*/ 1268 h 2515"/>
                    <a:gd name="T82" fmla="*/ 18 w 4172"/>
                    <a:gd name="T83" fmla="*/ 1803 h 2515"/>
                    <a:gd name="T84" fmla="*/ 151 w 4172"/>
                    <a:gd name="T85" fmla="*/ 2323 h 2515"/>
                    <a:gd name="T86" fmla="*/ 708 w 4172"/>
                    <a:gd name="T87" fmla="*/ 2513 h 2515"/>
                    <a:gd name="T88" fmla="*/ 1009 w 4172"/>
                    <a:gd name="T89" fmla="*/ 2464 h 2515"/>
                    <a:gd name="T90" fmla="*/ 1279 w 4172"/>
                    <a:gd name="T91" fmla="*/ 2383 h 2515"/>
                    <a:gd name="T92" fmla="*/ 1573 w 4172"/>
                    <a:gd name="T93" fmla="*/ 2254 h 2515"/>
                    <a:gd name="T94" fmla="*/ 1826 w 4172"/>
                    <a:gd name="T95" fmla="*/ 2114 h 2515"/>
                    <a:gd name="T96" fmla="*/ 2115 w 4172"/>
                    <a:gd name="T97" fmla="*/ 1911 h 2515"/>
                    <a:gd name="T98" fmla="*/ 2462 w 4172"/>
                    <a:gd name="T99" fmla="*/ 1623 h 2515"/>
                    <a:gd name="T100" fmla="*/ 2712 w 4172"/>
                    <a:gd name="T101" fmla="*/ 1389 h 2515"/>
                    <a:gd name="T102" fmla="*/ 3177 w 4172"/>
                    <a:gd name="T103" fmla="*/ 864 h 2515"/>
                    <a:gd name="T104" fmla="*/ 3392 w 4172"/>
                    <a:gd name="T105" fmla="*/ 622 h 2515"/>
                    <a:gd name="T106" fmla="*/ 3706 w 4172"/>
                    <a:gd name="T107" fmla="*/ 352 h 2515"/>
                    <a:gd name="T108" fmla="*/ 4095 w 4172"/>
                    <a:gd name="T109" fmla="*/ 101 h 2515"/>
                    <a:gd name="T110" fmla="*/ 4157 w 4172"/>
                    <a:gd name="T111" fmla="*/ 14 h 2515"/>
                    <a:gd name="T112" fmla="*/ 4108 w 4172"/>
                    <a:gd name="T113" fmla="*/ 6 h 2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172" h="2515">
                      <a:moveTo>
                        <a:pt x="472" y="2442"/>
                      </a:moveTo>
                      <a:lnTo>
                        <a:pt x="472" y="2442"/>
                      </a:lnTo>
                      <a:cubicBezTo>
                        <a:pt x="472" y="2442"/>
                        <a:pt x="473" y="2442"/>
                        <a:pt x="474" y="2443"/>
                      </a:cubicBezTo>
                      <a:lnTo>
                        <a:pt x="474" y="2443"/>
                      </a:lnTo>
                      <a:cubicBezTo>
                        <a:pt x="473" y="2442"/>
                        <a:pt x="472" y="2442"/>
                        <a:pt x="472" y="2442"/>
                      </a:cubicBezTo>
                      <a:close/>
                      <a:moveTo>
                        <a:pt x="145" y="2222"/>
                      </a:moveTo>
                      <a:lnTo>
                        <a:pt x="145" y="2222"/>
                      </a:lnTo>
                      <a:cubicBezTo>
                        <a:pt x="146" y="2223"/>
                        <a:pt x="146" y="2223"/>
                        <a:pt x="147" y="2224"/>
                      </a:cubicBezTo>
                      <a:lnTo>
                        <a:pt x="147" y="2224"/>
                      </a:lnTo>
                      <a:cubicBezTo>
                        <a:pt x="146" y="2223"/>
                        <a:pt x="146" y="2223"/>
                        <a:pt x="145" y="2222"/>
                      </a:cubicBezTo>
                      <a:close/>
                      <a:moveTo>
                        <a:pt x="80" y="2089"/>
                      </a:moveTo>
                      <a:lnTo>
                        <a:pt x="80" y="2089"/>
                      </a:lnTo>
                      <a:cubicBezTo>
                        <a:pt x="81" y="2090"/>
                        <a:pt x="81" y="2091"/>
                        <a:pt x="81" y="2092"/>
                      </a:cubicBezTo>
                      <a:lnTo>
                        <a:pt x="81" y="2092"/>
                      </a:lnTo>
                      <a:cubicBezTo>
                        <a:pt x="81" y="2091"/>
                        <a:pt x="81" y="2090"/>
                        <a:pt x="80" y="2089"/>
                      </a:cubicBezTo>
                      <a:close/>
                      <a:moveTo>
                        <a:pt x="68" y="1829"/>
                      </a:moveTo>
                      <a:lnTo>
                        <a:pt x="68" y="1829"/>
                      </a:lnTo>
                      <a:cubicBezTo>
                        <a:pt x="68" y="1831"/>
                        <a:pt x="67" y="1834"/>
                        <a:pt x="67" y="1836"/>
                      </a:cubicBezTo>
                      <a:lnTo>
                        <a:pt x="67" y="1836"/>
                      </a:lnTo>
                      <a:cubicBezTo>
                        <a:pt x="67" y="1834"/>
                        <a:pt x="68" y="1831"/>
                        <a:pt x="68" y="1829"/>
                      </a:cubicBezTo>
                      <a:close/>
                      <a:moveTo>
                        <a:pt x="3103" y="293"/>
                      </a:moveTo>
                      <a:lnTo>
                        <a:pt x="3103" y="293"/>
                      </a:lnTo>
                      <a:cubicBezTo>
                        <a:pt x="3101" y="294"/>
                        <a:pt x="3099" y="295"/>
                        <a:pt x="3097" y="295"/>
                      </a:cubicBezTo>
                      <a:lnTo>
                        <a:pt x="3097" y="295"/>
                      </a:lnTo>
                      <a:cubicBezTo>
                        <a:pt x="3099" y="295"/>
                        <a:pt x="3101" y="294"/>
                        <a:pt x="3103" y="293"/>
                      </a:cubicBezTo>
                      <a:close/>
                      <a:moveTo>
                        <a:pt x="4052" y="58"/>
                      </a:moveTo>
                      <a:lnTo>
                        <a:pt x="4052" y="58"/>
                      </a:lnTo>
                      <a:cubicBezTo>
                        <a:pt x="4042" y="63"/>
                        <a:pt x="4031" y="68"/>
                        <a:pt x="4021" y="74"/>
                      </a:cubicBezTo>
                      <a:lnTo>
                        <a:pt x="4021" y="74"/>
                      </a:lnTo>
                      <a:cubicBezTo>
                        <a:pt x="4018" y="76"/>
                        <a:pt x="4015" y="78"/>
                        <a:pt x="4012" y="81"/>
                      </a:cubicBezTo>
                      <a:lnTo>
                        <a:pt x="4012" y="81"/>
                      </a:lnTo>
                      <a:cubicBezTo>
                        <a:pt x="3974" y="102"/>
                        <a:pt x="3937" y="124"/>
                        <a:pt x="3899" y="147"/>
                      </a:cubicBezTo>
                      <a:lnTo>
                        <a:pt x="3899" y="147"/>
                      </a:lnTo>
                      <a:cubicBezTo>
                        <a:pt x="3845" y="180"/>
                        <a:pt x="3792" y="218"/>
                        <a:pt x="3740" y="256"/>
                      </a:cubicBezTo>
                      <a:lnTo>
                        <a:pt x="3740" y="256"/>
                      </a:lnTo>
                      <a:cubicBezTo>
                        <a:pt x="3713" y="276"/>
                        <a:pt x="3685" y="297"/>
                        <a:pt x="3659" y="319"/>
                      </a:cubicBezTo>
                      <a:lnTo>
                        <a:pt x="3659" y="319"/>
                      </a:lnTo>
                      <a:cubicBezTo>
                        <a:pt x="3636" y="338"/>
                        <a:pt x="3613" y="356"/>
                        <a:pt x="3590" y="374"/>
                      </a:cubicBezTo>
                      <a:lnTo>
                        <a:pt x="3590" y="374"/>
                      </a:lnTo>
                      <a:cubicBezTo>
                        <a:pt x="3558" y="400"/>
                        <a:pt x="3525" y="425"/>
                        <a:pt x="3495" y="452"/>
                      </a:cubicBezTo>
                      <a:lnTo>
                        <a:pt x="3495" y="452"/>
                      </a:lnTo>
                      <a:cubicBezTo>
                        <a:pt x="3472" y="473"/>
                        <a:pt x="3449" y="493"/>
                        <a:pt x="3426" y="513"/>
                      </a:cubicBezTo>
                      <a:lnTo>
                        <a:pt x="3426" y="513"/>
                      </a:lnTo>
                      <a:cubicBezTo>
                        <a:pt x="3412" y="526"/>
                        <a:pt x="3399" y="539"/>
                        <a:pt x="3385" y="552"/>
                      </a:cubicBezTo>
                      <a:lnTo>
                        <a:pt x="3385" y="552"/>
                      </a:lnTo>
                      <a:cubicBezTo>
                        <a:pt x="3368" y="568"/>
                        <a:pt x="3352" y="584"/>
                        <a:pt x="3337" y="601"/>
                      </a:cubicBezTo>
                      <a:lnTo>
                        <a:pt x="3337" y="601"/>
                      </a:lnTo>
                      <a:cubicBezTo>
                        <a:pt x="3322" y="616"/>
                        <a:pt x="3307" y="633"/>
                        <a:pt x="3292" y="649"/>
                      </a:cubicBezTo>
                      <a:lnTo>
                        <a:pt x="3292" y="649"/>
                      </a:lnTo>
                      <a:cubicBezTo>
                        <a:pt x="3259" y="685"/>
                        <a:pt x="3226" y="722"/>
                        <a:pt x="3194" y="759"/>
                      </a:cubicBezTo>
                      <a:lnTo>
                        <a:pt x="3194" y="759"/>
                      </a:lnTo>
                      <a:cubicBezTo>
                        <a:pt x="3138" y="823"/>
                        <a:pt x="3084" y="888"/>
                        <a:pt x="3030" y="953"/>
                      </a:cubicBezTo>
                      <a:lnTo>
                        <a:pt x="3030" y="953"/>
                      </a:lnTo>
                      <a:cubicBezTo>
                        <a:pt x="2998" y="990"/>
                        <a:pt x="2967" y="1028"/>
                        <a:pt x="2935" y="1065"/>
                      </a:cubicBezTo>
                      <a:lnTo>
                        <a:pt x="2935" y="1065"/>
                      </a:lnTo>
                      <a:cubicBezTo>
                        <a:pt x="2907" y="1098"/>
                        <a:pt x="2878" y="1130"/>
                        <a:pt x="2850" y="1161"/>
                      </a:cubicBezTo>
                      <a:lnTo>
                        <a:pt x="2850" y="1161"/>
                      </a:lnTo>
                      <a:cubicBezTo>
                        <a:pt x="2819" y="1195"/>
                        <a:pt x="2788" y="1228"/>
                        <a:pt x="2756" y="1262"/>
                      </a:cubicBezTo>
                      <a:lnTo>
                        <a:pt x="2756" y="1262"/>
                      </a:lnTo>
                      <a:cubicBezTo>
                        <a:pt x="2746" y="1274"/>
                        <a:pt x="2734" y="1286"/>
                        <a:pt x="2723" y="1297"/>
                      </a:cubicBezTo>
                      <a:lnTo>
                        <a:pt x="2723" y="1297"/>
                      </a:lnTo>
                      <a:cubicBezTo>
                        <a:pt x="2701" y="1320"/>
                        <a:pt x="2679" y="1343"/>
                        <a:pt x="2657" y="1366"/>
                      </a:cubicBezTo>
                      <a:lnTo>
                        <a:pt x="2657" y="1366"/>
                      </a:lnTo>
                      <a:cubicBezTo>
                        <a:pt x="2627" y="1396"/>
                        <a:pt x="2596" y="1425"/>
                        <a:pt x="2565" y="1454"/>
                      </a:cubicBezTo>
                      <a:lnTo>
                        <a:pt x="2565" y="1454"/>
                      </a:lnTo>
                      <a:cubicBezTo>
                        <a:pt x="2549" y="1469"/>
                        <a:pt x="2534" y="1484"/>
                        <a:pt x="2519" y="1499"/>
                      </a:cubicBezTo>
                      <a:lnTo>
                        <a:pt x="2519" y="1499"/>
                      </a:lnTo>
                      <a:cubicBezTo>
                        <a:pt x="2505" y="1512"/>
                        <a:pt x="2491" y="1524"/>
                        <a:pt x="2477" y="1536"/>
                      </a:cubicBezTo>
                      <a:lnTo>
                        <a:pt x="2477" y="1536"/>
                      </a:lnTo>
                      <a:cubicBezTo>
                        <a:pt x="2445" y="1564"/>
                        <a:pt x="2413" y="1594"/>
                        <a:pt x="2380" y="1621"/>
                      </a:cubicBezTo>
                      <a:lnTo>
                        <a:pt x="2380" y="1621"/>
                      </a:lnTo>
                      <a:cubicBezTo>
                        <a:pt x="2340" y="1656"/>
                        <a:pt x="2299" y="1691"/>
                        <a:pt x="2258" y="1725"/>
                      </a:cubicBezTo>
                      <a:lnTo>
                        <a:pt x="2258" y="1725"/>
                      </a:lnTo>
                      <a:cubicBezTo>
                        <a:pt x="2247" y="1735"/>
                        <a:pt x="2234" y="1744"/>
                        <a:pt x="2223" y="1753"/>
                      </a:cubicBezTo>
                      <a:lnTo>
                        <a:pt x="2223" y="1753"/>
                      </a:lnTo>
                      <a:cubicBezTo>
                        <a:pt x="2198" y="1774"/>
                        <a:pt x="2173" y="1795"/>
                        <a:pt x="2147" y="1815"/>
                      </a:cubicBezTo>
                      <a:lnTo>
                        <a:pt x="2147" y="1815"/>
                      </a:lnTo>
                      <a:cubicBezTo>
                        <a:pt x="2136" y="1824"/>
                        <a:pt x="2125" y="1833"/>
                        <a:pt x="2114" y="1841"/>
                      </a:cubicBezTo>
                      <a:lnTo>
                        <a:pt x="2114" y="1841"/>
                      </a:lnTo>
                      <a:cubicBezTo>
                        <a:pt x="2094" y="1857"/>
                        <a:pt x="2074" y="1872"/>
                        <a:pt x="2054" y="1887"/>
                      </a:cubicBezTo>
                      <a:lnTo>
                        <a:pt x="2054" y="1887"/>
                      </a:lnTo>
                      <a:cubicBezTo>
                        <a:pt x="2021" y="1911"/>
                        <a:pt x="1989" y="1937"/>
                        <a:pt x="1957" y="1959"/>
                      </a:cubicBezTo>
                      <a:lnTo>
                        <a:pt x="1957" y="1959"/>
                      </a:lnTo>
                      <a:cubicBezTo>
                        <a:pt x="1914" y="1989"/>
                        <a:pt x="1872" y="2017"/>
                        <a:pt x="1830" y="2046"/>
                      </a:cubicBezTo>
                      <a:lnTo>
                        <a:pt x="1830" y="2046"/>
                      </a:lnTo>
                      <a:cubicBezTo>
                        <a:pt x="1832" y="2045"/>
                        <a:pt x="1834" y="2043"/>
                        <a:pt x="1835" y="2042"/>
                      </a:cubicBezTo>
                      <a:lnTo>
                        <a:pt x="1835" y="2042"/>
                      </a:lnTo>
                      <a:cubicBezTo>
                        <a:pt x="1815" y="2055"/>
                        <a:pt x="1794" y="2068"/>
                        <a:pt x="1774" y="2081"/>
                      </a:cubicBezTo>
                      <a:lnTo>
                        <a:pt x="1774" y="2081"/>
                      </a:lnTo>
                      <a:cubicBezTo>
                        <a:pt x="1759" y="2091"/>
                        <a:pt x="1744" y="2101"/>
                        <a:pt x="1728" y="2110"/>
                      </a:cubicBezTo>
                      <a:lnTo>
                        <a:pt x="1728" y="2110"/>
                      </a:lnTo>
                      <a:cubicBezTo>
                        <a:pt x="1703" y="2123"/>
                        <a:pt x="1679" y="2138"/>
                        <a:pt x="1653" y="2151"/>
                      </a:cubicBezTo>
                      <a:lnTo>
                        <a:pt x="1653" y="2151"/>
                      </a:lnTo>
                      <a:cubicBezTo>
                        <a:pt x="1637" y="2161"/>
                        <a:pt x="1618" y="2169"/>
                        <a:pt x="1601" y="2178"/>
                      </a:cubicBezTo>
                      <a:lnTo>
                        <a:pt x="1601" y="2178"/>
                      </a:lnTo>
                      <a:cubicBezTo>
                        <a:pt x="1581" y="2188"/>
                        <a:pt x="1562" y="2198"/>
                        <a:pt x="1542" y="2207"/>
                      </a:cubicBezTo>
                      <a:lnTo>
                        <a:pt x="1542" y="2207"/>
                      </a:lnTo>
                      <a:cubicBezTo>
                        <a:pt x="1518" y="2219"/>
                        <a:pt x="1494" y="2231"/>
                        <a:pt x="1469" y="2242"/>
                      </a:cubicBezTo>
                      <a:lnTo>
                        <a:pt x="1469" y="2242"/>
                      </a:lnTo>
                      <a:cubicBezTo>
                        <a:pt x="1433" y="2260"/>
                        <a:pt x="1395" y="2275"/>
                        <a:pt x="1358" y="2291"/>
                      </a:cubicBezTo>
                      <a:lnTo>
                        <a:pt x="1358" y="2291"/>
                      </a:lnTo>
                      <a:cubicBezTo>
                        <a:pt x="1330" y="2302"/>
                        <a:pt x="1303" y="2314"/>
                        <a:pt x="1275" y="2325"/>
                      </a:cubicBezTo>
                      <a:lnTo>
                        <a:pt x="1275" y="2325"/>
                      </a:lnTo>
                      <a:cubicBezTo>
                        <a:pt x="1252" y="2334"/>
                        <a:pt x="1229" y="2343"/>
                        <a:pt x="1206" y="2352"/>
                      </a:cubicBezTo>
                      <a:lnTo>
                        <a:pt x="1206" y="2352"/>
                      </a:lnTo>
                      <a:cubicBezTo>
                        <a:pt x="1164" y="2364"/>
                        <a:pt x="1122" y="2377"/>
                        <a:pt x="1080" y="2389"/>
                      </a:cubicBezTo>
                      <a:lnTo>
                        <a:pt x="1080" y="2389"/>
                      </a:lnTo>
                      <a:cubicBezTo>
                        <a:pt x="1069" y="2393"/>
                        <a:pt x="1056" y="2396"/>
                        <a:pt x="1044" y="2399"/>
                      </a:cubicBezTo>
                      <a:lnTo>
                        <a:pt x="1044" y="2399"/>
                      </a:lnTo>
                      <a:cubicBezTo>
                        <a:pt x="1016" y="2405"/>
                        <a:pt x="987" y="2413"/>
                        <a:pt x="959" y="2419"/>
                      </a:cubicBezTo>
                      <a:lnTo>
                        <a:pt x="959" y="2419"/>
                      </a:lnTo>
                      <a:cubicBezTo>
                        <a:pt x="923" y="2428"/>
                        <a:pt x="887" y="2434"/>
                        <a:pt x="851" y="2441"/>
                      </a:cubicBezTo>
                      <a:lnTo>
                        <a:pt x="851" y="2441"/>
                      </a:lnTo>
                      <a:cubicBezTo>
                        <a:pt x="842" y="2443"/>
                        <a:pt x="833" y="2444"/>
                        <a:pt x="824" y="2446"/>
                      </a:cubicBezTo>
                      <a:lnTo>
                        <a:pt x="824" y="2446"/>
                      </a:lnTo>
                      <a:cubicBezTo>
                        <a:pt x="815" y="2447"/>
                        <a:pt x="806" y="2449"/>
                        <a:pt x="797" y="2450"/>
                      </a:cubicBezTo>
                      <a:lnTo>
                        <a:pt x="797" y="2450"/>
                      </a:lnTo>
                      <a:cubicBezTo>
                        <a:pt x="777" y="2452"/>
                        <a:pt x="757" y="2454"/>
                        <a:pt x="737" y="2456"/>
                      </a:cubicBezTo>
                      <a:lnTo>
                        <a:pt x="737" y="2456"/>
                      </a:lnTo>
                      <a:cubicBezTo>
                        <a:pt x="648" y="2459"/>
                        <a:pt x="557" y="2460"/>
                        <a:pt x="469" y="2442"/>
                      </a:cubicBezTo>
                      <a:lnTo>
                        <a:pt x="469" y="2442"/>
                      </a:lnTo>
                      <a:cubicBezTo>
                        <a:pt x="418" y="2431"/>
                        <a:pt x="370" y="2414"/>
                        <a:pt x="324" y="2391"/>
                      </a:cubicBezTo>
                      <a:lnTo>
                        <a:pt x="324" y="2391"/>
                      </a:lnTo>
                      <a:cubicBezTo>
                        <a:pt x="291" y="2373"/>
                        <a:pt x="261" y="2352"/>
                        <a:pt x="233" y="2327"/>
                      </a:cubicBezTo>
                      <a:lnTo>
                        <a:pt x="233" y="2327"/>
                      </a:lnTo>
                      <a:cubicBezTo>
                        <a:pt x="201" y="2297"/>
                        <a:pt x="172" y="2262"/>
                        <a:pt x="148" y="2225"/>
                      </a:cubicBezTo>
                      <a:lnTo>
                        <a:pt x="148" y="2225"/>
                      </a:lnTo>
                      <a:cubicBezTo>
                        <a:pt x="121" y="2183"/>
                        <a:pt x="98" y="2139"/>
                        <a:pt x="81" y="2092"/>
                      </a:cubicBezTo>
                      <a:lnTo>
                        <a:pt x="81" y="2092"/>
                      </a:lnTo>
                      <a:cubicBezTo>
                        <a:pt x="69" y="2053"/>
                        <a:pt x="61" y="2013"/>
                        <a:pt x="59" y="1972"/>
                      </a:cubicBezTo>
                      <a:lnTo>
                        <a:pt x="59" y="1972"/>
                      </a:lnTo>
                      <a:cubicBezTo>
                        <a:pt x="57" y="1927"/>
                        <a:pt x="58" y="1881"/>
                        <a:pt x="67" y="1837"/>
                      </a:cubicBezTo>
                      <a:lnTo>
                        <a:pt x="67" y="1837"/>
                      </a:lnTo>
                      <a:cubicBezTo>
                        <a:pt x="81" y="1775"/>
                        <a:pt x="104" y="1716"/>
                        <a:pt x="133" y="1660"/>
                      </a:cubicBezTo>
                      <a:lnTo>
                        <a:pt x="133" y="1660"/>
                      </a:lnTo>
                      <a:cubicBezTo>
                        <a:pt x="181" y="1570"/>
                        <a:pt x="243" y="1487"/>
                        <a:pt x="312" y="1412"/>
                      </a:cubicBezTo>
                      <a:lnTo>
                        <a:pt x="312" y="1412"/>
                      </a:lnTo>
                      <a:cubicBezTo>
                        <a:pt x="327" y="1394"/>
                        <a:pt x="344" y="1377"/>
                        <a:pt x="361" y="1360"/>
                      </a:cubicBezTo>
                      <a:lnTo>
                        <a:pt x="361" y="1360"/>
                      </a:lnTo>
                      <a:cubicBezTo>
                        <a:pt x="378" y="1343"/>
                        <a:pt x="395" y="1326"/>
                        <a:pt x="413" y="1311"/>
                      </a:cubicBezTo>
                      <a:lnTo>
                        <a:pt x="413" y="1311"/>
                      </a:lnTo>
                      <a:cubicBezTo>
                        <a:pt x="426" y="1300"/>
                        <a:pt x="439" y="1288"/>
                        <a:pt x="453" y="1276"/>
                      </a:cubicBezTo>
                      <a:lnTo>
                        <a:pt x="453" y="1276"/>
                      </a:lnTo>
                      <a:cubicBezTo>
                        <a:pt x="470" y="1261"/>
                        <a:pt x="488" y="1246"/>
                        <a:pt x="505" y="1231"/>
                      </a:cubicBezTo>
                      <a:lnTo>
                        <a:pt x="505" y="1231"/>
                      </a:lnTo>
                      <a:cubicBezTo>
                        <a:pt x="514" y="1223"/>
                        <a:pt x="524" y="1215"/>
                        <a:pt x="534" y="1209"/>
                      </a:cubicBezTo>
                      <a:lnTo>
                        <a:pt x="534" y="1209"/>
                      </a:lnTo>
                      <a:cubicBezTo>
                        <a:pt x="561" y="1187"/>
                        <a:pt x="588" y="1164"/>
                        <a:pt x="617" y="1143"/>
                      </a:cubicBezTo>
                      <a:lnTo>
                        <a:pt x="617" y="1143"/>
                      </a:lnTo>
                      <a:cubicBezTo>
                        <a:pt x="650" y="1119"/>
                        <a:pt x="684" y="1095"/>
                        <a:pt x="717" y="1071"/>
                      </a:cubicBezTo>
                      <a:lnTo>
                        <a:pt x="717" y="1071"/>
                      </a:lnTo>
                      <a:lnTo>
                        <a:pt x="717" y="1071"/>
                      </a:lnTo>
                      <a:cubicBezTo>
                        <a:pt x="754" y="1048"/>
                        <a:pt x="792" y="1023"/>
                        <a:pt x="830" y="999"/>
                      </a:cubicBezTo>
                      <a:lnTo>
                        <a:pt x="830" y="999"/>
                      </a:lnTo>
                      <a:cubicBezTo>
                        <a:pt x="834" y="996"/>
                        <a:pt x="838" y="995"/>
                        <a:pt x="842" y="992"/>
                      </a:cubicBezTo>
                      <a:lnTo>
                        <a:pt x="842" y="992"/>
                      </a:lnTo>
                      <a:cubicBezTo>
                        <a:pt x="855" y="985"/>
                        <a:pt x="869" y="978"/>
                        <a:pt x="882" y="970"/>
                      </a:cubicBezTo>
                      <a:lnTo>
                        <a:pt x="882" y="970"/>
                      </a:lnTo>
                      <a:cubicBezTo>
                        <a:pt x="905" y="957"/>
                        <a:pt x="928" y="945"/>
                        <a:pt x="951" y="932"/>
                      </a:cubicBezTo>
                      <a:lnTo>
                        <a:pt x="951" y="932"/>
                      </a:lnTo>
                      <a:cubicBezTo>
                        <a:pt x="968" y="923"/>
                        <a:pt x="985" y="915"/>
                        <a:pt x="1002" y="907"/>
                      </a:cubicBezTo>
                      <a:lnTo>
                        <a:pt x="1002" y="907"/>
                      </a:lnTo>
                      <a:cubicBezTo>
                        <a:pt x="1026" y="895"/>
                        <a:pt x="1050" y="883"/>
                        <a:pt x="1074" y="871"/>
                      </a:cubicBezTo>
                      <a:lnTo>
                        <a:pt x="1074" y="871"/>
                      </a:lnTo>
                      <a:cubicBezTo>
                        <a:pt x="1090" y="863"/>
                        <a:pt x="1106" y="856"/>
                        <a:pt x="1123" y="849"/>
                      </a:cubicBezTo>
                      <a:lnTo>
                        <a:pt x="1123" y="849"/>
                      </a:lnTo>
                      <a:cubicBezTo>
                        <a:pt x="1148" y="837"/>
                        <a:pt x="1175" y="825"/>
                        <a:pt x="1201" y="814"/>
                      </a:cubicBezTo>
                      <a:lnTo>
                        <a:pt x="1201" y="814"/>
                      </a:lnTo>
                      <a:cubicBezTo>
                        <a:pt x="1242" y="794"/>
                        <a:pt x="1285" y="777"/>
                        <a:pt x="1328" y="758"/>
                      </a:cubicBezTo>
                      <a:lnTo>
                        <a:pt x="1328" y="758"/>
                      </a:lnTo>
                      <a:cubicBezTo>
                        <a:pt x="1341" y="753"/>
                        <a:pt x="1355" y="747"/>
                        <a:pt x="1368" y="742"/>
                      </a:cubicBezTo>
                      <a:lnTo>
                        <a:pt x="1368" y="742"/>
                      </a:lnTo>
                      <a:cubicBezTo>
                        <a:pt x="1397" y="731"/>
                        <a:pt x="1425" y="720"/>
                        <a:pt x="1454" y="709"/>
                      </a:cubicBezTo>
                      <a:lnTo>
                        <a:pt x="1454" y="709"/>
                      </a:lnTo>
                      <a:cubicBezTo>
                        <a:pt x="1496" y="693"/>
                        <a:pt x="1538" y="678"/>
                        <a:pt x="1580" y="663"/>
                      </a:cubicBezTo>
                      <a:lnTo>
                        <a:pt x="1580" y="663"/>
                      </a:lnTo>
                      <a:cubicBezTo>
                        <a:pt x="1620" y="648"/>
                        <a:pt x="1661" y="635"/>
                        <a:pt x="1702" y="622"/>
                      </a:cubicBezTo>
                      <a:lnTo>
                        <a:pt x="1702" y="622"/>
                      </a:lnTo>
                      <a:cubicBezTo>
                        <a:pt x="1701" y="622"/>
                        <a:pt x="1700" y="623"/>
                        <a:pt x="1699" y="623"/>
                      </a:cubicBezTo>
                      <a:lnTo>
                        <a:pt x="1699" y="623"/>
                      </a:lnTo>
                      <a:cubicBezTo>
                        <a:pt x="1783" y="599"/>
                        <a:pt x="1867" y="575"/>
                        <a:pt x="1951" y="552"/>
                      </a:cubicBezTo>
                      <a:lnTo>
                        <a:pt x="1951" y="552"/>
                      </a:lnTo>
                      <a:cubicBezTo>
                        <a:pt x="1978" y="543"/>
                        <a:pt x="2005" y="536"/>
                        <a:pt x="2032" y="528"/>
                      </a:cubicBezTo>
                      <a:lnTo>
                        <a:pt x="2032" y="528"/>
                      </a:lnTo>
                      <a:cubicBezTo>
                        <a:pt x="2054" y="522"/>
                        <a:pt x="2075" y="517"/>
                        <a:pt x="2097" y="511"/>
                      </a:cubicBezTo>
                      <a:lnTo>
                        <a:pt x="2097" y="511"/>
                      </a:lnTo>
                      <a:cubicBezTo>
                        <a:pt x="2137" y="501"/>
                        <a:pt x="2179" y="492"/>
                        <a:pt x="2221" y="484"/>
                      </a:cubicBezTo>
                      <a:lnTo>
                        <a:pt x="2221" y="484"/>
                      </a:lnTo>
                      <a:cubicBezTo>
                        <a:pt x="2253" y="477"/>
                        <a:pt x="2286" y="471"/>
                        <a:pt x="2318" y="465"/>
                      </a:cubicBezTo>
                      <a:lnTo>
                        <a:pt x="2318" y="465"/>
                      </a:lnTo>
                      <a:cubicBezTo>
                        <a:pt x="2329" y="463"/>
                        <a:pt x="2340" y="461"/>
                        <a:pt x="2351" y="458"/>
                      </a:cubicBezTo>
                      <a:lnTo>
                        <a:pt x="2351" y="458"/>
                      </a:lnTo>
                      <a:cubicBezTo>
                        <a:pt x="2348" y="462"/>
                        <a:pt x="2346" y="466"/>
                        <a:pt x="2343" y="470"/>
                      </a:cubicBezTo>
                      <a:lnTo>
                        <a:pt x="2343" y="470"/>
                      </a:lnTo>
                      <a:cubicBezTo>
                        <a:pt x="2330" y="487"/>
                        <a:pt x="2317" y="505"/>
                        <a:pt x="2304" y="524"/>
                      </a:cubicBezTo>
                      <a:lnTo>
                        <a:pt x="2304" y="524"/>
                      </a:lnTo>
                      <a:cubicBezTo>
                        <a:pt x="2280" y="557"/>
                        <a:pt x="2253" y="590"/>
                        <a:pt x="2228" y="623"/>
                      </a:cubicBezTo>
                      <a:lnTo>
                        <a:pt x="2228" y="623"/>
                      </a:lnTo>
                      <a:cubicBezTo>
                        <a:pt x="2199" y="660"/>
                        <a:pt x="2171" y="697"/>
                        <a:pt x="2143" y="734"/>
                      </a:cubicBezTo>
                      <a:lnTo>
                        <a:pt x="2143" y="734"/>
                      </a:lnTo>
                      <a:cubicBezTo>
                        <a:pt x="2132" y="752"/>
                        <a:pt x="2120" y="768"/>
                        <a:pt x="2108" y="786"/>
                      </a:cubicBezTo>
                      <a:lnTo>
                        <a:pt x="2108" y="786"/>
                      </a:lnTo>
                      <a:cubicBezTo>
                        <a:pt x="2102" y="796"/>
                        <a:pt x="2095" y="805"/>
                        <a:pt x="2089" y="814"/>
                      </a:cubicBezTo>
                      <a:lnTo>
                        <a:pt x="2089" y="814"/>
                      </a:lnTo>
                      <a:cubicBezTo>
                        <a:pt x="2080" y="828"/>
                        <a:pt x="2067" y="841"/>
                        <a:pt x="2071" y="858"/>
                      </a:cubicBezTo>
                      <a:lnTo>
                        <a:pt x="2071" y="858"/>
                      </a:lnTo>
                      <a:cubicBezTo>
                        <a:pt x="2074" y="868"/>
                        <a:pt x="2080" y="876"/>
                        <a:pt x="2089" y="879"/>
                      </a:cubicBezTo>
                      <a:lnTo>
                        <a:pt x="2089" y="879"/>
                      </a:lnTo>
                      <a:cubicBezTo>
                        <a:pt x="2099" y="883"/>
                        <a:pt x="2109" y="880"/>
                        <a:pt x="2117" y="874"/>
                      </a:cubicBezTo>
                      <a:lnTo>
                        <a:pt x="2117" y="874"/>
                      </a:lnTo>
                      <a:cubicBezTo>
                        <a:pt x="2135" y="861"/>
                        <a:pt x="2150" y="843"/>
                        <a:pt x="2166" y="826"/>
                      </a:cubicBezTo>
                      <a:lnTo>
                        <a:pt x="2166" y="826"/>
                      </a:lnTo>
                      <a:cubicBezTo>
                        <a:pt x="2171" y="820"/>
                        <a:pt x="2177" y="815"/>
                        <a:pt x="2183" y="810"/>
                      </a:cubicBezTo>
                      <a:lnTo>
                        <a:pt x="2183" y="810"/>
                      </a:lnTo>
                      <a:cubicBezTo>
                        <a:pt x="2189" y="804"/>
                        <a:pt x="2195" y="798"/>
                        <a:pt x="2201" y="793"/>
                      </a:cubicBezTo>
                      <a:lnTo>
                        <a:pt x="2201" y="793"/>
                      </a:lnTo>
                      <a:cubicBezTo>
                        <a:pt x="2229" y="769"/>
                        <a:pt x="2256" y="746"/>
                        <a:pt x="2283" y="723"/>
                      </a:cubicBezTo>
                      <a:lnTo>
                        <a:pt x="2283" y="723"/>
                      </a:lnTo>
                      <a:cubicBezTo>
                        <a:pt x="2294" y="714"/>
                        <a:pt x="2306" y="704"/>
                        <a:pt x="2317" y="696"/>
                      </a:cubicBezTo>
                      <a:lnTo>
                        <a:pt x="2317" y="696"/>
                      </a:lnTo>
                      <a:cubicBezTo>
                        <a:pt x="2335" y="682"/>
                        <a:pt x="2355" y="667"/>
                        <a:pt x="2373" y="653"/>
                      </a:cubicBezTo>
                      <a:lnTo>
                        <a:pt x="2373" y="653"/>
                      </a:lnTo>
                      <a:cubicBezTo>
                        <a:pt x="2383" y="646"/>
                        <a:pt x="2394" y="638"/>
                        <a:pt x="2405" y="631"/>
                      </a:cubicBezTo>
                      <a:lnTo>
                        <a:pt x="2405" y="631"/>
                      </a:lnTo>
                      <a:cubicBezTo>
                        <a:pt x="2420" y="621"/>
                        <a:pt x="2435" y="611"/>
                        <a:pt x="2450" y="601"/>
                      </a:cubicBezTo>
                      <a:lnTo>
                        <a:pt x="2450" y="601"/>
                      </a:lnTo>
                      <a:cubicBezTo>
                        <a:pt x="2471" y="588"/>
                        <a:pt x="2492" y="575"/>
                        <a:pt x="2512" y="561"/>
                      </a:cubicBezTo>
                      <a:lnTo>
                        <a:pt x="2512" y="561"/>
                      </a:lnTo>
                      <a:cubicBezTo>
                        <a:pt x="2528" y="551"/>
                        <a:pt x="2544" y="542"/>
                        <a:pt x="2561" y="533"/>
                      </a:cubicBezTo>
                      <a:lnTo>
                        <a:pt x="2561" y="533"/>
                      </a:lnTo>
                      <a:cubicBezTo>
                        <a:pt x="2604" y="510"/>
                        <a:pt x="2648" y="487"/>
                        <a:pt x="2691" y="464"/>
                      </a:cubicBezTo>
                      <a:lnTo>
                        <a:pt x="2691" y="464"/>
                      </a:lnTo>
                      <a:cubicBezTo>
                        <a:pt x="2708" y="455"/>
                        <a:pt x="2726" y="446"/>
                        <a:pt x="2743" y="438"/>
                      </a:cubicBezTo>
                      <a:lnTo>
                        <a:pt x="2743" y="438"/>
                      </a:lnTo>
                      <a:cubicBezTo>
                        <a:pt x="2761" y="429"/>
                        <a:pt x="2778" y="420"/>
                        <a:pt x="2796" y="412"/>
                      </a:cubicBezTo>
                      <a:lnTo>
                        <a:pt x="2796" y="412"/>
                      </a:lnTo>
                      <a:cubicBezTo>
                        <a:pt x="2821" y="401"/>
                        <a:pt x="2845" y="391"/>
                        <a:pt x="2870" y="380"/>
                      </a:cubicBezTo>
                      <a:lnTo>
                        <a:pt x="2870" y="380"/>
                      </a:lnTo>
                      <a:cubicBezTo>
                        <a:pt x="2892" y="371"/>
                        <a:pt x="2914" y="363"/>
                        <a:pt x="2936" y="354"/>
                      </a:cubicBezTo>
                      <a:lnTo>
                        <a:pt x="2936" y="354"/>
                      </a:lnTo>
                      <a:cubicBezTo>
                        <a:pt x="2962" y="344"/>
                        <a:pt x="2989" y="334"/>
                        <a:pt x="3016" y="323"/>
                      </a:cubicBezTo>
                      <a:lnTo>
                        <a:pt x="3016" y="323"/>
                      </a:lnTo>
                      <a:cubicBezTo>
                        <a:pt x="3043" y="313"/>
                        <a:pt x="3069" y="304"/>
                        <a:pt x="3097" y="296"/>
                      </a:cubicBezTo>
                      <a:lnTo>
                        <a:pt x="3097" y="296"/>
                      </a:lnTo>
                      <a:cubicBezTo>
                        <a:pt x="3182" y="268"/>
                        <a:pt x="3267" y="241"/>
                        <a:pt x="3352" y="213"/>
                      </a:cubicBezTo>
                      <a:lnTo>
                        <a:pt x="3352" y="213"/>
                      </a:lnTo>
                      <a:cubicBezTo>
                        <a:pt x="3394" y="199"/>
                        <a:pt x="3439" y="185"/>
                        <a:pt x="3483" y="172"/>
                      </a:cubicBezTo>
                      <a:lnTo>
                        <a:pt x="3483" y="172"/>
                      </a:lnTo>
                      <a:cubicBezTo>
                        <a:pt x="3525" y="159"/>
                        <a:pt x="3568" y="148"/>
                        <a:pt x="3611" y="137"/>
                      </a:cubicBezTo>
                      <a:lnTo>
                        <a:pt x="3611" y="137"/>
                      </a:lnTo>
                      <a:cubicBezTo>
                        <a:pt x="3672" y="121"/>
                        <a:pt x="3732" y="102"/>
                        <a:pt x="3794" y="88"/>
                      </a:cubicBezTo>
                      <a:lnTo>
                        <a:pt x="3794" y="88"/>
                      </a:lnTo>
                      <a:cubicBezTo>
                        <a:pt x="3853" y="74"/>
                        <a:pt x="3913" y="60"/>
                        <a:pt x="3974" y="56"/>
                      </a:cubicBezTo>
                      <a:lnTo>
                        <a:pt x="3974" y="56"/>
                      </a:lnTo>
                      <a:cubicBezTo>
                        <a:pt x="4000" y="56"/>
                        <a:pt x="4026" y="56"/>
                        <a:pt x="4052" y="58"/>
                      </a:cubicBezTo>
                      <a:lnTo>
                        <a:pt x="3925" y="5"/>
                      </a:lnTo>
                      <a:lnTo>
                        <a:pt x="3925" y="5"/>
                      </a:lnTo>
                      <a:cubicBezTo>
                        <a:pt x="3883" y="11"/>
                        <a:pt x="3841" y="20"/>
                        <a:pt x="3799" y="30"/>
                      </a:cubicBezTo>
                      <a:lnTo>
                        <a:pt x="3799" y="30"/>
                      </a:lnTo>
                      <a:cubicBezTo>
                        <a:pt x="3757" y="40"/>
                        <a:pt x="3715" y="51"/>
                        <a:pt x="3672" y="63"/>
                      </a:cubicBezTo>
                      <a:lnTo>
                        <a:pt x="3672" y="63"/>
                      </a:lnTo>
                      <a:cubicBezTo>
                        <a:pt x="3628" y="75"/>
                        <a:pt x="3583" y="87"/>
                        <a:pt x="3538" y="98"/>
                      </a:cubicBezTo>
                      <a:lnTo>
                        <a:pt x="3538" y="98"/>
                      </a:lnTo>
                      <a:cubicBezTo>
                        <a:pt x="3497" y="109"/>
                        <a:pt x="3456" y="121"/>
                        <a:pt x="3416" y="134"/>
                      </a:cubicBezTo>
                      <a:lnTo>
                        <a:pt x="3416" y="134"/>
                      </a:lnTo>
                      <a:cubicBezTo>
                        <a:pt x="3333" y="161"/>
                        <a:pt x="3250" y="188"/>
                        <a:pt x="3167" y="215"/>
                      </a:cubicBezTo>
                      <a:lnTo>
                        <a:pt x="3167" y="215"/>
                      </a:lnTo>
                      <a:cubicBezTo>
                        <a:pt x="3117" y="230"/>
                        <a:pt x="3068" y="247"/>
                        <a:pt x="3018" y="263"/>
                      </a:cubicBezTo>
                      <a:lnTo>
                        <a:pt x="3018" y="263"/>
                      </a:lnTo>
                      <a:cubicBezTo>
                        <a:pt x="2980" y="277"/>
                        <a:pt x="2943" y="291"/>
                        <a:pt x="2906" y="306"/>
                      </a:cubicBezTo>
                      <a:lnTo>
                        <a:pt x="2906" y="306"/>
                      </a:lnTo>
                      <a:cubicBezTo>
                        <a:pt x="2885" y="314"/>
                        <a:pt x="2864" y="323"/>
                        <a:pt x="2844" y="331"/>
                      </a:cubicBezTo>
                      <a:lnTo>
                        <a:pt x="2844" y="331"/>
                      </a:lnTo>
                      <a:cubicBezTo>
                        <a:pt x="2818" y="342"/>
                        <a:pt x="2793" y="353"/>
                        <a:pt x="2768" y="364"/>
                      </a:cubicBezTo>
                      <a:lnTo>
                        <a:pt x="2768" y="364"/>
                      </a:lnTo>
                      <a:cubicBezTo>
                        <a:pt x="2749" y="372"/>
                        <a:pt x="2731" y="382"/>
                        <a:pt x="2712" y="391"/>
                      </a:cubicBezTo>
                      <a:lnTo>
                        <a:pt x="2712" y="391"/>
                      </a:lnTo>
                      <a:cubicBezTo>
                        <a:pt x="2695" y="399"/>
                        <a:pt x="2678" y="407"/>
                        <a:pt x="2662" y="416"/>
                      </a:cubicBezTo>
                      <a:lnTo>
                        <a:pt x="2662" y="416"/>
                      </a:lnTo>
                      <a:cubicBezTo>
                        <a:pt x="2618" y="440"/>
                        <a:pt x="2574" y="463"/>
                        <a:pt x="2530" y="487"/>
                      </a:cubicBezTo>
                      <a:lnTo>
                        <a:pt x="2530" y="487"/>
                      </a:lnTo>
                      <a:cubicBezTo>
                        <a:pt x="2521" y="492"/>
                        <a:pt x="2512" y="497"/>
                        <a:pt x="2502" y="502"/>
                      </a:cubicBezTo>
                      <a:lnTo>
                        <a:pt x="2502" y="502"/>
                      </a:lnTo>
                      <a:cubicBezTo>
                        <a:pt x="2495" y="506"/>
                        <a:pt x="2489" y="511"/>
                        <a:pt x="2482" y="515"/>
                      </a:cubicBezTo>
                      <a:lnTo>
                        <a:pt x="2482" y="515"/>
                      </a:lnTo>
                      <a:cubicBezTo>
                        <a:pt x="2461" y="528"/>
                        <a:pt x="2438" y="542"/>
                        <a:pt x="2417" y="556"/>
                      </a:cubicBezTo>
                      <a:lnTo>
                        <a:pt x="2417" y="556"/>
                      </a:lnTo>
                      <a:cubicBezTo>
                        <a:pt x="2395" y="571"/>
                        <a:pt x="2374" y="585"/>
                        <a:pt x="2352" y="600"/>
                      </a:cubicBezTo>
                      <a:lnTo>
                        <a:pt x="2352" y="600"/>
                      </a:lnTo>
                      <a:cubicBezTo>
                        <a:pt x="2335" y="612"/>
                        <a:pt x="2318" y="625"/>
                        <a:pt x="2302" y="637"/>
                      </a:cubicBezTo>
                      <a:lnTo>
                        <a:pt x="2302" y="637"/>
                      </a:lnTo>
                      <a:cubicBezTo>
                        <a:pt x="2289" y="647"/>
                        <a:pt x="2277" y="657"/>
                        <a:pt x="2264" y="666"/>
                      </a:cubicBezTo>
                      <a:lnTo>
                        <a:pt x="2264" y="666"/>
                      </a:lnTo>
                      <a:cubicBezTo>
                        <a:pt x="2268" y="662"/>
                        <a:pt x="2271" y="658"/>
                        <a:pt x="2274" y="653"/>
                      </a:cubicBezTo>
                      <a:lnTo>
                        <a:pt x="2274" y="653"/>
                      </a:lnTo>
                      <a:cubicBezTo>
                        <a:pt x="2300" y="621"/>
                        <a:pt x="2325" y="588"/>
                        <a:pt x="2350" y="556"/>
                      </a:cubicBezTo>
                      <a:lnTo>
                        <a:pt x="2350" y="556"/>
                      </a:lnTo>
                      <a:cubicBezTo>
                        <a:pt x="2361" y="540"/>
                        <a:pt x="2372" y="523"/>
                        <a:pt x="2384" y="508"/>
                      </a:cubicBezTo>
                      <a:lnTo>
                        <a:pt x="2384" y="508"/>
                      </a:lnTo>
                      <a:cubicBezTo>
                        <a:pt x="2399" y="488"/>
                        <a:pt x="2414" y="468"/>
                        <a:pt x="2431" y="450"/>
                      </a:cubicBezTo>
                      <a:lnTo>
                        <a:pt x="2431" y="450"/>
                      </a:lnTo>
                      <a:cubicBezTo>
                        <a:pt x="2429" y="452"/>
                        <a:pt x="2428" y="454"/>
                        <a:pt x="2426" y="455"/>
                      </a:cubicBezTo>
                      <a:lnTo>
                        <a:pt x="2426" y="455"/>
                      </a:lnTo>
                      <a:cubicBezTo>
                        <a:pt x="2432" y="449"/>
                        <a:pt x="2438" y="443"/>
                        <a:pt x="2442" y="435"/>
                      </a:cubicBezTo>
                      <a:lnTo>
                        <a:pt x="2442" y="435"/>
                      </a:lnTo>
                      <a:cubicBezTo>
                        <a:pt x="2445" y="431"/>
                        <a:pt x="2446" y="426"/>
                        <a:pt x="2446" y="421"/>
                      </a:cubicBezTo>
                      <a:lnTo>
                        <a:pt x="2446" y="421"/>
                      </a:lnTo>
                      <a:cubicBezTo>
                        <a:pt x="2447" y="416"/>
                        <a:pt x="2446" y="411"/>
                        <a:pt x="2444" y="407"/>
                      </a:cubicBezTo>
                      <a:lnTo>
                        <a:pt x="2444" y="407"/>
                      </a:lnTo>
                      <a:cubicBezTo>
                        <a:pt x="2439" y="398"/>
                        <a:pt x="2431" y="392"/>
                        <a:pt x="2421" y="391"/>
                      </a:cubicBezTo>
                      <a:lnTo>
                        <a:pt x="2421" y="391"/>
                      </a:lnTo>
                      <a:cubicBezTo>
                        <a:pt x="2409" y="390"/>
                        <a:pt x="2396" y="393"/>
                        <a:pt x="2383" y="396"/>
                      </a:cubicBezTo>
                      <a:lnTo>
                        <a:pt x="2383" y="396"/>
                      </a:lnTo>
                      <a:cubicBezTo>
                        <a:pt x="2372" y="398"/>
                        <a:pt x="2360" y="400"/>
                        <a:pt x="2348" y="402"/>
                      </a:cubicBezTo>
                      <a:lnTo>
                        <a:pt x="2348" y="402"/>
                      </a:lnTo>
                      <a:cubicBezTo>
                        <a:pt x="2328" y="406"/>
                        <a:pt x="2309" y="410"/>
                        <a:pt x="2289" y="414"/>
                      </a:cubicBezTo>
                      <a:lnTo>
                        <a:pt x="2289" y="414"/>
                      </a:lnTo>
                      <a:cubicBezTo>
                        <a:pt x="2246" y="422"/>
                        <a:pt x="2202" y="430"/>
                        <a:pt x="2159" y="440"/>
                      </a:cubicBezTo>
                      <a:lnTo>
                        <a:pt x="2159" y="440"/>
                      </a:lnTo>
                      <a:cubicBezTo>
                        <a:pt x="2114" y="450"/>
                        <a:pt x="2069" y="460"/>
                        <a:pt x="2025" y="472"/>
                      </a:cubicBezTo>
                      <a:lnTo>
                        <a:pt x="2025" y="472"/>
                      </a:lnTo>
                      <a:cubicBezTo>
                        <a:pt x="1984" y="484"/>
                        <a:pt x="1944" y="495"/>
                        <a:pt x="1904" y="507"/>
                      </a:cubicBezTo>
                      <a:lnTo>
                        <a:pt x="1904" y="507"/>
                      </a:lnTo>
                      <a:cubicBezTo>
                        <a:pt x="1858" y="520"/>
                        <a:pt x="1814" y="532"/>
                        <a:pt x="1769" y="545"/>
                      </a:cubicBezTo>
                      <a:lnTo>
                        <a:pt x="1769" y="545"/>
                      </a:lnTo>
                      <a:cubicBezTo>
                        <a:pt x="1743" y="552"/>
                        <a:pt x="1717" y="560"/>
                        <a:pt x="1691" y="568"/>
                      </a:cubicBezTo>
                      <a:lnTo>
                        <a:pt x="1691" y="568"/>
                      </a:lnTo>
                      <a:cubicBezTo>
                        <a:pt x="1671" y="573"/>
                        <a:pt x="1651" y="581"/>
                        <a:pt x="1631" y="587"/>
                      </a:cubicBezTo>
                      <a:lnTo>
                        <a:pt x="1631" y="587"/>
                      </a:lnTo>
                      <a:cubicBezTo>
                        <a:pt x="1609" y="595"/>
                        <a:pt x="1587" y="602"/>
                        <a:pt x="1565" y="609"/>
                      </a:cubicBezTo>
                      <a:lnTo>
                        <a:pt x="1565" y="609"/>
                      </a:lnTo>
                      <a:cubicBezTo>
                        <a:pt x="1543" y="616"/>
                        <a:pt x="1522" y="625"/>
                        <a:pt x="1501" y="632"/>
                      </a:cubicBezTo>
                      <a:lnTo>
                        <a:pt x="1501" y="632"/>
                      </a:lnTo>
                      <a:cubicBezTo>
                        <a:pt x="1480" y="640"/>
                        <a:pt x="1460" y="647"/>
                        <a:pt x="1440" y="655"/>
                      </a:cubicBezTo>
                      <a:lnTo>
                        <a:pt x="1440" y="655"/>
                      </a:lnTo>
                      <a:cubicBezTo>
                        <a:pt x="1418" y="663"/>
                        <a:pt x="1395" y="672"/>
                        <a:pt x="1373" y="680"/>
                      </a:cubicBezTo>
                      <a:lnTo>
                        <a:pt x="1373" y="680"/>
                      </a:lnTo>
                      <a:cubicBezTo>
                        <a:pt x="1353" y="688"/>
                        <a:pt x="1333" y="696"/>
                        <a:pt x="1314" y="704"/>
                      </a:cubicBezTo>
                      <a:lnTo>
                        <a:pt x="1314" y="704"/>
                      </a:lnTo>
                      <a:cubicBezTo>
                        <a:pt x="1292" y="713"/>
                        <a:pt x="1271" y="722"/>
                        <a:pt x="1249" y="732"/>
                      </a:cubicBezTo>
                      <a:lnTo>
                        <a:pt x="1249" y="732"/>
                      </a:lnTo>
                      <a:cubicBezTo>
                        <a:pt x="1209" y="749"/>
                        <a:pt x="1168" y="767"/>
                        <a:pt x="1128" y="785"/>
                      </a:cubicBezTo>
                      <a:lnTo>
                        <a:pt x="1128" y="785"/>
                      </a:lnTo>
                      <a:cubicBezTo>
                        <a:pt x="1103" y="796"/>
                        <a:pt x="1079" y="807"/>
                        <a:pt x="1054" y="818"/>
                      </a:cubicBezTo>
                      <a:lnTo>
                        <a:pt x="1054" y="818"/>
                      </a:lnTo>
                      <a:cubicBezTo>
                        <a:pt x="1038" y="826"/>
                        <a:pt x="1022" y="834"/>
                        <a:pt x="1006" y="842"/>
                      </a:cubicBezTo>
                      <a:lnTo>
                        <a:pt x="1006" y="842"/>
                      </a:lnTo>
                      <a:cubicBezTo>
                        <a:pt x="981" y="855"/>
                        <a:pt x="956" y="867"/>
                        <a:pt x="931" y="879"/>
                      </a:cubicBezTo>
                      <a:lnTo>
                        <a:pt x="931" y="879"/>
                      </a:lnTo>
                      <a:cubicBezTo>
                        <a:pt x="916" y="887"/>
                        <a:pt x="901" y="896"/>
                        <a:pt x="886" y="904"/>
                      </a:cubicBezTo>
                      <a:lnTo>
                        <a:pt x="886" y="904"/>
                      </a:lnTo>
                      <a:cubicBezTo>
                        <a:pt x="861" y="918"/>
                        <a:pt x="835" y="932"/>
                        <a:pt x="810" y="946"/>
                      </a:cubicBezTo>
                      <a:lnTo>
                        <a:pt x="810" y="946"/>
                      </a:lnTo>
                      <a:cubicBezTo>
                        <a:pt x="797" y="954"/>
                        <a:pt x="783" y="963"/>
                        <a:pt x="770" y="972"/>
                      </a:cubicBezTo>
                      <a:lnTo>
                        <a:pt x="770" y="972"/>
                      </a:lnTo>
                      <a:cubicBezTo>
                        <a:pt x="745" y="988"/>
                        <a:pt x="720" y="1003"/>
                        <a:pt x="695" y="1020"/>
                      </a:cubicBezTo>
                      <a:lnTo>
                        <a:pt x="695" y="1020"/>
                      </a:lnTo>
                      <a:cubicBezTo>
                        <a:pt x="681" y="1029"/>
                        <a:pt x="668" y="1038"/>
                        <a:pt x="655" y="1048"/>
                      </a:cubicBezTo>
                      <a:lnTo>
                        <a:pt x="655" y="1048"/>
                      </a:lnTo>
                      <a:cubicBezTo>
                        <a:pt x="630" y="1065"/>
                        <a:pt x="605" y="1083"/>
                        <a:pt x="580" y="1101"/>
                      </a:cubicBezTo>
                      <a:lnTo>
                        <a:pt x="580" y="1101"/>
                      </a:lnTo>
                      <a:cubicBezTo>
                        <a:pt x="568" y="1110"/>
                        <a:pt x="557" y="1120"/>
                        <a:pt x="544" y="1129"/>
                      </a:cubicBezTo>
                      <a:lnTo>
                        <a:pt x="544" y="1129"/>
                      </a:lnTo>
                      <a:cubicBezTo>
                        <a:pt x="521" y="1147"/>
                        <a:pt x="499" y="1165"/>
                        <a:pt x="476" y="1182"/>
                      </a:cubicBezTo>
                      <a:lnTo>
                        <a:pt x="476" y="1182"/>
                      </a:lnTo>
                      <a:cubicBezTo>
                        <a:pt x="462" y="1194"/>
                        <a:pt x="449" y="1206"/>
                        <a:pt x="435" y="1218"/>
                      </a:cubicBezTo>
                      <a:lnTo>
                        <a:pt x="435" y="1218"/>
                      </a:lnTo>
                      <a:cubicBezTo>
                        <a:pt x="416" y="1235"/>
                        <a:pt x="396" y="1251"/>
                        <a:pt x="377" y="1268"/>
                      </a:cubicBezTo>
                      <a:lnTo>
                        <a:pt x="377" y="1268"/>
                      </a:lnTo>
                      <a:cubicBezTo>
                        <a:pt x="357" y="1286"/>
                        <a:pt x="338" y="1305"/>
                        <a:pt x="319" y="1323"/>
                      </a:cubicBezTo>
                      <a:lnTo>
                        <a:pt x="319" y="1323"/>
                      </a:lnTo>
                      <a:cubicBezTo>
                        <a:pt x="295" y="1347"/>
                        <a:pt x="273" y="1372"/>
                        <a:pt x="251" y="1396"/>
                      </a:cubicBezTo>
                      <a:lnTo>
                        <a:pt x="251" y="1396"/>
                      </a:lnTo>
                      <a:cubicBezTo>
                        <a:pt x="209" y="1443"/>
                        <a:pt x="171" y="1494"/>
                        <a:pt x="136" y="1546"/>
                      </a:cubicBezTo>
                      <a:lnTo>
                        <a:pt x="136" y="1546"/>
                      </a:lnTo>
                      <a:cubicBezTo>
                        <a:pt x="101" y="1599"/>
                        <a:pt x="71" y="1656"/>
                        <a:pt x="47" y="1715"/>
                      </a:cubicBezTo>
                      <a:lnTo>
                        <a:pt x="47" y="1715"/>
                      </a:lnTo>
                      <a:cubicBezTo>
                        <a:pt x="35" y="1743"/>
                        <a:pt x="25" y="1773"/>
                        <a:pt x="18" y="1803"/>
                      </a:cubicBezTo>
                      <a:lnTo>
                        <a:pt x="18" y="1803"/>
                      </a:lnTo>
                      <a:cubicBezTo>
                        <a:pt x="10" y="1835"/>
                        <a:pt x="5" y="1868"/>
                        <a:pt x="3" y="1901"/>
                      </a:cubicBezTo>
                      <a:lnTo>
                        <a:pt x="3" y="1901"/>
                      </a:lnTo>
                      <a:cubicBezTo>
                        <a:pt x="0" y="1965"/>
                        <a:pt x="5" y="2028"/>
                        <a:pt x="23" y="2090"/>
                      </a:cubicBezTo>
                      <a:lnTo>
                        <a:pt x="23" y="2090"/>
                      </a:lnTo>
                      <a:cubicBezTo>
                        <a:pt x="39" y="2148"/>
                        <a:pt x="67" y="2202"/>
                        <a:pt x="100" y="2252"/>
                      </a:cubicBezTo>
                      <a:lnTo>
                        <a:pt x="100" y="2252"/>
                      </a:lnTo>
                      <a:cubicBezTo>
                        <a:pt x="115" y="2277"/>
                        <a:pt x="132" y="2300"/>
                        <a:pt x="151" y="2323"/>
                      </a:cubicBezTo>
                      <a:lnTo>
                        <a:pt x="151" y="2323"/>
                      </a:lnTo>
                      <a:cubicBezTo>
                        <a:pt x="172" y="2347"/>
                        <a:pt x="196" y="2369"/>
                        <a:pt x="221" y="2390"/>
                      </a:cubicBezTo>
                      <a:lnTo>
                        <a:pt x="221" y="2390"/>
                      </a:lnTo>
                      <a:cubicBezTo>
                        <a:pt x="269" y="2428"/>
                        <a:pt x="325" y="2456"/>
                        <a:pt x="383" y="2476"/>
                      </a:cubicBezTo>
                      <a:lnTo>
                        <a:pt x="383" y="2476"/>
                      </a:lnTo>
                      <a:cubicBezTo>
                        <a:pt x="443" y="2496"/>
                        <a:pt x="505" y="2506"/>
                        <a:pt x="569" y="2511"/>
                      </a:cubicBezTo>
                      <a:lnTo>
                        <a:pt x="569" y="2511"/>
                      </a:lnTo>
                      <a:cubicBezTo>
                        <a:pt x="606" y="2514"/>
                        <a:pt x="645" y="2514"/>
                        <a:pt x="683" y="2514"/>
                      </a:cubicBezTo>
                      <a:lnTo>
                        <a:pt x="683" y="2514"/>
                      </a:lnTo>
                      <a:cubicBezTo>
                        <a:pt x="691" y="2514"/>
                        <a:pt x="700" y="2513"/>
                        <a:pt x="708" y="2513"/>
                      </a:cubicBezTo>
                      <a:lnTo>
                        <a:pt x="708" y="2513"/>
                      </a:lnTo>
                      <a:cubicBezTo>
                        <a:pt x="721" y="2512"/>
                        <a:pt x="734" y="2512"/>
                        <a:pt x="747" y="2511"/>
                      </a:cubicBezTo>
                      <a:lnTo>
                        <a:pt x="747" y="2511"/>
                      </a:lnTo>
                      <a:cubicBezTo>
                        <a:pt x="789" y="2507"/>
                        <a:pt x="831" y="2502"/>
                        <a:pt x="872" y="2494"/>
                      </a:cubicBezTo>
                      <a:lnTo>
                        <a:pt x="872" y="2494"/>
                      </a:lnTo>
                      <a:cubicBezTo>
                        <a:pt x="895" y="2489"/>
                        <a:pt x="920" y="2485"/>
                        <a:pt x="943" y="2480"/>
                      </a:cubicBezTo>
                      <a:lnTo>
                        <a:pt x="943" y="2480"/>
                      </a:lnTo>
                      <a:cubicBezTo>
                        <a:pt x="965" y="2475"/>
                        <a:pt x="987" y="2469"/>
                        <a:pt x="1009" y="2464"/>
                      </a:cubicBezTo>
                      <a:lnTo>
                        <a:pt x="1009" y="2464"/>
                      </a:lnTo>
                      <a:cubicBezTo>
                        <a:pt x="1034" y="2458"/>
                        <a:pt x="1059" y="2452"/>
                        <a:pt x="1083" y="2447"/>
                      </a:cubicBezTo>
                      <a:lnTo>
                        <a:pt x="1083" y="2447"/>
                      </a:lnTo>
                      <a:cubicBezTo>
                        <a:pt x="1087" y="2446"/>
                        <a:pt x="1091" y="2444"/>
                        <a:pt x="1095" y="2443"/>
                      </a:cubicBezTo>
                      <a:lnTo>
                        <a:pt x="1095" y="2443"/>
                      </a:lnTo>
                      <a:cubicBezTo>
                        <a:pt x="1109" y="2439"/>
                        <a:pt x="1123" y="2435"/>
                        <a:pt x="1137" y="2431"/>
                      </a:cubicBezTo>
                      <a:lnTo>
                        <a:pt x="1137" y="2431"/>
                      </a:lnTo>
                      <a:cubicBezTo>
                        <a:pt x="1163" y="2422"/>
                        <a:pt x="1190" y="2415"/>
                        <a:pt x="1217" y="2407"/>
                      </a:cubicBezTo>
                      <a:lnTo>
                        <a:pt x="1217" y="2407"/>
                      </a:lnTo>
                      <a:cubicBezTo>
                        <a:pt x="1238" y="2400"/>
                        <a:pt x="1259" y="2391"/>
                        <a:pt x="1279" y="2383"/>
                      </a:cubicBezTo>
                      <a:lnTo>
                        <a:pt x="1279" y="2383"/>
                      </a:lnTo>
                      <a:cubicBezTo>
                        <a:pt x="1319" y="2367"/>
                        <a:pt x="1359" y="2351"/>
                        <a:pt x="1398" y="2334"/>
                      </a:cubicBezTo>
                      <a:lnTo>
                        <a:pt x="1398" y="2334"/>
                      </a:lnTo>
                      <a:cubicBezTo>
                        <a:pt x="1421" y="2325"/>
                        <a:pt x="1444" y="2314"/>
                        <a:pt x="1467" y="2305"/>
                      </a:cubicBezTo>
                      <a:lnTo>
                        <a:pt x="1467" y="2305"/>
                      </a:lnTo>
                      <a:cubicBezTo>
                        <a:pt x="1485" y="2297"/>
                        <a:pt x="1503" y="2288"/>
                        <a:pt x="1521" y="2279"/>
                      </a:cubicBezTo>
                      <a:lnTo>
                        <a:pt x="1521" y="2279"/>
                      </a:lnTo>
                      <a:cubicBezTo>
                        <a:pt x="1538" y="2271"/>
                        <a:pt x="1556" y="2263"/>
                        <a:pt x="1573" y="2254"/>
                      </a:cubicBezTo>
                      <a:lnTo>
                        <a:pt x="1573" y="2254"/>
                      </a:lnTo>
                      <a:cubicBezTo>
                        <a:pt x="1600" y="2241"/>
                        <a:pt x="1626" y="2228"/>
                        <a:pt x="1652" y="2214"/>
                      </a:cubicBezTo>
                      <a:lnTo>
                        <a:pt x="1652" y="2214"/>
                      </a:lnTo>
                      <a:cubicBezTo>
                        <a:pt x="1668" y="2207"/>
                        <a:pt x="1682" y="2199"/>
                        <a:pt x="1697" y="2191"/>
                      </a:cubicBezTo>
                      <a:lnTo>
                        <a:pt x="1697" y="2191"/>
                      </a:lnTo>
                      <a:cubicBezTo>
                        <a:pt x="1711" y="2183"/>
                        <a:pt x="1724" y="2176"/>
                        <a:pt x="1739" y="2168"/>
                      </a:cubicBezTo>
                      <a:lnTo>
                        <a:pt x="1739" y="2168"/>
                      </a:lnTo>
                      <a:cubicBezTo>
                        <a:pt x="1746" y="2164"/>
                        <a:pt x="1754" y="2160"/>
                        <a:pt x="1761" y="2156"/>
                      </a:cubicBezTo>
                      <a:lnTo>
                        <a:pt x="1761" y="2156"/>
                      </a:lnTo>
                      <a:cubicBezTo>
                        <a:pt x="1783" y="2142"/>
                        <a:pt x="1804" y="2128"/>
                        <a:pt x="1826" y="2114"/>
                      </a:cubicBezTo>
                      <a:lnTo>
                        <a:pt x="1826" y="2114"/>
                      </a:lnTo>
                      <a:cubicBezTo>
                        <a:pt x="1841" y="2105"/>
                        <a:pt x="1856" y="2095"/>
                        <a:pt x="1871" y="2085"/>
                      </a:cubicBezTo>
                      <a:lnTo>
                        <a:pt x="1871" y="2085"/>
                      </a:lnTo>
                      <a:cubicBezTo>
                        <a:pt x="1915" y="2055"/>
                        <a:pt x="1961" y="2024"/>
                        <a:pt x="2005" y="1993"/>
                      </a:cubicBezTo>
                      <a:lnTo>
                        <a:pt x="2005" y="1993"/>
                      </a:lnTo>
                      <a:cubicBezTo>
                        <a:pt x="2016" y="1985"/>
                        <a:pt x="2026" y="1977"/>
                        <a:pt x="2037" y="1970"/>
                      </a:cubicBezTo>
                      <a:lnTo>
                        <a:pt x="2037" y="1970"/>
                      </a:lnTo>
                      <a:cubicBezTo>
                        <a:pt x="2063" y="1950"/>
                        <a:pt x="2089" y="1930"/>
                        <a:pt x="2115" y="1911"/>
                      </a:cubicBezTo>
                      <a:lnTo>
                        <a:pt x="2115" y="1911"/>
                      </a:lnTo>
                      <a:cubicBezTo>
                        <a:pt x="2127" y="1901"/>
                        <a:pt x="2141" y="1892"/>
                        <a:pt x="2153" y="1881"/>
                      </a:cubicBezTo>
                      <a:lnTo>
                        <a:pt x="2153" y="1881"/>
                      </a:lnTo>
                      <a:cubicBezTo>
                        <a:pt x="2171" y="1867"/>
                        <a:pt x="2189" y="1853"/>
                        <a:pt x="2207" y="1839"/>
                      </a:cubicBezTo>
                      <a:lnTo>
                        <a:pt x="2207" y="1839"/>
                      </a:lnTo>
                      <a:cubicBezTo>
                        <a:pt x="2240" y="1812"/>
                        <a:pt x="2272" y="1786"/>
                        <a:pt x="2304" y="1759"/>
                      </a:cubicBezTo>
                      <a:lnTo>
                        <a:pt x="2304" y="1759"/>
                      </a:lnTo>
                      <a:cubicBezTo>
                        <a:pt x="2345" y="1725"/>
                        <a:pt x="2385" y="1690"/>
                        <a:pt x="2426" y="1656"/>
                      </a:cubicBezTo>
                      <a:lnTo>
                        <a:pt x="2426" y="1656"/>
                      </a:lnTo>
                      <a:cubicBezTo>
                        <a:pt x="2438" y="1645"/>
                        <a:pt x="2451" y="1634"/>
                        <a:pt x="2462" y="1623"/>
                      </a:cubicBezTo>
                      <a:lnTo>
                        <a:pt x="2462" y="1623"/>
                      </a:lnTo>
                      <a:cubicBezTo>
                        <a:pt x="2486" y="1602"/>
                        <a:pt x="2510" y="1581"/>
                        <a:pt x="2534" y="1560"/>
                      </a:cubicBezTo>
                      <a:lnTo>
                        <a:pt x="2534" y="1560"/>
                      </a:lnTo>
                      <a:cubicBezTo>
                        <a:pt x="2565" y="1533"/>
                        <a:pt x="2595" y="1503"/>
                        <a:pt x="2625" y="1474"/>
                      </a:cubicBezTo>
                      <a:lnTo>
                        <a:pt x="2625" y="1474"/>
                      </a:lnTo>
                      <a:cubicBezTo>
                        <a:pt x="2642" y="1458"/>
                        <a:pt x="2660" y="1442"/>
                        <a:pt x="2677" y="1425"/>
                      </a:cubicBezTo>
                      <a:lnTo>
                        <a:pt x="2677" y="1425"/>
                      </a:lnTo>
                      <a:cubicBezTo>
                        <a:pt x="2689" y="1413"/>
                        <a:pt x="2700" y="1401"/>
                        <a:pt x="2712" y="1389"/>
                      </a:cubicBezTo>
                      <a:lnTo>
                        <a:pt x="2712" y="1389"/>
                      </a:lnTo>
                      <a:cubicBezTo>
                        <a:pt x="2743" y="1357"/>
                        <a:pt x="2774" y="1325"/>
                        <a:pt x="2804" y="1293"/>
                      </a:cubicBezTo>
                      <a:lnTo>
                        <a:pt x="2804" y="1293"/>
                      </a:lnTo>
                      <a:cubicBezTo>
                        <a:pt x="2836" y="1258"/>
                        <a:pt x="2869" y="1222"/>
                        <a:pt x="2901" y="1187"/>
                      </a:cubicBezTo>
                      <a:lnTo>
                        <a:pt x="2901" y="1187"/>
                      </a:lnTo>
                      <a:cubicBezTo>
                        <a:pt x="2935" y="1149"/>
                        <a:pt x="2968" y="1111"/>
                        <a:pt x="3001" y="1073"/>
                      </a:cubicBezTo>
                      <a:lnTo>
                        <a:pt x="3001" y="1073"/>
                      </a:lnTo>
                      <a:cubicBezTo>
                        <a:pt x="3033" y="1037"/>
                        <a:pt x="3062" y="1000"/>
                        <a:pt x="3093" y="964"/>
                      </a:cubicBezTo>
                      <a:lnTo>
                        <a:pt x="3093" y="964"/>
                      </a:lnTo>
                      <a:cubicBezTo>
                        <a:pt x="3121" y="930"/>
                        <a:pt x="3149" y="897"/>
                        <a:pt x="3177" y="864"/>
                      </a:cubicBezTo>
                      <a:lnTo>
                        <a:pt x="3177" y="864"/>
                      </a:lnTo>
                      <a:cubicBezTo>
                        <a:pt x="3218" y="815"/>
                        <a:pt x="3261" y="767"/>
                        <a:pt x="3303" y="719"/>
                      </a:cubicBezTo>
                      <a:lnTo>
                        <a:pt x="3303" y="719"/>
                      </a:lnTo>
                      <a:cubicBezTo>
                        <a:pt x="3302" y="721"/>
                        <a:pt x="3300" y="723"/>
                        <a:pt x="3298" y="724"/>
                      </a:cubicBezTo>
                      <a:lnTo>
                        <a:pt x="3298" y="724"/>
                      </a:lnTo>
                      <a:cubicBezTo>
                        <a:pt x="3315" y="706"/>
                        <a:pt x="3332" y="687"/>
                        <a:pt x="3350" y="668"/>
                      </a:cubicBezTo>
                      <a:lnTo>
                        <a:pt x="3350" y="668"/>
                      </a:lnTo>
                      <a:cubicBezTo>
                        <a:pt x="3363" y="652"/>
                        <a:pt x="3378" y="637"/>
                        <a:pt x="3392" y="622"/>
                      </a:cubicBezTo>
                      <a:lnTo>
                        <a:pt x="3392" y="622"/>
                      </a:lnTo>
                      <a:cubicBezTo>
                        <a:pt x="3409" y="606"/>
                        <a:pt x="3426" y="590"/>
                        <a:pt x="3442" y="573"/>
                      </a:cubicBezTo>
                      <a:lnTo>
                        <a:pt x="3442" y="573"/>
                      </a:lnTo>
                      <a:cubicBezTo>
                        <a:pt x="3455" y="561"/>
                        <a:pt x="3469" y="550"/>
                        <a:pt x="3483" y="537"/>
                      </a:cubicBezTo>
                      <a:lnTo>
                        <a:pt x="3483" y="537"/>
                      </a:lnTo>
                      <a:cubicBezTo>
                        <a:pt x="3503" y="520"/>
                        <a:pt x="3523" y="502"/>
                        <a:pt x="3543" y="485"/>
                      </a:cubicBezTo>
                      <a:lnTo>
                        <a:pt x="3543" y="485"/>
                      </a:lnTo>
                      <a:cubicBezTo>
                        <a:pt x="3554" y="475"/>
                        <a:pt x="3565" y="467"/>
                        <a:pt x="3576" y="458"/>
                      </a:cubicBezTo>
                      <a:lnTo>
                        <a:pt x="3576" y="458"/>
                      </a:lnTo>
                      <a:cubicBezTo>
                        <a:pt x="3619" y="422"/>
                        <a:pt x="3662" y="387"/>
                        <a:pt x="3706" y="352"/>
                      </a:cubicBezTo>
                      <a:lnTo>
                        <a:pt x="3706" y="352"/>
                      </a:lnTo>
                      <a:cubicBezTo>
                        <a:pt x="3730" y="331"/>
                        <a:pt x="3757" y="313"/>
                        <a:pt x="3783" y="294"/>
                      </a:cubicBezTo>
                      <a:lnTo>
                        <a:pt x="3783" y="294"/>
                      </a:lnTo>
                      <a:cubicBezTo>
                        <a:pt x="3822" y="265"/>
                        <a:pt x="3862" y="236"/>
                        <a:pt x="3903" y="209"/>
                      </a:cubicBezTo>
                      <a:lnTo>
                        <a:pt x="3903" y="209"/>
                      </a:lnTo>
                      <a:cubicBezTo>
                        <a:pt x="3902" y="210"/>
                        <a:pt x="3901" y="210"/>
                        <a:pt x="3901" y="211"/>
                      </a:cubicBezTo>
                      <a:lnTo>
                        <a:pt x="3901" y="211"/>
                      </a:lnTo>
                      <a:cubicBezTo>
                        <a:pt x="3963" y="170"/>
                        <a:pt x="4028" y="135"/>
                        <a:pt x="4095" y="101"/>
                      </a:cubicBezTo>
                      <a:lnTo>
                        <a:pt x="4095" y="101"/>
                      </a:lnTo>
                      <a:cubicBezTo>
                        <a:pt x="4098" y="99"/>
                        <a:pt x="4100" y="97"/>
                        <a:pt x="4102" y="95"/>
                      </a:cubicBezTo>
                      <a:lnTo>
                        <a:pt x="4102" y="95"/>
                      </a:lnTo>
                      <a:cubicBezTo>
                        <a:pt x="4110" y="91"/>
                        <a:pt x="4118" y="87"/>
                        <a:pt x="4125" y="83"/>
                      </a:cubicBezTo>
                      <a:lnTo>
                        <a:pt x="4125" y="83"/>
                      </a:lnTo>
                      <a:cubicBezTo>
                        <a:pt x="4131" y="79"/>
                        <a:pt x="4137" y="75"/>
                        <a:pt x="4143" y="71"/>
                      </a:cubicBezTo>
                      <a:lnTo>
                        <a:pt x="4143" y="71"/>
                      </a:lnTo>
                      <a:cubicBezTo>
                        <a:pt x="4151" y="66"/>
                        <a:pt x="4159" y="61"/>
                        <a:pt x="4163" y="53"/>
                      </a:cubicBezTo>
                      <a:lnTo>
                        <a:pt x="4163" y="53"/>
                      </a:lnTo>
                      <a:cubicBezTo>
                        <a:pt x="4171" y="40"/>
                        <a:pt x="4170" y="22"/>
                        <a:pt x="4157" y="14"/>
                      </a:cubicBezTo>
                      <a:lnTo>
                        <a:pt x="4157" y="14"/>
                      </a:lnTo>
                      <a:cubicBezTo>
                        <a:pt x="4152" y="11"/>
                        <a:pt x="4147" y="8"/>
                        <a:pt x="4142" y="8"/>
                      </a:cubicBezTo>
                      <a:lnTo>
                        <a:pt x="4142" y="8"/>
                      </a:lnTo>
                      <a:cubicBezTo>
                        <a:pt x="4140" y="8"/>
                        <a:pt x="4138" y="8"/>
                        <a:pt x="4136" y="8"/>
                      </a:cubicBezTo>
                      <a:lnTo>
                        <a:pt x="4136" y="8"/>
                      </a:lnTo>
                      <a:cubicBezTo>
                        <a:pt x="4133" y="8"/>
                        <a:pt x="4130" y="7"/>
                        <a:pt x="4128" y="7"/>
                      </a:cubicBezTo>
                      <a:lnTo>
                        <a:pt x="4128" y="7"/>
                      </a:lnTo>
                      <a:cubicBezTo>
                        <a:pt x="4121" y="7"/>
                        <a:pt x="4115" y="7"/>
                        <a:pt x="4108" y="6"/>
                      </a:cubicBezTo>
                      <a:lnTo>
                        <a:pt x="4108" y="6"/>
                      </a:lnTo>
                      <a:cubicBezTo>
                        <a:pt x="4089" y="5"/>
                        <a:pt x="4069" y="3"/>
                        <a:pt x="4050" y="2"/>
                      </a:cubicBezTo>
                      <a:lnTo>
                        <a:pt x="4050" y="2"/>
                      </a:lnTo>
                      <a:cubicBezTo>
                        <a:pt x="4032" y="1"/>
                        <a:pt x="4015" y="0"/>
                        <a:pt x="3997" y="0"/>
                      </a:cubicBezTo>
                      <a:lnTo>
                        <a:pt x="3997" y="0"/>
                      </a:lnTo>
                      <a:cubicBezTo>
                        <a:pt x="3973" y="0"/>
                        <a:pt x="3949" y="1"/>
                        <a:pt x="3925" y="5"/>
                      </a:cubicBezTo>
                      <a:lnTo>
                        <a:pt x="4052" y="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73">
                  <a:extLst>
                    <a:ext uri="{FF2B5EF4-FFF2-40B4-BE49-F238E27FC236}">
                      <a16:creationId xmlns:a16="http://schemas.microsoft.com/office/drawing/2014/main" id="{7C08289E-F46A-2F42-A484-B653D23697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6625" y="4878388"/>
                  <a:ext cx="457200" cy="401637"/>
                </a:xfrm>
                <a:custGeom>
                  <a:avLst/>
                  <a:gdLst>
                    <a:gd name="T0" fmla="*/ 68 w 1268"/>
                    <a:gd name="T1" fmla="*/ 611 h 1117"/>
                    <a:gd name="T2" fmla="*/ 326 w 1268"/>
                    <a:gd name="T3" fmla="*/ 1046 h 1117"/>
                    <a:gd name="T4" fmla="*/ 625 w 1268"/>
                    <a:gd name="T5" fmla="*/ 1022 h 1117"/>
                    <a:gd name="T6" fmla="*/ 1051 w 1268"/>
                    <a:gd name="T7" fmla="*/ 775 h 1117"/>
                    <a:gd name="T8" fmla="*/ 630 w 1268"/>
                    <a:gd name="T9" fmla="*/ 59 h 1117"/>
                    <a:gd name="T10" fmla="*/ 692 w 1268"/>
                    <a:gd name="T11" fmla="*/ 64 h 1117"/>
                    <a:gd name="T12" fmla="*/ 699 w 1268"/>
                    <a:gd name="T13" fmla="*/ 66 h 1117"/>
                    <a:gd name="T14" fmla="*/ 760 w 1268"/>
                    <a:gd name="T15" fmla="*/ 68 h 1117"/>
                    <a:gd name="T16" fmla="*/ 886 w 1268"/>
                    <a:gd name="T17" fmla="*/ 84 h 1117"/>
                    <a:gd name="T18" fmla="*/ 1097 w 1268"/>
                    <a:gd name="T19" fmla="*/ 193 h 1117"/>
                    <a:gd name="T20" fmla="*/ 1126 w 1268"/>
                    <a:gd name="T21" fmla="*/ 222 h 1117"/>
                    <a:gd name="T22" fmla="*/ 1164 w 1268"/>
                    <a:gd name="T23" fmla="*/ 278 h 1117"/>
                    <a:gd name="T24" fmla="*/ 1207 w 1268"/>
                    <a:gd name="T25" fmla="*/ 417 h 1117"/>
                    <a:gd name="T26" fmla="*/ 1175 w 1268"/>
                    <a:gd name="T27" fmla="*/ 579 h 1117"/>
                    <a:gd name="T28" fmla="*/ 1107 w 1268"/>
                    <a:gd name="T29" fmla="*/ 704 h 1117"/>
                    <a:gd name="T30" fmla="*/ 891 w 1268"/>
                    <a:gd name="T31" fmla="*/ 901 h 1117"/>
                    <a:gd name="T32" fmla="*/ 831 w 1268"/>
                    <a:gd name="T33" fmla="*/ 935 h 1117"/>
                    <a:gd name="T34" fmla="*/ 629 w 1268"/>
                    <a:gd name="T35" fmla="*/ 1021 h 1117"/>
                    <a:gd name="T36" fmla="*/ 450 w 1268"/>
                    <a:gd name="T37" fmla="*/ 1057 h 1117"/>
                    <a:gd name="T38" fmla="*/ 326 w 1268"/>
                    <a:gd name="T39" fmla="*/ 1046 h 1117"/>
                    <a:gd name="T40" fmla="*/ 322 w 1268"/>
                    <a:gd name="T41" fmla="*/ 1045 h 1117"/>
                    <a:gd name="T42" fmla="*/ 274 w 1268"/>
                    <a:gd name="T43" fmla="*/ 1032 h 1117"/>
                    <a:gd name="T44" fmla="*/ 102 w 1268"/>
                    <a:gd name="T45" fmla="*/ 917 h 1117"/>
                    <a:gd name="T46" fmla="*/ 57 w 1268"/>
                    <a:gd name="T47" fmla="*/ 746 h 1117"/>
                    <a:gd name="T48" fmla="*/ 68 w 1268"/>
                    <a:gd name="T49" fmla="*/ 612 h 1117"/>
                    <a:gd name="T50" fmla="*/ 68 w 1268"/>
                    <a:gd name="T51" fmla="*/ 612 h 1117"/>
                    <a:gd name="T52" fmla="*/ 81 w 1268"/>
                    <a:gd name="T53" fmla="*/ 565 h 1117"/>
                    <a:gd name="T54" fmla="*/ 103 w 1268"/>
                    <a:gd name="T55" fmla="*/ 499 h 1117"/>
                    <a:gd name="T56" fmla="*/ 198 w 1268"/>
                    <a:gd name="T57" fmla="*/ 341 h 1117"/>
                    <a:gd name="T58" fmla="*/ 289 w 1268"/>
                    <a:gd name="T59" fmla="*/ 246 h 1117"/>
                    <a:gd name="T60" fmla="*/ 364 w 1268"/>
                    <a:gd name="T61" fmla="*/ 185 h 1117"/>
                    <a:gd name="T62" fmla="*/ 487 w 1268"/>
                    <a:gd name="T63" fmla="*/ 107 h 1117"/>
                    <a:gd name="T64" fmla="*/ 660 w 1268"/>
                    <a:gd name="T65" fmla="*/ 0 h 1117"/>
                    <a:gd name="T66" fmla="*/ 501 w 1268"/>
                    <a:gd name="T67" fmla="*/ 39 h 1117"/>
                    <a:gd name="T68" fmla="*/ 289 w 1268"/>
                    <a:gd name="T69" fmla="*/ 172 h 1117"/>
                    <a:gd name="T70" fmla="*/ 249 w 1268"/>
                    <a:gd name="T71" fmla="*/ 207 h 1117"/>
                    <a:gd name="T72" fmla="*/ 122 w 1268"/>
                    <a:gd name="T73" fmla="*/ 348 h 1117"/>
                    <a:gd name="T74" fmla="*/ 76 w 1268"/>
                    <a:gd name="T75" fmla="*/ 424 h 1117"/>
                    <a:gd name="T76" fmla="*/ 31 w 1268"/>
                    <a:gd name="T77" fmla="*/ 535 h 1117"/>
                    <a:gd name="T78" fmla="*/ 4 w 1268"/>
                    <a:gd name="T79" fmla="*/ 658 h 1117"/>
                    <a:gd name="T80" fmla="*/ 77 w 1268"/>
                    <a:gd name="T81" fmla="*/ 977 h 1117"/>
                    <a:gd name="T82" fmla="*/ 205 w 1268"/>
                    <a:gd name="T83" fmla="*/ 1066 h 1117"/>
                    <a:gd name="T84" fmla="*/ 324 w 1268"/>
                    <a:gd name="T85" fmla="*/ 1102 h 1117"/>
                    <a:gd name="T86" fmla="*/ 539 w 1268"/>
                    <a:gd name="T87" fmla="*/ 1102 h 1117"/>
                    <a:gd name="T88" fmla="*/ 719 w 1268"/>
                    <a:gd name="T89" fmla="*/ 1048 h 1117"/>
                    <a:gd name="T90" fmla="*/ 803 w 1268"/>
                    <a:gd name="T91" fmla="*/ 1012 h 1117"/>
                    <a:gd name="T92" fmla="*/ 1012 w 1268"/>
                    <a:gd name="T93" fmla="*/ 883 h 1117"/>
                    <a:gd name="T94" fmla="*/ 1097 w 1268"/>
                    <a:gd name="T95" fmla="*/ 806 h 1117"/>
                    <a:gd name="T96" fmla="*/ 1174 w 1268"/>
                    <a:gd name="T97" fmla="*/ 705 h 1117"/>
                    <a:gd name="T98" fmla="*/ 1207 w 1268"/>
                    <a:gd name="T99" fmla="*/ 642 h 1117"/>
                    <a:gd name="T100" fmla="*/ 1261 w 1268"/>
                    <a:gd name="T101" fmla="*/ 469 h 1117"/>
                    <a:gd name="T102" fmla="*/ 1233 w 1268"/>
                    <a:gd name="T103" fmla="*/ 288 h 1117"/>
                    <a:gd name="T104" fmla="*/ 1086 w 1268"/>
                    <a:gd name="T105" fmla="*/ 112 h 1117"/>
                    <a:gd name="T106" fmla="*/ 928 w 1268"/>
                    <a:gd name="T107" fmla="*/ 38 h 1117"/>
                    <a:gd name="T108" fmla="*/ 712 w 1268"/>
                    <a:gd name="T109" fmla="*/ 8 h 1117"/>
                    <a:gd name="T110" fmla="*/ 666 w 1268"/>
                    <a:gd name="T111" fmla="*/ 0 h 1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68" h="1117">
                      <a:moveTo>
                        <a:pt x="68" y="612"/>
                      </a:move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1"/>
                      </a:lnTo>
                      <a:lnTo>
                        <a:pt x="68" y="611"/>
                      </a:lnTo>
                      <a:lnTo>
                        <a:pt x="68" y="612"/>
                      </a:lnTo>
                      <a:close/>
                      <a:moveTo>
                        <a:pt x="326" y="1045"/>
                      </a:moveTo>
                      <a:lnTo>
                        <a:pt x="326" y="1046"/>
                      </a:lnTo>
                      <a:lnTo>
                        <a:pt x="326" y="1046"/>
                      </a:lnTo>
                      <a:cubicBezTo>
                        <a:pt x="326" y="1045"/>
                        <a:pt x="326" y="1045"/>
                        <a:pt x="326" y="1045"/>
                      </a:cubicBezTo>
                      <a:close/>
                      <a:moveTo>
                        <a:pt x="628" y="1021"/>
                      </a:moveTo>
                      <a:lnTo>
                        <a:pt x="628" y="1021"/>
                      </a:lnTo>
                      <a:cubicBezTo>
                        <a:pt x="627" y="1022"/>
                        <a:pt x="626" y="1022"/>
                        <a:pt x="625" y="1022"/>
                      </a:cubicBezTo>
                      <a:lnTo>
                        <a:pt x="625" y="1022"/>
                      </a:lnTo>
                      <a:cubicBezTo>
                        <a:pt x="626" y="1022"/>
                        <a:pt x="627" y="1022"/>
                        <a:pt x="628" y="1021"/>
                      </a:cubicBezTo>
                      <a:close/>
                      <a:moveTo>
                        <a:pt x="1055" y="770"/>
                      </a:moveTo>
                      <a:lnTo>
                        <a:pt x="1055" y="770"/>
                      </a:lnTo>
                      <a:cubicBezTo>
                        <a:pt x="1054" y="771"/>
                        <a:pt x="1053" y="773"/>
                        <a:pt x="1051" y="775"/>
                      </a:cubicBezTo>
                      <a:lnTo>
                        <a:pt x="1051" y="775"/>
                      </a:lnTo>
                      <a:cubicBezTo>
                        <a:pt x="1053" y="773"/>
                        <a:pt x="1054" y="771"/>
                        <a:pt x="1055" y="770"/>
                      </a:cubicBezTo>
                      <a:close/>
                      <a:moveTo>
                        <a:pt x="599" y="66"/>
                      </a:moveTo>
                      <a:lnTo>
                        <a:pt x="599" y="66"/>
                      </a:lnTo>
                      <a:cubicBezTo>
                        <a:pt x="609" y="63"/>
                        <a:pt x="620" y="61"/>
                        <a:pt x="630" y="59"/>
                      </a:cubicBezTo>
                      <a:lnTo>
                        <a:pt x="630" y="59"/>
                      </a:lnTo>
                      <a:cubicBezTo>
                        <a:pt x="631" y="61"/>
                        <a:pt x="633" y="62"/>
                        <a:pt x="635" y="63"/>
                      </a:cubicBezTo>
                      <a:lnTo>
                        <a:pt x="635" y="63"/>
                      </a:lnTo>
                      <a:cubicBezTo>
                        <a:pt x="641" y="68"/>
                        <a:pt x="648" y="69"/>
                        <a:pt x="656" y="68"/>
                      </a:cubicBezTo>
                      <a:lnTo>
                        <a:pt x="656" y="68"/>
                      </a:lnTo>
                      <a:cubicBezTo>
                        <a:pt x="667" y="66"/>
                        <a:pt x="680" y="65"/>
                        <a:pt x="692" y="64"/>
                      </a:cubicBezTo>
                      <a:lnTo>
                        <a:pt x="692" y="64"/>
                      </a:lnTo>
                      <a:cubicBezTo>
                        <a:pt x="693" y="64"/>
                        <a:pt x="695" y="64"/>
                        <a:pt x="696" y="64"/>
                      </a:cubicBezTo>
                      <a:lnTo>
                        <a:pt x="696" y="64"/>
                      </a:lnTo>
                      <a:cubicBezTo>
                        <a:pt x="697" y="65"/>
                        <a:pt x="698" y="66"/>
                        <a:pt x="699" y="66"/>
                      </a:cubicBezTo>
                      <a:lnTo>
                        <a:pt x="699" y="66"/>
                      </a:lnTo>
                      <a:cubicBezTo>
                        <a:pt x="708" y="74"/>
                        <a:pt x="723" y="73"/>
                        <a:pt x="732" y="65"/>
                      </a:cubicBezTo>
                      <a:lnTo>
                        <a:pt x="732" y="65"/>
                      </a:lnTo>
                      <a:cubicBezTo>
                        <a:pt x="735" y="66"/>
                        <a:pt x="737" y="66"/>
                        <a:pt x="740" y="66"/>
                      </a:cubicBezTo>
                      <a:lnTo>
                        <a:pt x="740" y="66"/>
                      </a:lnTo>
                      <a:cubicBezTo>
                        <a:pt x="747" y="67"/>
                        <a:pt x="754" y="67"/>
                        <a:pt x="760" y="68"/>
                      </a:cubicBezTo>
                      <a:lnTo>
                        <a:pt x="760" y="68"/>
                      </a:lnTo>
                      <a:cubicBezTo>
                        <a:pt x="776" y="70"/>
                        <a:pt x="791" y="71"/>
                        <a:pt x="807" y="72"/>
                      </a:cubicBezTo>
                      <a:lnTo>
                        <a:pt x="807" y="72"/>
                      </a:lnTo>
                      <a:cubicBezTo>
                        <a:pt x="833" y="75"/>
                        <a:pt x="860" y="79"/>
                        <a:pt x="886" y="84"/>
                      </a:cubicBezTo>
                      <a:lnTo>
                        <a:pt x="886" y="84"/>
                      </a:lnTo>
                      <a:cubicBezTo>
                        <a:pt x="922" y="93"/>
                        <a:pt x="957" y="106"/>
                        <a:pt x="992" y="122"/>
                      </a:cubicBezTo>
                      <a:lnTo>
                        <a:pt x="992" y="122"/>
                      </a:lnTo>
                      <a:cubicBezTo>
                        <a:pt x="1010" y="132"/>
                        <a:pt x="1028" y="142"/>
                        <a:pt x="1046" y="153"/>
                      </a:cubicBezTo>
                      <a:lnTo>
                        <a:pt x="1046" y="153"/>
                      </a:lnTo>
                      <a:cubicBezTo>
                        <a:pt x="1064" y="165"/>
                        <a:pt x="1081" y="179"/>
                        <a:pt x="1097" y="193"/>
                      </a:cubicBezTo>
                      <a:lnTo>
                        <a:pt x="1097" y="193"/>
                      </a:lnTo>
                      <a:cubicBezTo>
                        <a:pt x="1102" y="197"/>
                        <a:pt x="1106" y="201"/>
                        <a:pt x="1110" y="205"/>
                      </a:cubicBezTo>
                      <a:lnTo>
                        <a:pt x="1110" y="205"/>
                      </a:lnTo>
                      <a:cubicBezTo>
                        <a:pt x="1116" y="211"/>
                        <a:pt x="1120" y="216"/>
                        <a:pt x="1126" y="222"/>
                      </a:cubicBezTo>
                      <a:lnTo>
                        <a:pt x="1126" y="222"/>
                      </a:lnTo>
                      <a:cubicBezTo>
                        <a:pt x="1130" y="228"/>
                        <a:pt x="1135" y="234"/>
                        <a:pt x="1139" y="240"/>
                      </a:cubicBezTo>
                      <a:lnTo>
                        <a:pt x="1139" y="240"/>
                      </a:lnTo>
                      <a:cubicBezTo>
                        <a:pt x="1143" y="245"/>
                        <a:pt x="1147" y="251"/>
                        <a:pt x="1151" y="256"/>
                      </a:cubicBezTo>
                      <a:lnTo>
                        <a:pt x="1151" y="256"/>
                      </a:lnTo>
                      <a:cubicBezTo>
                        <a:pt x="1155" y="263"/>
                        <a:pt x="1160" y="271"/>
                        <a:pt x="1164" y="278"/>
                      </a:cubicBezTo>
                      <a:lnTo>
                        <a:pt x="1164" y="278"/>
                      </a:lnTo>
                      <a:cubicBezTo>
                        <a:pt x="1175" y="296"/>
                        <a:pt x="1184" y="314"/>
                        <a:pt x="1191" y="333"/>
                      </a:cubicBezTo>
                      <a:lnTo>
                        <a:pt x="1191" y="333"/>
                      </a:lnTo>
                      <a:cubicBezTo>
                        <a:pt x="1200" y="361"/>
                        <a:pt x="1205" y="388"/>
                        <a:pt x="1207" y="417"/>
                      </a:cubicBezTo>
                      <a:lnTo>
                        <a:pt x="1207" y="417"/>
                      </a:lnTo>
                      <a:cubicBezTo>
                        <a:pt x="1208" y="448"/>
                        <a:pt x="1203" y="480"/>
                        <a:pt x="1197" y="511"/>
                      </a:cubicBezTo>
                      <a:lnTo>
                        <a:pt x="1197" y="511"/>
                      </a:lnTo>
                      <a:cubicBezTo>
                        <a:pt x="1195" y="521"/>
                        <a:pt x="1192" y="531"/>
                        <a:pt x="1189" y="540"/>
                      </a:cubicBezTo>
                      <a:lnTo>
                        <a:pt x="1189" y="540"/>
                      </a:lnTo>
                      <a:cubicBezTo>
                        <a:pt x="1185" y="554"/>
                        <a:pt x="1180" y="567"/>
                        <a:pt x="1175" y="579"/>
                      </a:cubicBezTo>
                      <a:lnTo>
                        <a:pt x="1175" y="579"/>
                      </a:lnTo>
                      <a:cubicBezTo>
                        <a:pt x="1167" y="601"/>
                        <a:pt x="1156" y="622"/>
                        <a:pt x="1145" y="642"/>
                      </a:cubicBezTo>
                      <a:lnTo>
                        <a:pt x="1145" y="642"/>
                      </a:lnTo>
                      <a:cubicBezTo>
                        <a:pt x="1133" y="664"/>
                        <a:pt x="1122" y="685"/>
                        <a:pt x="1107" y="704"/>
                      </a:cubicBezTo>
                      <a:lnTo>
                        <a:pt x="1107" y="704"/>
                      </a:lnTo>
                      <a:cubicBezTo>
                        <a:pt x="1090" y="726"/>
                        <a:pt x="1074" y="749"/>
                        <a:pt x="1056" y="769"/>
                      </a:cubicBezTo>
                      <a:lnTo>
                        <a:pt x="1056" y="769"/>
                      </a:lnTo>
                      <a:cubicBezTo>
                        <a:pt x="1027" y="800"/>
                        <a:pt x="995" y="827"/>
                        <a:pt x="961" y="851"/>
                      </a:cubicBezTo>
                      <a:lnTo>
                        <a:pt x="961" y="851"/>
                      </a:lnTo>
                      <a:cubicBezTo>
                        <a:pt x="938" y="869"/>
                        <a:pt x="915" y="885"/>
                        <a:pt x="891" y="901"/>
                      </a:cubicBezTo>
                      <a:lnTo>
                        <a:pt x="891" y="901"/>
                      </a:lnTo>
                      <a:cubicBezTo>
                        <a:pt x="880" y="908"/>
                        <a:pt x="869" y="914"/>
                        <a:pt x="858" y="921"/>
                      </a:cubicBezTo>
                      <a:lnTo>
                        <a:pt x="858" y="921"/>
                      </a:lnTo>
                      <a:cubicBezTo>
                        <a:pt x="849" y="926"/>
                        <a:pt x="840" y="931"/>
                        <a:pt x="831" y="935"/>
                      </a:cubicBezTo>
                      <a:lnTo>
                        <a:pt x="831" y="935"/>
                      </a:lnTo>
                      <a:cubicBezTo>
                        <a:pt x="807" y="947"/>
                        <a:pt x="784" y="959"/>
                        <a:pt x="760" y="970"/>
                      </a:cubicBezTo>
                      <a:lnTo>
                        <a:pt x="760" y="970"/>
                      </a:lnTo>
                      <a:cubicBezTo>
                        <a:pt x="739" y="980"/>
                        <a:pt x="717" y="989"/>
                        <a:pt x="695" y="998"/>
                      </a:cubicBezTo>
                      <a:lnTo>
                        <a:pt x="695" y="998"/>
                      </a:lnTo>
                      <a:cubicBezTo>
                        <a:pt x="673" y="1006"/>
                        <a:pt x="651" y="1013"/>
                        <a:pt x="629" y="1021"/>
                      </a:cubicBezTo>
                      <a:lnTo>
                        <a:pt x="581" y="1035"/>
                      </a:lnTo>
                      <a:lnTo>
                        <a:pt x="581" y="1035"/>
                      </a:lnTo>
                      <a:cubicBezTo>
                        <a:pt x="564" y="1041"/>
                        <a:pt x="545" y="1044"/>
                        <a:pt x="528" y="1048"/>
                      </a:cubicBezTo>
                      <a:lnTo>
                        <a:pt x="528" y="1048"/>
                      </a:lnTo>
                      <a:cubicBezTo>
                        <a:pt x="503" y="1052"/>
                        <a:pt x="477" y="1055"/>
                        <a:pt x="450" y="1057"/>
                      </a:cubicBezTo>
                      <a:lnTo>
                        <a:pt x="450" y="1057"/>
                      </a:lnTo>
                      <a:cubicBezTo>
                        <a:pt x="453" y="1056"/>
                        <a:pt x="455" y="1056"/>
                        <a:pt x="458" y="1056"/>
                      </a:cubicBezTo>
                      <a:lnTo>
                        <a:pt x="458" y="1056"/>
                      </a:lnTo>
                      <a:cubicBezTo>
                        <a:pt x="414" y="1059"/>
                        <a:pt x="370" y="1055"/>
                        <a:pt x="326" y="1046"/>
                      </a:cubicBezTo>
                      <a:lnTo>
                        <a:pt x="326" y="1046"/>
                      </a:lnTo>
                      <a:cubicBezTo>
                        <a:pt x="327" y="1046"/>
                        <a:pt x="329" y="1046"/>
                        <a:pt x="329" y="1046"/>
                      </a:cubicBezTo>
                      <a:lnTo>
                        <a:pt x="329" y="1046"/>
                      </a:lnTo>
                      <a:cubicBezTo>
                        <a:pt x="328" y="1046"/>
                        <a:pt x="327" y="1046"/>
                        <a:pt x="326" y="1045"/>
                      </a:cubicBezTo>
                      <a:lnTo>
                        <a:pt x="326" y="1045"/>
                      </a:lnTo>
                      <a:cubicBezTo>
                        <a:pt x="324" y="1045"/>
                        <a:pt x="323" y="1045"/>
                        <a:pt x="322" y="1045"/>
                      </a:cubicBezTo>
                      <a:lnTo>
                        <a:pt x="322" y="1045"/>
                      </a:lnTo>
                      <a:cubicBezTo>
                        <a:pt x="323" y="1045"/>
                        <a:pt x="324" y="1045"/>
                        <a:pt x="326" y="1045"/>
                      </a:cubicBezTo>
                      <a:lnTo>
                        <a:pt x="326" y="1045"/>
                      </a:lnTo>
                      <a:cubicBezTo>
                        <a:pt x="309" y="1041"/>
                        <a:pt x="292" y="1036"/>
                        <a:pt x="274" y="1032"/>
                      </a:cubicBezTo>
                      <a:lnTo>
                        <a:pt x="274" y="1032"/>
                      </a:lnTo>
                      <a:cubicBezTo>
                        <a:pt x="246" y="1023"/>
                        <a:pt x="219" y="1013"/>
                        <a:pt x="193" y="1000"/>
                      </a:cubicBezTo>
                      <a:lnTo>
                        <a:pt x="193" y="1000"/>
                      </a:lnTo>
                      <a:cubicBezTo>
                        <a:pt x="175" y="990"/>
                        <a:pt x="158" y="978"/>
                        <a:pt x="142" y="964"/>
                      </a:cubicBezTo>
                      <a:lnTo>
                        <a:pt x="142" y="964"/>
                      </a:lnTo>
                      <a:cubicBezTo>
                        <a:pt x="127" y="950"/>
                        <a:pt x="114" y="934"/>
                        <a:pt x="102" y="917"/>
                      </a:cubicBezTo>
                      <a:lnTo>
                        <a:pt x="102" y="917"/>
                      </a:lnTo>
                      <a:cubicBezTo>
                        <a:pt x="91" y="900"/>
                        <a:pt x="82" y="881"/>
                        <a:pt x="76" y="861"/>
                      </a:cubicBezTo>
                      <a:lnTo>
                        <a:pt x="76" y="861"/>
                      </a:lnTo>
                      <a:cubicBezTo>
                        <a:pt x="64" y="824"/>
                        <a:pt x="60" y="785"/>
                        <a:pt x="57" y="746"/>
                      </a:cubicBezTo>
                      <a:lnTo>
                        <a:pt x="57" y="746"/>
                      </a:lnTo>
                      <a:cubicBezTo>
                        <a:pt x="58" y="748"/>
                        <a:pt x="58" y="750"/>
                        <a:pt x="58" y="753"/>
                      </a:cubicBezTo>
                      <a:lnTo>
                        <a:pt x="58" y="753"/>
                      </a:lnTo>
                      <a:cubicBezTo>
                        <a:pt x="57" y="730"/>
                        <a:pt x="57" y="706"/>
                        <a:pt x="58" y="683"/>
                      </a:cubicBezTo>
                      <a:lnTo>
                        <a:pt x="58" y="683"/>
                      </a:lnTo>
                      <a:cubicBezTo>
                        <a:pt x="59" y="659"/>
                        <a:pt x="62" y="635"/>
                        <a:pt x="68" y="612"/>
                      </a:cubicBezTo>
                      <a:lnTo>
                        <a:pt x="68" y="612"/>
                      </a:lnTo>
                      <a:cubicBezTo>
                        <a:pt x="67" y="613"/>
                        <a:pt x="67" y="614"/>
                        <a:pt x="67" y="614"/>
                      </a:cubicBezTo>
                      <a:lnTo>
                        <a:pt x="67" y="614"/>
                      </a:lnTo>
                      <a:cubicBezTo>
                        <a:pt x="67" y="614"/>
                        <a:pt x="67" y="612"/>
                        <a:pt x="68" y="612"/>
                      </a:cubicBezTo>
                      <a:lnTo>
                        <a:pt x="68" y="612"/>
                      </a:lnTo>
                      <a:cubicBezTo>
                        <a:pt x="68" y="610"/>
                        <a:pt x="68" y="609"/>
                        <a:pt x="68" y="607"/>
                      </a:cubicBezTo>
                      <a:lnTo>
                        <a:pt x="68" y="607"/>
                      </a:lnTo>
                      <a:cubicBezTo>
                        <a:pt x="68" y="608"/>
                        <a:pt x="68" y="609"/>
                        <a:pt x="68" y="611"/>
                      </a:cubicBezTo>
                      <a:lnTo>
                        <a:pt x="68" y="611"/>
                      </a:lnTo>
                      <a:cubicBezTo>
                        <a:pt x="71" y="595"/>
                        <a:pt x="76" y="580"/>
                        <a:pt x="81" y="565"/>
                      </a:cubicBezTo>
                      <a:lnTo>
                        <a:pt x="81" y="565"/>
                      </a:lnTo>
                      <a:cubicBezTo>
                        <a:pt x="84" y="555"/>
                        <a:pt x="87" y="544"/>
                        <a:pt x="90" y="534"/>
                      </a:cubicBezTo>
                      <a:lnTo>
                        <a:pt x="90" y="534"/>
                      </a:lnTo>
                      <a:cubicBezTo>
                        <a:pt x="94" y="523"/>
                        <a:pt x="99" y="511"/>
                        <a:pt x="103" y="499"/>
                      </a:cubicBezTo>
                      <a:lnTo>
                        <a:pt x="103" y="499"/>
                      </a:lnTo>
                      <a:cubicBezTo>
                        <a:pt x="110" y="481"/>
                        <a:pt x="118" y="463"/>
                        <a:pt x="127" y="446"/>
                      </a:cubicBezTo>
                      <a:lnTo>
                        <a:pt x="127" y="446"/>
                      </a:lnTo>
                      <a:cubicBezTo>
                        <a:pt x="142" y="418"/>
                        <a:pt x="159" y="392"/>
                        <a:pt x="178" y="366"/>
                      </a:cubicBezTo>
                      <a:lnTo>
                        <a:pt x="178" y="366"/>
                      </a:lnTo>
                      <a:cubicBezTo>
                        <a:pt x="185" y="358"/>
                        <a:pt x="191" y="349"/>
                        <a:pt x="198" y="341"/>
                      </a:cubicBezTo>
                      <a:lnTo>
                        <a:pt x="198" y="341"/>
                      </a:lnTo>
                      <a:cubicBezTo>
                        <a:pt x="207" y="331"/>
                        <a:pt x="216" y="321"/>
                        <a:pt x="224" y="312"/>
                      </a:cubicBezTo>
                      <a:lnTo>
                        <a:pt x="224" y="312"/>
                      </a:lnTo>
                      <a:cubicBezTo>
                        <a:pt x="237" y="298"/>
                        <a:pt x="249" y="285"/>
                        <a:pt x="262" y="272"/>
                      </a:cubicBezTo>
                      <a:lnTo>
                        <a:pt x="289" y="246"/>
                      </a:lnTo>
                      <a:lnTo>
                        <a:pt x="289" y="246"/>
                      </a:lnTo>
                      <a:cubicBezTo>
                        <a:pt x="297" y="238"/>
                        <a:pt x="306" y="231"/>
                        <a:pt x="314" y="224"/>
                      </a:cubicBezTo>
                      <a:lnTo>
                        <a:pt x="314" y="224"/>
                      </a:lnTo>
                      <a:cubicBezTo>
                        <a:pt x="331" y="210"/>
                        <a:pt x="347" y="198"/>
                        <a:pt x="364" y="185"/>
                      </a:cubicBezTo>
                      <a:lnTo>
                        <a:pt x="364" y="185"/>
                      </a:lnTo>
                      <a:cubicBezTo>
                        <a:pt x="373" y="179"/>
                        <a:pt x="383" y="172"/>
                        <a:pt x="392" y="166"/>
                      </a:cubicBezTo>
                      <a:lnTo>
                        <a:pt x="392" y="166"/>
                      </a:lnTo>
                      <a:cubicBezTo>
                        <a:pt x="405" y="157"/>
                        <a:pt x="418" y="148"/>
                        <a:pt x="432" y="139"/>
                      </a:cubicBezTo>
                      <a:lnTo>
                        <a:pt x="432" y="139"/>
                      </a:lnTo>
                      <a:cubicBezTo>
                        <a:pt x="450" y="127"/>
                        <a:pt x="468" y="117"/>
                        <a:pt x="487" y="107"/>
                      </a:cubicBezTo>
                      <a:lnTo>
                        <a:pt x="487" y="107"/>
                      </a:lnTo>
                      <a:cubicBezTo>
                        <a:pt x="508" y="96"/>
                        <a:pt x="529" y="87"/>
                        <a:pt x="552" y="79"/>
                      </a:cubicBezTo>
                      <a:lnTo>
                        <a:pt x="552" y="79"/>
                      </a:lnTo>
                      <a:cubicBezTo>
                        <a:pt x="568" y="74"/>
                        <a:pt x="584" y="70"/>
                        <a:pt x="599" y="66"/>
                      </a:cubicBezTo>
                      <a:lnTo>
                        <a:pt x="660" y="0"/>
                      </a:lnTo>
                      <a:lnTo>
                        <a:pt x="660" y="0"/>
                      </a:lnTo>
                      <a:cubicBezTo>
                        <a:pt x="632" y="0"/>
                        <a:pt x="604" y="8"/>
                        <a:pt x="576" y="14"/>
                      </a:cubicBezTo>
                      <a:lnTo>
                        <a:pt x="576" y="14"/>
                      </a:lnTo>
                      <a:cubicBezTo>
                        <a:pt x="551" y="20"/>
                        <a:pt x="525" y="29"/>
                        <a:pt x="501" y="39"/>
                      </a:cubicBezTo>
                      <a:lnTo>
                        <a:pt x="501" y="39"/>
                      </a:lnTo>
                      <a:cubicBezTo>
                        <a:pt x="473" y="50"/>
                        <a:pt x="447" y="64"/>
                        <a:pt x="422" y="80"/>
                      </a:cubicBezTo>
                      <a:lnTo>
                        <a:pt x="422" y="80"/>
                      </a:lnTo>
                      <a:cubicBezTo>
                        <a:pt x="392" y="98"/>
                        <a:pt x="364" y="118"/>
                        <a:pt x="336" y="137"/>
                      </a:cubicBezTo>
                      <a:lnTo>
                        <a:pt x="336" y="137"/>
                      </a:lnTo>
                      <a:cubicBezTo>
                        <a:pt x="320" y="149"/>
                        <a:pt x="304" y="161"/>
                        <a:pt x="289" y="172"/>
                      </a:cubicBezTo>
                      <a:lnTo>
                        <a:pt x="289" y="172"/>
                      </a:lnTo>
                      <a:cubicBezTo>
                        <a:pt x="282" y="178"/>
                        <a:pt x="275" y="184"/>
                        <a:pt x="268" y="190"/>
                      </a:cubicBezTo>
                      <a:lnTo>
                        <a:pt x="268" y="190"/>
                      </a:lnTo>
                      <a:cubicBezTo>
                        <a:pt x="262" y="195"/>
                        <a:pt x="255" y="201"/>
                        <a:pt x="249" y="207"/>
                      </a:cubicBezTo>
                      <a:lnTo>
                        <a:pt x="249" y="207"/>
                      </a:lnTo>
                      <a:cubicBezTo>
                        <a:pt x="234" y="222"/>
                        <a:pt x="219" y="236"/>
                        <a:pt x="205" y="252"/>
                      </a:cubicBezTo>
                      <a:lnTo>
                        <a:pt x="205" y="252"/>
                      </a:lnTo>
                      <a:cubicBezTo>
                        <a:pt x="189" y="268"/>
                        <a:pt x="173" y="285"/>
                        <a:pt x="158" y="302"/>
                      </a:cubicBezTo>
                      <a:lnTo>
                        <a:pt x="158" y="302"/>
                      </a:lnTo>
                      <a:cubicBezTo>
                        <a:pt x="145" y="317"/>
                        <a:pt x="134" y="333"/>
                        <a:pt x="122" y="348"/>
                      </a:cubicBezTo>
                      <a:lnTo>
                        <a:pt x="122" y="348"/>
                      </a:lnTo>
                      <a:cubicBezTo>
                        <a:pt x="116" y="356"/>
                        <a:pt x="111" y="365"/>
                        <a:pt x="105" y="373"/>
                      </a:cubicBezTo>
                      <a:lnTo>
                        <a:pt x="105" y="373"/>
                      </a:lnTo>
                      <a:cubicBezTo>
                        <a:pt x="94" y="390"/>
                        <a:pt x="84" y="407"/>
                        <a:pt x="76" y="424"/>
                      </a:cubicBezTo>
                      <a:lnTo>
                        <a:pt x="76" y="424"/>
                      </a:lnTo>
                      <a:cubicBezTo>
                        <a:pt x="67" y="441"/>
                        <a:pt x="59" y="457"/>
                        <a:pt x="53" y="474"/>
                      </a:cubicBezTo>
                      <a:lnTo>
                        <a:pt x="53" y="474"/>
                      </a:lnTo>
                      <a:cubicBezTo>
                        <a:pt x="49" y="487"/>
                        <a:pt x="43" y="500"/>
                        <a:pt x="39" y="513"/>
                      </a:cubicBezTo>
                      <a:lnTo>
                        <a:pt x="39" y="513"/>
                      </a:lnTo>
                      <a:cubicBezTo>
                        <a:pt x="36" y="520"/>
                        <a:pt x="34" y="528"/>
                        <a:pt x="31" y="535"/>
                      </a:cubicBezTo>
                      <a:lnTo>
                        <a:pt x="31" y="535"/>
                      </a:lnTo>
                      <a:cubicBezTo>
                        <a:pt x="27" y="548"/>
                        <a:pt x="23" y="562"/>
                        <a:pt x="20" y="575"/>
                      </a:cubicBezTo>
                      <a:lnTo>
                        <a:pt x="20" y="575"/>
                      </a:lnTo>
                      <a:cubicBezTo>
                        <a:pt x="13" y="602"/>
                        <a:pt x="7" y="630"/>
                        <a:pt x="4" y="658"/>
                      </a:cubicBezTo>
                      <a:lnTo>
                        <a:pt x="4" y="658"/>
                      </a:lnTo>
                      <a:cubicBezTo>
                        <a:pt x="0" y="688"/>
                        <a:pt x="1" y="718"/>
                        <a:pt x="2" y="749"/>
                      </a:cubicBezTo>
                      <a:lnTo>
                        <a:pt x="2" y="749"/>
                      </a:lnTo>
                      <a:cubicBezTo>
                        <a:pt x="5" y="805"/>
                        <a:pt x="13" y="862"/>
                        <a:pt x="37" y="914"/>
                      </a:cubicBezTo>
                      <a:lnTo>
                        <a:pt x="37" y="914"/>
                      </a:lnTo>
                      <a:cubicBezTo>
                        <a:pt x="47" y="937"/>
                        <a:pt x="61" y="957"/>
                        <a:pt x="77" y="977"/>
                      </a:cubicBezTo>
                      <a:lnTo>
                        <a:pt x="77" y="977"/>
                      </a:lnTo>
                      <a:cubicBezTo>
                        <a:pt x="94" y="997"/>
                        <a:pt x="115" y="1015"/>
                        <a:pt x="137" y="1031"/>
                      </a:cubicBezTo>
                      <a:lnTo>
                        <a:pt x="137" y="1031"/>
                      </a:lnTo>
                      <a:cubicBezTo>
                        <a:pt x="158" y="1045"/>
                        <a:pt x="181" y="1056"/>
                        <a:pt x="205" y="1066"/>
                      </a:cubicBezTo>
                      <a:lnTo>
                        <a:pt x="205" y="1066"/>
                      </a:lnTo>
                      <a:cubicBezTo>
                        <a:pt x="222" y="1073"/>
                        <a:pt x="241" y="1080"/>
                        <a:pt x="259" y="1085"/>
                      </a:cubicBezTo>
                      <a:lnTo>
                        <a:pt x="259" y="1085"/>
                      </a:lnTo>
                      <a:cubicBezTo>
                        <a:pt x="269" y="1088"/>
                        <a:pt x="280" y="1091"/>
                        <a:pt x="291" y="1094"/>
                      </a:cubicBezTo>
                      <a:lnTo>
                        <a:pt x="291" y="1094"/>
                      </a:lnTo>
                      <a:cubicBezTo>
                        <a:pt x="302" y="1097"/>
                        <a:pt x="313" y="1099"/>
                        <a:pt x="324" y="1102"/>
                      </a:cubicBezTo>
                      <a:lnTo>
                        <a:pt x="324" y="1102"/>
                      </a:lnTo>
                      <a:cubicBezTo>
                        <a:pt x="339" y="1105"/>
                        <a:pt x="354" y="1107"/>
                        <a:pt x="369" y="1109"/>
                      </a:cubicBezTo>
                      <a:lnTo>
                        <a:pt x="369" y="1109"/>
                      </a:lnTo>
                      <a:cubicBezTo>
                        <a:pt x="425" y="1116"/>
                        <a:pt x="483" y="1112"/>
                        <a:pt x="539" y="1102"/>
                      </a:cubicBezTo>
                      <a:lnTo>
                        <a:pt x="539" y="1102"/>
                      </a:lnTo>
                      <a:cubicBezTo>
                        <a:pt x="571" y="1096"/>
                        <a:pt x="602" y="1087"/>
                        <a:pt x="634" y="1078"/>
                      </a:cubicBezTo>
                      <a:lnTo>
                        <a:pt x="634" y="1078"/>
                      </a:lnTo>
                      <a:cubicBezTo>
                        <a:pt x="654" y="1071"/>
                        <a:pt x="675" y="1064"/>
                        <a:pt x="695" y="1057"/>
                      </a:cubicBezTo>
                      <a:lnTo>
                        <a:pt x="695" y="1057"/>
                      </a:lnTo>
                      <a:cubicBezTo>
                        <a:pt x="703" y="1054"/>
                        <a:pt x="710" y="1051"/>
                        <a:pt x="719" y="1048"/>
                      </a:cubicBezTo>
                      <a:lnTo>
                        <a:pt x="719" y="1048"/>
                      </a:lnTo>
                      <a:cubicBezTo>
                        <a:pt x="727" y="1045"/>
                        <a:pt x="736" y="1041"/>
                        <a:pt x="745" y="1038"/>
                      </a:cubicBezTo>
                      <a:lnTo>
                        <a:pt x="745" y="1038"/>
                      </a:lnTo>
                      <a:cubicBezTo>
                        <a:pt x="764" y="1030"/>
                        <a:pt x="783" y="1021"/>
                        <a:pt x="803" y="1012"/>
                      </a:cubicBezTo>
                      <a:lnTo>
                        <a:pt x="803" y="1012"/>
                      </a:lnTo>
                      <a:cubicBezTo>
                        <a:pt x="822" y="1002"/>
                        <a:pt x="842" y="992"/>
                        <a:pt x="861" y="982"/>
                      </a:cubicBezTo>
                      <a:lnTo>
                        <a:pt x="861" y="982"/>
                      </a:lnTo>
                      <a:cubicBezTo>
                        <a:pt x="897" y="964"/>
                        <a:pt x="931" y="942"/>
                        <a:pt x="963" y="919"/>
                      </a:cubicBezTo>
                      <a:lnTo>
                        <a:pt x="963" y="919"/>
                      </a:lnTo>
                      <a:cubicBezTo>
                        <a:pt x="979" y="907"/>
                        <a:pt x="996" y="895"/>
                        <a:pt x="1012" y="883"/>
                      </a:cubicBezTo>
                      <a:lnTo>
                        <a:pt x="1012" y="883"/>
                      </a:lnTo>
                      <a:cubicBezTo>
                        <a:pt x="1021" y="876"/>
                        <a:pt x="1029" y="869"/>
                        <a:pt x="1038" y="862"/>
                      </a:cubicBezTo>
                      <a:lnTo>
                        <a:pt x="1038" y="862"/>
                      </a:lnTo>
                      <a:cubicBezTo>
                        <a:pt x="1059" y="846"/>
                        <a:pt x="1079" y="826"/>
                        <a:pt x="1097" y="806"/>
                      </a:cubicBezTo>
                      <a:lnTo>
                        <a:pt x="1097" y="806"/>
                      </a:lnTo>
                      <a:cubicBezTo>
                        <a:pt x="1113" y="789"/>
                        <a:pt x="1127" y="770"/>
                        <a:pt x="1141" y="751"/>
                      </a:cubicBezTo>
                      <a:lnTo>
                        <a:pt x="1141" y="751"/>
                      </a:lnTo>
                      <a:cubicBezTo>
                        <a:pt x="1146" y="745"/>
                        <a:pt x="1152" y="738"/>
                        <a:pt x="1157" y="730"/>
                      </a:cubicBezTo>
                      <a:lnTo>
                        <a:pt x="1157" y="730"/>
                      </a:lnTo>
                      <a:cubicBezTo>
                        <a:pt x="1163" y="722"/>
                        <a:pt x="1169" y="713"/>
                        <a:pt x="1174" y="705"/>
                      </a:cubicBezTo>
                      <a:lnTo>
                        <a:pt x="1174" y="705"/>
                      </a:lnTo>
                      <a:cubicBezTo>
                        <a:pt x="1180" y="694"/>
                        <a:pt x="1185" y="684"/>
                        <a:pt x="1192" y="674"/>
                      </a:cubicBezTo>
                      <a:lnTo>
                        <a:pt x="1192" y="674"/>
                      </a:lnTo>
                      <a:cubicBezTo>
                        <a:pt x="1197" y="664"/>
                        <a:pt x="1203" y="653"/>
                        <a:pt x="1207" y="642"/>
                      </a:cubicBezTo>
                      <a:lnTo>
                        <a:pt x="1207" y="642"/>
                      </a:lnTo>
                      <a:cubicBezTo>
                        <a:pt x="1216" y="625"/>
                        <a:pt x="1224" y="608"/>
                        <a:pt x="1231" y="589"/>
                      </a:cubicBezTo>
                      <a:lnTo>
                        <a:pt x="1231" y="589"/>
                      </a:lnTo>
                      <a:cubicBezTo>
                        <a:pt x="1238" y="571"/>
                        <a:pt x="1244" y="551"/>
                        <a:pt x="1249" y="531"/>
                      </a:cubicBezTo>
                      <a:lnTo>
                        <a:pt x="1249" y="531"/>
                      </a:lnTo>
                      <a:cubicBezTo>
                        <a:pt x="1255" y="511"/>
                        <a:pt x="1257" y="490"/>
                        <a:pt x="1261" y="469"/>
                      </a:cubicBezTo>
                      <a:lnTo>
                        <a:pt x="1261" y="469"/>
                      </a:lnTo>
                      <a:cubicBezTo>
                        <a:pt x="1267" y="426"/>
                        <a:pt x="1261" y="383"/>
                        <a:pt x="1251" y="341"/>
                      </a:cubicBezTo>
                      <a:lnTo>
                        <a:pt x="1251" y="341"/>
                      </a:lnTo>
                      <a:cubicBezTo>
                        <a:pt x="1246" y="322"/>
                        <a:pt x="1240" y="305"/>
                        <a:pt x="1233" y="288"/>
                      </a:cubicBezTo>
                      <a:lnTo>
                        <a:pt x="1233" y="288"/>
                      </a:lnTo>
                      <a:cubicBezTo>
                        <a:pt x="1227" y="273"/>
                        <a:pt x="1218" y="260"/>
                        <a:pt x="1210" y="246"/>
                      </a:cubicBezTo>
                      <a:lnTo>
                        <a:pt x="1210" y="246"/>
                      </a:lnTo>
                      <a:cubicBezTo>
                        <a:pt x="1188" y="211"/>
                        <a:pt x="1163" y="176"/>
                        <a:pt x="1132" y="149"/>
                      </a:cubicBezTo>
                      <a:lnTo>
                        <a:pt x="1132" y="149"/>
                      </a:lnTo>
                      <a:cubicBezTo>
                        <a:pt x="1116" y="136"/>
                        <a:pt x="1102" y="124"/>
                        <a:pt x="1086" y="112"/>
                      </a:cubicBezTo>
                      <a:lnTo>
                        <a:pt x="1086" y="112"/>
                      </a:lnTo>
                      <a:cubicBezTo>
                        <a:pt x="1070" y="101"/>
                        <a:pt x="1053" y="93"/>
                        <a:pt x="1036" y="84"/>
                      </a:cubicBezTo>
                      <a:lnTo>
                        <a:pt x="1036" y="84"/>
                      </a:lnTo>
                      <a:cubicBezTo>
                        <a:pt x="1002" y="65"/>
                        <a:pt x="966" y="48"/>
                        <a:pt x="928" y="38"/>
                      </a:cubicBezTo>
                      <a:lnTo>
                        <a:pt x="928" y="38"/>
                      </a:lnTo>
                      <a:cubicBezTo>
                        <a:pt x="888" y="26"/>
                        <a:pt x="848" y="20"/>
                        <a:pt x="807" y="16"/>
                      </a:cubicBezTo>
                      <a:lnTo>
                        <a:pt x="807" y="16"/>
                      </a:lnTo>
                      <a:cubicBezTo>
                        <a:pt x="788" y="14"/>
                        <a:pt x="768" y="13"/>
                        <a:pt x="749" y="11"/>
                      </a:cubicBezTo>
                      <a:lnTo>
                        <a:pt x="749" y="11"/>
                      </a:lnTo>
                      <a:cubicBezTo>
                        <a:pt x="736" y="10"/>
                        <a:pt x="724" y="9"/>
                        <a:pt x="712" y="8"/>
                      </a:cubicBezTo>
                      <a:lnTo>
                        <a:pt x="712" y="8"/>
                      </a:lnTo>
                      <a:cubicBezTo>
                        <a:pt x="707" y="6"/>
                        <a:pt x="703" y="5"/>
                        <a:pt x="699" y="3"/>
                      </a:cubicBezTo>
                      <a:lnTo>
                        <a:pt x="699" y="3"/>
                      </a:lnTo>
                      <a:cubicBezTo>
                        <a:pt x="687" y="0"/>
                        <a:pt x="677" y="0"/>
                        <a:pt x="666" y="0"/>
                      </a:cubicBezTo>
                      <a:lnTo>
                        <a:pt x="666" y="0"/>
                      </a:lnTo>
                      <a:cubicBezTo>
                        <a:pt x="664" y="0"/>
                        <a:pt x="662" y="0"/>
                        <a:pt x="660" y="0"/>
                      </a:cubicBezTo>
                      <a:lnTo>
                        <a:pt x="599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 74">
                  <a:extLst>
                    <a:ext uri="{FF2B5EF4-FFF2-40B4-BE49-F238E27FC236}">
                      <a16:creationId xmlns:a16="http://schemas.microsoft.com/office/drawing/2014/main" id="{EC69FCB2-F411-E141-801D-7A381FFA2F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08538" y="5016500"/>
                  <a:ext cx="90487" cy="122238"/>
                </a:xfrm>
                <a:custGeom>
                  <a:avLst/>
                  <a:gdLst>
                    <a:gd name="T0" fmla="*/ 68 w 251"/>
                    <a:gd name="T1" fmla="*/ 301 h 339"/>
                    <a:gd name="T2" fmla="*/ 61 w 251"/>
                    <a:gd name="T3" fmla="*/ 301 h 339"/>
                    <a:gd name="T4" fmla="*/ 64 w 251"/>
                    <a:gd name="T5" fmla="*/ 301 h 339"/>
                    <a:gd name="T6" fmla="*/ 86 w 251"/>
                    <a:gd name="T7" fmla="*/ 297 h 339"/>
                    <a:gd name="T8" fmla="*/ 86 w 251"/>
                    <a:gd name="T9" fmla="*/ 297 h 339"/>
                    <a:gd name="T10" fmla="*/ 69 w 251"/>
                    <a:gd name="T11" fmla="*/ 159 h 339"/>
                    <a:gd name="T12" fmla="*/ 113 w 251"/>
                    <a:gd name="T13" fmla="*/ 96 h 339"/>
                    <a:gd name="T14" fmla="*/ 110 w 251"/>
                    <a:gd name="T15" fmla="*/ 99 h 339"/>
                    <a:gd name="T16" fmla="*/ 169 w 251"/>
                    <a:gd name="T17" fmla="*/ 50 h 339"/>
                    <a:gd name="T18" fmla="*/ 169 w 251"/>
                    <a:gd name="T19" fmla="*/ 50 h 339"/>
                    <a:gd name="T20" fmla="*/ 209 w 251"/>
                    <a:gd name="T21" fmla="*/ 50 h 339"/>
                    <a:gd name="T22" fmla="*/ 169 w 251"/>
                    <a:gd name="T23" fmla="*/ 50 h 339"/>
                    <a:gd name="T24" fmla="*/ 209 w 251"/>
                    <a:gd name="T25" fmla="*/ 48 h 339"/>
                    <a:gd name="T26" fmla="*/ 206 w 251"/>
                    <a:gd name="T27" fmla="*/ 45 h 339"/>
                    <a:gd name="T28" fmla="*/ 207 w 251"/>
                    <a:gd name="T29" fmla="*/ 46 h 339"/>
                    <a:gd name="T30" fmla="*/ 206 w 251"/>
                    <a:gd name="T31" fmla="*/ 45 h 339"/>
                    <a:gd name="T32" fmla="*/ 207 w 251"/>
                    <a:gd name="T33" fmla="*/ 45 h 339"/>
                    <a:gd name="T34" fmla="*/ 176 w 251"/>
                    <a:gd name="T35" fmla="*/ 49 h 339"/>
                    <a:gd name="T36" fmla="*/ 190 w 251"/>
                    <a:gd name="T37" fmla="*/ 38 h 339"/>
                    <a:gd name="T38" fmla="*/ 203 w 251"/>
                    <a:gd name="T39" fmla="*/ 43 h 339"/>
                    <a:gd name="T40" fmla="*/ 207 w 251"/>
                    <a:gd name="T41" fmla="*/ 46 h 339"/>
                    <a:gd name="T42" fmla="*/ 210 w 251"/>
                    <a:gd name="T43" fmla="*/ 52 h 339"/>
                    <a:gd name="T44" fmla="*/ 212 w 251"/>
                    <a:gd name="T45" fmla="*/ 105 h 339"/>
                    <a:gd name="T46" fmla="*/ 205 w 251"/>
                    <a:gd name="T47" fmla="*/ 141 h 339"/>
                    <a:gd name="T48" fmla="*/ 166 w 251"/>
                    <a:gd name="T49" fmla="*/ 229 h 339"/>
                    <a:gd name="T50" fmla="*/ 145 w 251"/>
                    <a:gd name="T51" fmla="*/ 255 h 339"/>
                    <a:gd name="T52" fmla="*/ 83 w 251"/>
                    <a:gd name="T53" fmla="*/ 298 h 339"/>
                    <a:gd name="T54" fmla="*/ 68 w 251"/>
                    <a:gd name="T55" fmla="*/ 301 h 339"/>
                    <a:gd name="T56" fmla="*/ 55 w 251"/>
                    <a:gd name="T57" fmla="*/ 299 h 339"/>
                    <a:gd name="T58" fmla="*/ 53 w 251"/>
                    <a:gd name="T59" fmla="*/ 297 h 339"/>
                    <a:gd name="T60" fmla="*/ 43 w 251"/>
                    <a:gd name="T61" fmla="*/ 280 h 339"/>
                    <a:gd name="T62" fmla="*/ 38 w 251"/>
                    <a:gd name="T63" fmla="*/ 257 h 339"/>
                    <a:gd name="T64" fmla="*/ 68 w 251"/>
                    <a:gd name="T65" fmla="*/ 161 h 339"/>
                    <a:gd name="T66" fmla="*/ 113 w 251"/>
                    <a:gd name="T67" fmla="*/ 95 h 339"/>
                    <a:gd name="T68" fmla="*/ 170 w 251"/>
                    <a:gd name="T69" fmla="*/ 50 h 339"/>
                    <a:gd name="T70" fmla="*/ 191 w 251"/>
                    <a:gd name="T71" fmla="*/ 38 h 339"/>
                    <a:gd name="T72" fmla="*/ 192 w 251"/>
                    <a:gd name="T73" fmla="*/ 38 h 339"/>
                    <a:gd name="T74" fmla="*/ 181 w 251"/>
                    <a:gd name="T75" fmla="*/ 0 h 339"/>
                    <a:gd name="T76" fmla="*/ 153 w 251"/>
                    <a:gd name="T77" fmla="*/ 17 h 339"/>
                    <a:gd name="T78" fmla="*/ 139 w 251"/>
                    <a:gd name="T79" fmla="*/ 24 h 339"/>
                    <a:gd name="T80" fmla="*/ 54 w 251"/>
                    <a:gd name="T81" fmla="*/ 111 h 339"/>
                    <a:gd name="T82" fmla="*/ 14 w 251"/>
                    <a:gd name="T83" fmla="*/ 192 h 339"/>
                    <a:gd name="T84" fmla="*/ 15 w 251"/>
                    <a:gd name="T85" fmla="*/ 308 h 339"/>
                    <a:gd name="T86" fmla="*/ 33 w 251"/>
                    <a:gd name="T87" fmla="*/ 329 h 339"/>
                    <a:gd name="T88" fmla="*/ 78 w 251"/>
                    <a:gd name="T89" fmla="*/ 337 h 339"/>
                    <a:gd name="T90" fmla="*/ 93 w 251"/>
                    <a:gd name="T91" fmla="*/ 333 h 339"/>
                    <a:gd name="T92" fmla="*/ 224 w 251"/>
                    <a:gd name="T93" fmla="*/ 201 h 339"/>
                    <a:gd name="T94" fmla="*/ 242 w 251"/>
                    <a:gd name="T95" fmla="*/ 146 h 339"/>
                    <a:gd name="T96" fmla="*/ 250 w 251"/>
                    <a:gd name="T97" fmla="*/ 72 h 339"/>
                    <a:gd name="T98" fmla="*/ 249 w 251"/>
                    <a:gd name="T99" fmla="*/ 61 h 339"/>
                    <a:gd name="T100" fmla="*/ 247 w 251"/>
                    <a:gd name="T101" fmla="*/ 47 h 339"/>
                    <a:gd name="T102" fmla="*/ 244 w 251"/>
                    <a:gd name="T103" fmla="*/ 36 h 339"/>
                    <a:gd name="T104" fmla="*/ 214 w 251"/>
                    <a:gd name="T105" fmla="*/ 7 h 339"/>
                    <a:gd name="T106" fmla="*/ 191 w 251"/>
                    <a:gd name="T107" fmla="*/ 0 h 339"/>
                    <a:gd name="T108" fmla="*/ 181 w 251"/>
                    <a:gd name="T109" fmla="*/ 0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1" h="339">
                      <a:moveTo>
                        <a:pt x="72" y="301"/>
                      </a:moveTo>
                      <a:lnTo>
                        <a:pt x="72" y="301"/>
                      </a:lnTo>
                      <a:cubicBezTo>
                        <a:pt x="71" y="301"/>
                        <a:pt x="70" y="301"/>
                        <a:pt x="68" y="301"/>
                      </a:cubicBezTo>
                      <a:lnTo>
                        <a:pt x="68" y="301"/>
                      </a:lnTo>
                      <a:cubicBezTo>
                        <a:pt x="70" y="301"/>
                        <a:pt x="71" y="301"/>
                        <a:pt x="72" y="301"/>
                      </a:cubicBezTo>
                      <a:close/>
                      <a:moveTo>
                        <a:pt x="61" y="301"/>
                      </a:moveTo>
                      <a:lnTo>
                        <a:pt x="61" y="301"/>
                      </a:lnTo>
                      <a:cubicBezTo>
                        <a:pt x="62" y="301"/>
                        <a:pt x="63" y="301"/>
                        <a:pt x="64" y="301"/>
                      </a:cubicBezTo>
                      <a:lnTo>
                        <a:pt x="64" y="301"/>
                      </a:lnTo>
                      <a:cubicBezTo>
                        <a:pt x="63" y="301"/>
                        <a:pt x="62" y="301"/>
                        <a:pt x="61" y="301"/>
                      </a:cubicBezTo>
                      <a:close/>
                      <a:moveTo>
                        <a:pt x="86" y="297"/>
                      </a:moveTo>
                      <a:lnTo>
                        <a:pt x="86" y="297"/>
                      </a:lnTo>
                      <a:lnTo>
                        <a:pt x="85" y="297"/>
                      </a:lnTo>
                      <a:lnTo>
                        <a:pt x="85" y="297"/>
                      </a:lnTo>
                      <a:lnTo>
                        <a:pt x="86" y="297"/>
                      </a:lnTo>
                      <a:close/>
                      <a:moveTo>
                        <a:pt x="70" y="157"/>
                      </a:moveTo>
                      <a:lnTo>
                        <a:pt x="70" y="157"/>
                      </a:lnTo>
                      <a:cubicBezTo>
                        <a:pt x="70" y="157"/>
                        <a:pt x="70" y="158"/>
                        <a:pt x="69" y="159"/>
                      </a:cubicBezTo>
                      <a:lnTo>
                        <a:pt x="69" y="159"/>
                      </a:lnTo>
                      <a:cubicBezTo>
                        <a:pt x="70" y="158"/>
                        <a:pt x="70" y="157"/>
                        <a:pt x="70" y="157"/>
                      </a:cubicBezTo>
                      <a:close/>
                      <a:moveTo>
                        <a:pt x="113" y="96"/>
                      </a:moveTo>
                      <a:lnTo>
                        <a:pt x="113" y="96"/>
                      </a:lnTo>
                      <a:cubicBezTo>
                        <a:pt x="112" y="96"/>
                        <a:pt x="111" y="98"/>
                        <a:pt x="110" y="99"/>
                      </a:cubicBezTo>
                      <a:lnTo>
                        <a:pt x="110" y="99"/>
                      </a:lnTo>
                      <a:cubicBezTo>
                        <a:pt x="111" y="98"/>
                        <a:pt x="112" y="96"/>
                        <a:pt x="113" y="96"/>
                      </a:cubicBezTo>
                      <a:close/>
                      <a:moveTo>
                        <a:pt x="169" y="50"/>
                      </a:moveTo>
                      <a:lnTo>
                        <a:pt x="169" y="50"/>
                      </a:lnTo>
                      <a:cubicBezTo>
                        <a:pt x="168" y="50"/>
                        <a:pt x="168" y="51"/>
                        <a:pt x="167" y="51"/>
                      </a:cubicBezTo>
                      <a:lnTo>
                        <a:pt x="167" y="51"/>
                      </a:lnTo>
                      <a:cubicBezTo>
                        <a:pt x="168" y="51"/>
                        <a:pt x="168" y="50"/>
                        <a:pt x="169" y="50"/>
                      </a:cubicBezTo>
                      <a:lnTo>
                        <a:pt x="209" y="48"/>
                      </a:lnTo>
                      <a:lnTo>
                        <a:pt x="209" y="48"/>
                      </a:lnTo>
                      <a:cubicBezTo>
                        <a:pt x="209" y="49"/>
                        <a:pt x="209" y="49"/>
                        <a:pt x="209" y="50"/>
                      </a:cubicBezTo>
                      <a:lnTo>
                        <a:pt x="209" y="50"/>
                      </a:lnTo>
                      <a:cubicBezTo>
                        <a:pt x="209" y="49"/>
                        <a:pt x="209" y="49"/>
                        <a:pt x="209" y="48"/>
                      </a:cubicBezTo>
                      <a:lnTo>
                        <a:pt x="169" y="50"/>
                      </a:lnTo>
                      <a:close/>
                      <a:moveTo>
                        <a:pt x="207" y="46"/>
                      </a:moveTo>
                      <a:lnTo>
                        <a:pt x="207" y="46"/>
                      </a:lnTo>
                      <a:cubicBezTo>
                        <a:pt x="207" y="46"/>
                        <a:pt x="208" y="47"/>
                        <a:pt x="209" y="48"/>
                      </a:cubicBezTo>
                      <a:lnTo>
                        <a:pt x="209" y="48"/>
                      </a:lnTo>
                      <a:cubicBezTo>
                        <a:pt x="208" y="47"/>
                        <a:pt x="207" y="46"/>
                        <a:pt x="207" y="46"/>
                      </a:cubicBezTo>
                      <a:close/>
                      <a:moveTo>
                        <a:pt x="206" y="45"/>
                      </a:moveTo>
                      <a:lnTo>
                        <a:pt x="206" y="45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cubicBezTo>
                        <a:pt x="207" y="46"/>
                        <a:pt x="206" y="46"/>
                        <a:pt x="206" y="45"/>
                      </a:cubicBezTo>
                      <a:close/>
                      <a:moveTo>
                        <a:pt x="205" y="43"/>
                      </a:moveTo>
                      <a:lnTo>
                        <a:pt x="205" y="43"/>
                      </a:lnTo>
                      <a:cubicBezTo>
                        <a:pt x="206" y="44"/>
                        <a:pt x="206" y="45"/>
                        <a:pt x="207" y="45"/>
                      </a:cubicBezTo>
                      <a:lnTo>
                        <a:pt x="205" y="43"/>
                      </a:lnTo>
                      <a:close/>
                      <a:moveTo>
                        <a:pt x="176" y="49"/>
                      </a:moveTo>
                      <a:lnTo>
                        <a:pt x="176" y="49"/>
                      </a:lnTo>
                      <a:cubicBezTo>
                        <a:pt x="181" y="49"/>
                        <a:pt x="185" y="45"/>
                        <a:pt x="188" y="41"/>
                      </a:cubicBezTo>
                      <a:lnTo>
                        <a:pt x="188" y="41"/>
                      </a:lnTo>
                      <a:cubicBezTo>
                        <a:pt x="189" y="40"/>
                        <a:pt x="189" y="39"/>
                        <a:pt x="190" y="38"/>
                      </a:cubicBezTo>
                      <a:lnTo>
                        <a:pt x="190" y="38"/>
                      </a:lnTo>
                      <a:cubicBezTo>
                        <a:pt x="194" y="40"/>
                        <a:pt x="199" y="41"/>
                        <a:pt x="203" y="43"/>
                      </a:cubicBezTo>
                      <a:lnTo>
                        <a:pt x="203" y="43"/>
                      </a:lnTo>
                      <a:cubicBezTo>
                        <a:pt x="204" y="44"/>
                        <a:pt x="205" y="44"/>
                        <a:pt x="206" y="45"/>
                      </a:cubicBezTo>
                      <a:lnTo>
                        <a:pt x="206" y="45"/>
                      </a:lnTo>
                      <a:cubicBezTo>
                        <a:pt x="206" y="46"/>
                        <a:pt x="207" y="46"/>
                        <a:pt x="207" y="46"/>
                      </a:cubicBezTo>
                      <a:lnTo>
                        <a:pt x="207" y="46"/>
                      </a:lnTo>
                      <a:cubicBezTo>
                        <a:pt x="209" y="48"/>
                        <a:pt x="209" y="50"/>
                        <a:pt x="210" y="52"/>
                      </a:cubicBezTo>
                      <a:lnTo>
                        <a:pt x="210" y="52"/>
                      </a:lnTo>
                      <a:cubicBezTo>
                        <a:pt x="212" y="58"/>
                        <a:pt x="212" y="64"/>
                        <a:pt x="213" y="71"/>
                      </a:cubicBezTo>
                      <a:lnTo>
                        <a:pt x="213" y="71"/>
                      </a:lnTo>
                      <a:cubicBezTo>
                        <a:pt x="214" y="82"/>
                        <a:pt x="213" y="94"/>
                        <a:pt x="212" y="105"/>
                      </a:cubicBezTo>
                      <a:lnTo>
                        <a:pt x="212" y="105"/>
                      </a:lnTo>
                      <a:cubicBezTo>
                        <a:pt x="210" y="118"/>
                        <a:pt x="207" y="129"/>
                        <a:pt x="205" y="141"/>
                      </a:cubicBezTo>
                      <a:lnTo>
                        <a:pt x="205" y="141"/>
                      </a:lnTo>
                      <a:cubicBezTo>
                        <a:pt x="200" y="161"/>
                        <a:pt x="192" y="181"/>
                        <a:pt x="183" y="200"/>
                      </a:cubicBezTo>
                      <a:lnTo>
                        <a:pt x="183" y="200"/>
                      </a:lnTo>
                      <a:cubicBezTo>
                        <a:pt x="178" y="210"/>
                        <a:pt x="172" y="219"/>
                        <a:pt x="166" y="229"/>
                      </a:cubicBezTo>
                      <a:lnTo>
                        <a:pt x="166" y="229"/>
                      </a:lnTo>
                      <a:cubicBezTo>
                        <a:pt x="160" y="237"/>
                        <a:pt x="153" y="246"/>
                        <a:pt x="145" y="255"/>
                      </a:cubicBezTo>
                      <a:lnTo>
                        <a:pt x="145" y="255"/>
                      </a:lnTo>
                      <a:cubicBezTo>
                        <a:pt x="135" y="265"/>
                        <a:pt x="125" y="275"/>
                        <a:pt x="113" y="283"/>
                      </a:cubicBezTo>
                      <a:lnTo>
                        <a:pt x="113" y="283"/>
                      </a:lnTo>
                      <a:cubicBezTo>
                        <a:pt x="103" y="288"/>
                        <a:pt x="93" y="294"/>
                        <a:pt x="83" y="298"/>
                      </a:cubicBezTo>
                      <a:lnTo>
                        <a:pt x="83" y="298"/>
                      </a:lnTo>
                      <a:cubicBezTo>
                        <a:pt x="78" y="299"/>
                        <a:pt x="73" y="300"/>
                        <a:pt x="68" y="301"/>
                      </a:cubicBezTo>
                      <a:lnTo>
                        <a:pt x="68" y="301"/>
                      </a:lnTo>
                      <a:cubicBezTo>
                        <a:pt x="65" y="301"/>
                        <a:pt x="63" y="301"/>
                        <a:pt x="60" y="300"/>
                      </a:cubicBezTo>
                      <a:lnTo>
                        <a:pt x="60" y="300"/>
                      </a:lnTo>
                      <a:cubicBezTo>
                        <a:pt x="58" y="300"/>
                        <a:pt x="57" y="300"/>
                        <a:pt x="55" y="299"/>
                      </a:cubicBezTo>
                      <a:lnTo>
                        <a:pt x="55" y="299"/>
                      </a:lnTo>
                      <a:cubicBezTo>
                        <a:pt x="54" y="298"/>
                        <a:pt x="53" y="297"/>
                        <a:pt x="53" y="297"/>
                      </a:cubicBezTo>
                      <a:lnTo>
                        <a:pt x="53" y="297"/>
                      </a:lnTo>
                      <a:cubicBezTo>
                        <a:pt x="51" y="295"/>
                        <a:pt x="50" y="293"/>
                        <a:pt x="48" y="292"/>
                      </a:cubicBezTo>
                      <a:lnTo>
                        <a:pt x="48" y="292"/>
                      </a:lnTo>
                      <a:cubicBezTo>
                        <a:pt x="46" y="288"/>
                        <a:pt x="44" y="284"/>
                        <a:pt x="43" y="280"/>
                      </a:cubicBezTo>
                      <a:lnTo>
                        <a:pt x="43" y="280"/>
                      </a:lnTo>
                      <a:cubicBezTo>
                        <a:pt x="41" y="273"/>
                        <a:pt x="39" y="265"/>
                        <a:pt x="38" y="257"/>
                      </a:cubicBezTo>
                      <a:lnTo>
                        <a:pt x="38" y="257"/>
                      </a:lnTo>
                      <a:cubicBezTo>
                        <a:pt x="38" y="248"/>
                        <a:pt x="39" y="240"/>
                        <a:pt x="40" y="232"/>
                      </a:cubicBezTo>
                      <a:lnTo>
                        <a:pt x="40" y="232"/>
                      </a:lnTo>
                      <a:cubicBezTo>
                        <a:pt x="47" y="207"/>
                        <a:pt x="57" y="183"/>
                        <a:pt x="68" y="161"/>
                      </a:cubicBezTo>
                      <a:lnTo>
                        <a:pt x="68" y="161"/>
                      </a:lnTo>
                      <a:cubicBezTo>
                        <a:pt x="81" y="138"/>
                        <a:pt x="95" y="116"/>
                        <a:pt x="113" y="95"/>
                      </a:cubicBezTo>
                      <a:lnTo>
                        <a:pt x="113" y="95"/>
                      </a:lnTo>
                      <a:cubicBezTo>
                        <a:pt x="126" y="81"/>
                        <a:pt x="141" y="67"/>
                        <a:pt x="157" y="56"/>
                      </a:cubicBezTo>
                      <a:lnTo>
                        <a:pt x="157" y="56"/>
                      </a:lnTo>
                      <a:cubicBezTo>
                        <a:pt x="161" y="54"/>
                        <a:pt x="165" y="51"/>
                        <a:pt x="170" y="50"/>
                      </a:cubicBezTo>
                      <a:lnTo>
                        <a:pt x="170" y="50"/>
                      </a:lnTo>
                      <a:cubicBezTo>
                        <a:pt x="172" y="50"/>
                        <a:pt x="174" y="49"/>
                        <a:pt x="176" y="49"/>
                      </a:cubicBezTo>
                      <a:close/>
                      <a:moveTo>
                        <a:pt x="191" y="38"/>
                      </a:moveTo>
                      <a:lnTo>
                        <a:pt x="191" y="38"/>
                      </a:lnTo>
                      <a:cubicBezTo>
                        <a:pt x="191" y="38"/>
                        <a:pt x="191" y="38"/>
                        <a:pt x="192" y="38"/>
                      </a:cubicBezTo>
                      <a:lnTo>
                        <a:pt x="192" y="38"/>
                      </a:lnTo>
                      <a:cubicBezTo>
                        <a:pt x="191" y="38"/>
                        <a:pt x="191" y="38"/>
                        <a:pt x="191" y="38"/>
                      </a:cubicBezTo>
                      <a:close/>
                      <a:moveTo>
                        <a:pt x="181" y="0"/>
                      </a:moveTo>
                      <a:lnTo>
                        <a:pt x="181" y="0"/>
                      </a:lnTo>
                      <a:cubicBezTo>
                        <a:pt x="176" y="0"/>
                        <a:pt x="172" y="1"/>
                        <a:pt x="168" y="2"/>
                      </a:cubicBezTo>
                      <a:lnTo>
                        <a:pt x="168" y="2"/>
                      </a:lnTo>
                      <a:cubicBezTo>
                        <a:pt x="160" y="4"/>
                        <a:pt x="155" y="10"/>
                        <a:pt x="153" y="17"/>
                      </a:cubicBezTo>
                      <a:lnTo>
                        <a:pt x="153" y="17"/>
                      </a:lnTo>
                      <a:cubicBezTo>
                        <a:pt x="148" y="18"/>
                        <a:pt x="143" y="21"/>
                        <a:pt x="139" y="24"/>
                      </a:cubicBezTo>
                      <a:lnTo>
                        <a:pt x="139" y="24"/>
                      </a:lnTo>
                      <a:cubicBezTo>
                        <a:pt x="128" y="30"/>
                        <a:pt x="118" y="38"/>
                        <a:pt x="109" y="47"/>
                      </a:cubicBezTo>
                      <a:lnTo>
                        <a:pt x="109" y="47"/>
                      </a:lnTo>
                      <a:cubicBezTo>
                        <a:pt x="88" y="66"/>
                        <a:pt x="70" y="88"/>
                        <a:pt x="54" y="111"/>
                      </a:cubicBezTo>
                      <a:lnTo>
                        <a:pt x="54" y="111"/>
                      </a:lnTo>
                      <a:cubicBezTo>
                        <a:pt x="37" y="136"/>
                        <a:pt x="25" y="164"/>
                        <a:pt x="14" y="192"/>
                      </a:cubicBezTo>
                      <a:lnTo>
                        <a:pt x="14" y="192"/>
                      </a:lnTo>
                      <a:cubicBezTo>
                        <a:pt x="7" y="210"/>
                        <a:pt x="2" y="230"/>
                        <a:pt x="2" y="250"/>
                      </a:cubicBezTo>
                      <a:lnTo>
                        <a:pt x="2" y="250"/>
                      </a:lnTo>
                      <a:cubicBezTo>
                        <a:pt x="0" y="270"/>
                        <a:pt x="5" y="291"/>
                        <a:pt x="15" y="308"/>
                      </a:cubicBezTo>
                      <a:lnTo>
                        <a:pt x="15" y="308"/>
                      </a:lnTo>
                      <a:cubicBezTo>
                        <a:pt x="20" y="317"/>
                        <a:pt x="25" y="323"/>
                        <a:pt x="33" y="329"/>
                      </a:cubicBezTo>
                      <a:lnTo>
                        <a:pt x="33" y="329"/>
                      </a:lnTo>
                      <a:cubicBezTo>
                        <a:pt x="41" y="335"/>
                        <a:pt x="52" y="337"/>
                        <a:pt x="63" y="338"/>
                      </a:cubicBezTo>
                      <a:lnTo>
                        <a:pt x="63" y="338"/>
                      </a:lnTo>
                      <a:cubicBezTo>
                        <a:pt x="67" y="338"/>
                        <a:pt x="73" y="337"/>
                        <a:pt x="78" y="337"/>
                      </a:cubicBezTo>
                      <a:lnTo>
                        <a:pt x="78" y="337"/>
                      </a:lnTo>
                      <a:cubicBezTo>
                        <a:pt x="84" y="336"/>
                        <a:pt x="88" y="334"/>
                        <a:pt x="93" y="333"/>
                      </a:cubicBezTo>
                      <a:lnTo>
                        <a:pt x="93" y="333"/>
                      </a:lnTo>
                      <a:cubicBezTo>
                        <a:pt x="105" y="330"/>
                        <a:pt x="116" y="324"/>
                        <a:pt x="126" y="317"/>
                      </a:cubicBezTo>
                      <a:lnTo>
                        <a:pt x="126" y="317"/>
                      </a:lnTo>
                      <a:cubicBezTo>
                        <a:pt x="171" y="291"/>
                        <a:pt x="203" y="247"/>
                        <a:pt x="224" y="201"/>
                      </a:cubicBezTo>
                      <a:lnTo>
                        <a:pt x="224" y="201"/>
                      </a:lnTo>
                      <a:cubicBezTo>
                        <a:pt x="231" y="183"/>
                        <a:pt x="237" y="165"/>
                        <a:pt x="242" y="146"/>
                      </a:cubicBezTo>
                      <a:lnTo>
                        <a:pt x="242" y="146"/>
                      </a:lnTo>
                      <a:cubicBezTo>
                        <a:pt x="246" y="128"/>
                        <a:pt x="249" y="109"/>
                        <a:pt x="250" y="91"/>
                      </a:cubicBezTo>
                      <a:lnTo>
                        <a:pt x="250" y="91"/>
                      </a:lnTo>
                      <a:cubicBezTo>
                        <a:pt x="250" y="85"/>
                        <a:pt x="250" y="78"/>
                        <a:pt x="250" y="72"/>
                      </a:cubicBezTo>
                      <a:lnTo>
                        <a:pt x="250" y="72"/>
                      </a:lnTo>
                      <a:cubicBezTo>
                        <a:pt x="250" y="68"/>
                        <a:pt x="250" y="65"/>
                        <a:pt x="249" y="61"/>
                      </a:cubicBezTo>
                      <a:lnTo>
                        <a:pt x="249" y="61"/>
                      </a:lnTo>
                      <a:cubicBezTo>
                        <a:pt x="249" y="58"/>
                        <a:pt x="249" y="55"/>
                        <a:pt x="249" y="53"/>
                      </a:cubicBezTo>
                      <a:lnTo>
                        <a:pt x="249" y="53"/>
                      </a:lnTo>
                      <a:cubicBezTo>
                        <a:pt x="248" y="51"/>
                        <a:pt x="247" y="49"/>
                        <a:pt x="247" y="47"/>
                      </a:cubicBezTo>
                      <a:lnTo>
                        <a:pt x="247" y="47"/>
                      </a:lnTo>
                      <a:cubicBezTo>
                        <a:pt x="246" y="44"/>
                        <a:pt x="245" y="40"/>
                        <a:pt x="244" y="36"/>
                      </a:cubicBezTo>
                      <a:lnTo>
                        <a:pt x="244" y="36"/>
                      </a:lnTo>
                      <a:cubicBezTo>
                        <a:pt x="241" y="31"/>
                        <a:pt x="238" y="25"/>
                        <a:pt x="234" y="20"/>
                      </a:cubicBezTo>
                      <a:lnTo>
                        <a:pt x="234" y="20"/>
                      </a:lnTo>
                      <a:cubicBezTo>
                        <a:pt x="228" y="14"/>
                        <a:pt x="221" y="11"/>
                        <a:pt x="214" y="7"/>
                      </a:cubicBezTo>
                      <a:lnTo>
                        <a:pt x="214" y="7"/>
                      </a:lnTo>
                      <a:cubicBezTo>
                        <a:pt x="207" y="4"/>
                        <a:pt x="199" y="2"/>
                        <a:pt x="191" y="0"/>
                      </a:cubicBezTo>
                      <a:lnTo>
                        <a:pt x="191" y="0"/>
                      </a:lnTo>
                      <a:cubicBezTo>
                        <a:pt x="188" y="0"/>
                        <a:pt x="186" y="0"/>
                        <a:pt x="185" y="0"/>
                      </a:cubicBezTo>
                      <a:lnTo>
                        <a:pt x="185" y="0"/>
                      </a:lnTo>
                      <a:cubicBezTo>
                        <a:pt x="184" y="0"/>
                        <a:pt x="182" y="0"/>
                        <a:pt x="18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75">
                  <a:extLst>
                    <a:ext uri="{FF2B5EF4-FFF2-40B4-BE49-F238E27FC236}">
                      <a16:creationId xmlns:a16="http://schemas.microsoft.com/office/drawing/2014/main" id="{34BAB748-A67E-C948-B54B-3E4F251163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49825" y="5106988"/>
                  <a:ext cx="85725" cy="77787"/>
                </a:xfrm>
                <a:custGeom>
                  <a:avLst/>
                  <a:gdLst>
                    <a:gd name="T0" fmla="*/ 38 w 236"/>
                    <a:gd name="T1" fmla="*/ 146 h 218"/>
                    <a:gd name="T2" fmla="*/ 39 w 236"/>
                    <a:gd name="T3" fmla="*/ 147 h 218"/>
                    <a:gd name="T4" fmla="*/ 196 w 236"/>
                    <a:gd name="T5" fmla="*/ 64 h 218"/>
                    <a:gd name="T6" fmla="*/ 196 w 236"/>
                    <a:gd name="T7" fmla="*/ 65 h 218"/>
                    <a:gd name="T8" fmla="*/ 196 w 236"/>
                    <a:gd name="T9" fmla="*/ 64 h 218"/>
                    <a:gd name="T10" fmla="*/ 132 w 236"/>
                    <a:gd name="T11" fmla="*/ 41 h 218"/>
                    <a:gd name="T12" fmla="*/ 131 w 236"/>
                    <a:gd name="T13" fmla="*/ 41 h 218"/>
                    <a:gd name="T14" fmla="*/ 135 w 236"/>
                    <a:gd name="T15" fmla="*/ 41 h 218"/>
                    <a:gd name="T16" fmla="*/ 149 w 236"/>
                    <a:gd name="T17" fmla="*/ 36 h 218"/>
                    <a:gd name="T18" fmla="*/ 149 w 236"/>
                    <a:gd name="T19" fmla="*/ 36 h 218"/>
                    <a:gd name="T20" fmla="*/ 152 w 236"/>
                    <a:gd name="T21" fmla="*/ 36 h 218"/>
                    <a:gd name="T22" fmla="*/ 153 w 236"/>
                    <a:gd name="T23" fmla="*/ 37 h 218"/>
                    <a:gd name="T24" fmla="*/ 177 w 236"/>
                    <a:gd name="T25" fmla="*/ 46 h 218"/>
                    <a:gd name="T26" fmla="*/ 188 w 236"/>
                    <a:gd name="T27" fmla="*/ 54 h 218"/>
                    <a:gd name="T28" fmla="*/ 194 w 236"/>
                    <a:gd name="T29" fmla="*/ 61 h 218"/>
                    <a:gd name="T30" fmla="*/ 197 w 236"/>
                    <a:gd name="T31" fmla="*/ 66 h 218"/>
                    <a:gd name="T32" fmla="*/ 197 w 236"/>
                    <a:gd name="T33" fmla="*/ 71 h 218"/>
                    <a:gd name="T34" fmla="*/ 197 w 236"/>
                    <a:gd name="T35" fmla="*/ 79 h 218"/>
                    <a:gd name="T36" fmla="*/ 187 w 236"/>
                    <a:gd name="T37" fmla="*/ 106 h 218"/>
                    <a:gd name="T38" fmla="*/ 183 w 236"/>
                    <a:gd name="T39" fmla="*/ 114 h 218"/>
                    <a:gd name="T40" fmla="*/ 164 w 236"/>
                    <a:gd name="T41" fmla="*/ 141 h 218"/>
                    <a:gd name="T42" fmla="*/ 141 w 236"/>
                    <a:gd name="T43" fmla="*/ 160 h 218"/>
                    <a:gd name="T44" fmla="*/ 145 w 236"/>
                    <a:gd name="T45" fmla="*/ 157 h 218"/>
                    <a:gd name="T46" fmla="*/ 119 w 236"/>
                    <a:gd name="T47" fmla="*/ 171 h 218"/>
                    <a:gd name="T48" fmla="*/ 90 w 236"/>
                    <a:gd name="T49" fmla="*/ 176 h 218"/>
                    <a:gd name="T50" fmla="*/ 72 w 236"/>
                    <a:gd name="T51" fmla="*/ 175 h 218"/>
                    <a:gd name="T52" fmla="*/ 60 w 236"/>
                    <a:gd name="T53" fmla="*/ 170 h 218"/>
                    <a:gd name="T54" fmla="*/ 49 w 236"/>
                    <a:gd name="T55" fmla="*/ 163 h 218"/>
                    <a:gd name="T56" fmla="*/ 42 w 236"/>
                    <a:gd name="T57" fmla="*/ 155 h 218"/>
                    <a:gd name="T58" fmla="*/ 39 w 236"/>
                    <a:gd name="T59" fmla="*/ 149 h 218"/>
                    <a:gd name="T60" fmla="*/ 38 w 236"/>
                    <a:gd name="T61" fmla="*/ 142 h 218"/>
                    <a:gd name="T62" fmla="*/ 39 w 236"/>
                    <a:gd name="T63" fmla="*/ 125 h 218"/>
                    <a:gd name="T64" fmla="*/ 44 w 236"/>
                    <a:gd name="T65" fmla="*/ 112 h 218"/>
                    <a:gd name="T66" fmla="*/ 63 w 236"/>
                    <a:gd name="T67" fmla="*/ 85 h 218"/>
                    <a:gd name="T68" fmla="*/ 99 w 236"/>
                    <a:gd name="T69" fmla="*/ 53 h 218"/>
                    <a:gd name="T70" fmla="*/ 116 w 236"/>
                    <a:gd name="T71" fmla="*/ 45 h 218"/>
                    <a:gd name="T72" fmla="*/ 136 w 236"/>
                    <a:gd name="T73" fmla="*/ 41 h 218"/>
                    <a:gd name="T74" fmla="*/ 134 w 236"/>
                    <a:gd name="T75" fmla="*/ 41 h 218"/>
                    <a:gd name="T76" fmla="*/ 135 w 236"/>
                    <a:gd name="T77" fmla="*/ 41 h 218"/>
                    <a:gd name="T78" fmla="*/ 141 w 236"/>
                    <a:gd name="T79" fmla="*/ 4 h 218"/>
                    <a:gd name="T80" fmla="*/ 138 w 236"/>
                    <a:gd name="T81" fmla="*/ 4 h 218"/>
                    <a:gd name="T82" fmla="*/ 119 w 236"/>
                    <a:gd name="T83" fmla="*/ 5 h 218"/>
                    <a:gd name="T84" fmla="*/ 97 w 236"/>
                    <a:gd name="T85" fmla="*/ 13 h 218"/>
                    <a:gd name="T86" fmla="*/ 76 w 236"/>
                    <a:gd name="T87" fmla="*/ 24 h 218"/>
                    <a:gd name="T88" fmla="*/ 51 w 236"/>
                    <a:gd name="T89" fmla="*/ 45 h 218"/>
                    <a:gd name="T90" fmla="*/ 18 w 236"/>
                    <a:gd name="T91" fmla="*/ 83 h 218"/>
                    <a:gd name="T92" fmla="*/ 8 w 236"/>
                    <a:gd name="T93" fmla="*/ 102 h 218"/>
                    <a:gd name="T94" fmla="*/ 1 w 236"/>
                    <a:gd name="T95" fmla="*/ 130 h 218"/>
                    <a:gd name="T96" fmla="*/ 9 w 236"/>
                    <a:gd name="T97" fmla="*/ 172 h 218"/>
                    <a:gd name="T98" fmla="*/ 42 w 236"/>
                    <a:gd name="T99" fmla="*/ 203 h 218"/>
                    <a:gd name="T100" fmla="*/ 132 w 236"/>
                    <a:gd name="T101" fmla="*/ 206 h 218"/>
                    <a:gd name="T102" fmla="*/ 170 w 236"/>
                    <a:gd name="T103" fmla="*/ 185 h 218"/>
                    <a:gd name="T104" fmla="*/ 203 w 236"/>
                    <a:gd name="T105" fmla="*/ 151 h 218"/>
                    <a:gd name="T106" fmla="*/ 228 w 236"/>
                    <a:gd name="T107" fmla="*/ 103 h 218"/>
                    <a:gd name="T108" fmla="*/ 234 w 236"/>
                    <a:gd name="T109" fmla="*/ 81 h 218"/>
                    <a:gd name="T110" fmla="*/ 234 w 236"/>
                    <a:gd name="T111" fmla="*/ 65 h 218"/>
                    <a:gd name="T112" fmla="*/ 227 w 236"/>
                    <a:gd name="T113" fmla="*/ 44 h 218"/>
                    <a:gd name="T114" fmla="*/ 196 w 236"/>
                    <a:gd name="T115" fmla="*/ 15 h 218"/>
                    <a:gd name="T116" fmla="*/ 178 w 236"/>
                    <a:gd name="T117" fmla="*/ 6 h 218"/>
                    <a:gd name="T118" fmla="*/ 154 w 236"/>
                    <a:gd name="T119" fmla="*/ 0 h 218"/>
                    <a:gd name="T120" fmla="*/ 152 w 236"/>
                    <a:gd name="T121" fmla="*/ 0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36" h="218">
                      <a:moveTo>
                        <a:pt x="38" y="146"/>
                      </a:moveTo>
                      <a:lnTo>
                        <a:pt x="38" y="146"/>
                      </a:lnTo>
                      <a:cubicBezTo>
                        <a:pt x="39" y="146"/>
                        <a:pt x="39" y="147"/>
                        <a:pt x="39" y="147"/>
                      </a:cubicBezTo>
                      <a:lnTo>
                        <a:pt x="39" y="147"/>
                      </a:lnTo>
                      <a:cubicBezTo>
                        <a:pt x="39" y="147"/>
                        <a:pt x="39" y="146"/>
                        <a:pt x="38" y="146"/>
                      </a:cubicBezTo>
                      <a:close/>
                      <a:moveTo>
                        <a:pt x="196" y="64"/>
                      </a:moveTo>
                      <a:lnTo>
                        <a:pt x="196" y="64"/>
                      </a:lnTo>
                      <a:lnTo>
                        <a:pt x="196" y="65"/>
                      </a:lnTo>
                      <a:lnTo>
                        <a:pt x="196" y="65"/>
                      </a:lnTo>
                      <a:lnTo>
                        <a:pt x="196" y="64"/>
                      </a:lnTo>
                      <a:close/>
                      <a:moveTo>
                        <a:pt x="132" y="41"/>
                      </a:moveTo>
                      <a:lnTo>
                        <a:pt x="132" y="41"/>
                      </a:lnTo>
                      <a:cubicBezTo>
                        <a:pt x="132" y="41"/>
                        <a:pt x="132" y="41"/>
                        <a:pt x="131" y="41"/>
                      </a:cubicBezTo>
                      <a:lnTo>
                        <a:pt x="131" y="41"/>
                      </a:lnTo>
                      <a:cubicBezTo>
                        <a:pt x="132" y="41"/>
                        <a:pt x="132" y="41"/>
                        <a:pt x="132" y="41"/>
                      </a:cubicBezTo>
                      <a:close/>
                      <a:moveTo>
                        <a:pt x="135" y="41"/>
                      </a:moveTo>
                      <a:lnTo>
                        <a:pt x="135" y="41"/>
                      </a:lnTo>
                      <a:cubicBezTo>
                        <a:pt x="140" y="40"/>
                        <a:pt x="144" y="40"/>
                        <a:pt x="149" y="36"/>
                      </a:cubicBezTo>
                      <a:lnTo>
                        <a:pt x="149" y="36"/>
                      </a:lnTo>
                      <a:lnTo>
                        <a:pt x="149" y="36"/>
                      </a:lnTo>
                      <a:lnTo>
                        <a:pt x="149" y="36"/>
                      </a:lnTo>
                      <a:cubicBezTo>
                        <a:pt x="150" y="36"/>
                        <a:pt x="150" y="36"/>
                        <a:pt x="152" y="36"/>
                      </a:cubicBezTo>
                      <a:lnTo>
                        <a:pt x="152" y="36"/>
                      </a:lnTo>
                      <a:lnTo>
                        <a:pt x="153" y="37"/>
                      </a:lnTo>
                      <a:lnTo>
                        <a:pt x="153" y="37"/>
                      </a:lnTo>
                      <a:cubicBezTo>
                        <a:pt x="162" y="40"/>
                        <a:pt x="169" y="43"/>
                        <a:pt x="177" y="46"/>
                      </a:cubicBezTo>
                      <a:lnTo>
                        <a:pt x="177" y="46"/>
                      </a:lnTo>
                      <a:cubicBezTo>
                        <a:pt x="181" y="49"/>
                        <a:pt x="184" y="51"/>
                        <a:pt x="188" y="54"/>
                      </a:cubicBezTo>
                      <a:lnTo>
                        <a:pt x="188" y="54"/>
                      </a:lnTo>
                      <a:cubicBezTo>
                        <a:pt x="190" y="56"/>
                        <a:pt x="193" y="59"/>
                        <a:pt x="194" y="61"/>
                      </a:cubicBezTo>
                      <a:lnTo>
                        <a:pt x="194" y="61"/>
                      </a:lnTo>
                      <a:cubicBezTo>
                        <a:pt x="195" y="63"/>
                        <a:pt x="196" y="65"/>
                        <a:pt x="197" y="66"/>
                      </a:cubicBezTo>
                      <a:lnTo>
                        <a:pt x="197" y="66"/>
                      </a:lnTo>
                      <a:cubicBezTo>
                        <a:pt x="197" y="68"/>
                        <a:pt x="197" y="69"/>
                        <a:pt x="197" y="71"/>
                      </a:cubicBezTo>
                      <a:lnTo>
                        <a:pt x="197" y="71"/>
                      </a:lnTo>
                      <a:cubicBezTo>
                        <a:pt x="197" y="74"/>
                        <a:pt x="197" y="76"/>
                        <a:pt x="197" y="79"/>
                      </a:cubicBezTo>
                      <a:lnTo>
                        <a:pt x="197" y="79"/>
                      </a:lnTo>
                      <a:cubicBezTo>
                        <a:pt x="194" y="88"/>
                        <a:pt x="191" y="97"/>
                        <a:pt x="187" y="106"/>
                      </a:cubicBezTo>
                      <a:lnTo>
                        <a:pt x="187" y="106"/>
                      </a:lnTo>
                      <a:cubicBezTo>
                        <a:pt x="186" y="109"/>
                        <a:pt x="184" y="111"/>
                        <a:pt x="183" y="114"/>
                      </a:cubicBezTo>
                      <a:lnTo>
                        <a:pt x="183" y="114"/>
                      </a:lnTo>
                      <a:cubicBezTo>
                        <a:pt x="178" y="123"/>
                        <a:pt x="171" y="132"/>
                        <a:pt x="164" y="141"/>
                      </a:cubicBezTo>
                      <a:lnTo>
                        <a:pt x="164" y="141"/>
                      </a:lnTo>
                      <a:cubicBezTo>
                        <a:pt x="157" y="148"/>
                        <a:pt x="149" y="155"/>
                        <a:pt x="141" y="160"/>
                      </a:cubicBezTo>
                      <a:lnTo>
                        <a:pt x="141" y="160"/>
                      </a:lnTo>
                      <a:cubicBezTo>
                        <a:pt x="142" y="159"/>
                        <a:pt x="144" y="158"/>
                        <a:pt x="145" y="157"/>
                      </a:cubicBezTo>
                      <a:lnTo>
                        <a:pt x="145" y="157"/>
                      </a:lnTo>
                      <a:cubicBezTo>
                        <a:pt x="136" y="163"/>
                        <a:pt x="128" y="167"/>
                        <a:pt x="119" y="171"/>
                      </a:cubicBezTo>
                      <a:lnTo>
                        <a:pt x="119" y="171"/>
                      </a:lnTo>
                      <a:cubicBezTo>
                        <a:pt x="109" y="174"/>
                        <a:pt x="100" y="176"/>
                        <a:pt x="90" y="176"/>
                      </a:cubicBezTo>
                      <a:lnTo>
                        <a:pt x="90" y="176"/>
                      </a:lnTo>
                      <a:cubicBezTo>
                        <a:pt x="84" y="176"/>
                        <a:pt x="78" y="176"/>
                        <a:pt x="72" y="175"/>
                      </a:cubicBezTo>
                      <a:lnTo>
                        <a:pt x="72" y="175"/>
                      </a:lnTo>
                      <a:cubicBezTo>
                        <a:pt x="68" y="174"/>
                        <a:pt x="64" y="172"/>
                        <a:pt x="60" y="170"/>
                      </a:cubicBezTo>
                      <a:lnTo>
                        <a:pt x="60" y="170"/>
                      </a:lnTo>
                      <a:cubicBezTo>
                        <a:pt x="56" y="168"/>
                        <a:pt x="53" y="166"/>
                        <a:pt x="49" y="163"/>
                      </a:cubicBezTo>
                      <a:lnTo>
                        <a:pt x="49" y="163"/>
                      </a:lnTo>
                      <a:cubicBezTo>
                        <a:pt x="46" y="160"/>
                        <a:pt x="44" y="157"/>
                        <a:pt x="42" y="155"/>
                      </a:cubicBezTo>
                      <a:lnTo>
                        <a:pt x="42" y="155"/>
                      </a:lnTo>
                      <a:cubicBezTo>
                        <a:pt x="41" y="153"/>
                        <a:pt x="40" y="151"/>
                        <a:pt x="39" y="149"/>
                      </a:cubicBezTo>
                      <a:lnTo>
                        <a:pt x="39" y="149"/>
                      </a:lnTo>
                      <a:cubicBezTo>
                        <a:pt x="39" y="147"/>
                        <a:pt x="38" y="145"/>
                        <a:pt x="38" y="142"/>
                      </a:cubicBezTo>
                      <a:lnTo>
                        <a:pt x="38" y="142"/>
                      </a:lnTo>
                      <a:cubicBezTo>
                        <a:pt x="38" y="136"/>
                        <a:pt x="39" y="131"/>
                        <a:pt x="39" y="125"/>
                      </a:cubicBezTo>
                      <a:lnTo>
                        <a:pt x="39" y="125"/>
                      </a:lnTo>
                      <a:cubicBezTo>
                        <a:pt x="41" y="121"/>
                        <a:pt x="42" y="116"/>
                        <a:pt x="44" y="112"/>
                      </a:cubicBezTo>
                      <a:lnTo>
                        <a:pt x="44" y="112"/>
                      </a:lnTo>
                      <a:cubicBezTo>
                        <a:pt x="49" y="102"/>
                        <a:pt x="56" y="94"/>
                        <a:pt x="63" y="85"/>
                      </a:cubicBezTo>
                      <a:lnTo>
                        <a:pt x="63" y="85"/>
                      </a:lnTo>
                      <a:cubicBezTo>
                        <a:pt x="74" y="74"/>
                        <a:pt x="86" y="63"/>
                        <a:pt x="99" y="53"/>
                      </a:cubicBezTo>
                      <a:lnTo>
                        <a:pt x="99" y="53"/>
                      </a:lnTo>
                      <a:cubicBezTo>
                        <a:pt x="104" y="50"/>
                        <a:pt x="110" y="47"/>
                        <a:pt x="116" y="45"/>
                      </a:cubicBezTo>
                      <a:lnTo>
                        <a:pt x="116" y="45"/>
                      </a:lnTo>
                      <a:cubicBezTo>
                        <a:pt x="123" y="43"/>
                        <a:pt x="129" y="41"/>
                        <a:pt x="136" y="41"/>
                      </a:cubicBezTo>
                      <a:lnTo>
                        <a:pt x="136" y="41"/>
                      </a:lnTo>
                      <a:cubicBezTo>
                        <a:pt x="136" y="41"/>
                        <a:pt x="135" y="41"/>
                        <a:pt x="134" y="41"/>
                      </a:cubicBezTo>
                      <a:lnTo>
                        <a:pt x="134" y="41"/>
                      </a:lnTo>
                      <a:cubicBezTo>
                        <a:pt x="134" y="41"/>
                        <a:pt x="134" y="41"/>
                        <a:pt x="135" y="41"/>
                      </a:cubicBezTo>
                      <a:close/>
                      <a:moveTo>
                        <a:pt x="141" y="4"/>
                      </a:moveTo>
                      <a:lnTo>
                        <a:pt x="141" y="4"/>
                      </a:lnTo>
                      <a:cubicBezTo>
                        <a:pt x="140" y="4"/>
                        <a:pt x="139" y="4"/>
                        <a:pt x="138" y="4"/>
                      </a:cubicBezTo>
                      <a:lnTo>
                        <a:pt x="138" y="4"/>
                      </a:lnTo>
                      <a:cubicBezTo>
                        <a:pt x="132" y="4"/>
                        <a:pt x="126" y="4"/>
                        <a:pt x="119" y="5"/>
                      </a:cubicBezTo>
                      <a:lnTo>
                        <a:pt x="119" y="5"/>
                      </a:lnTo>
                      <a:cubicBezTo>
                        <a:pt x="112" y="7"/>
                        <a:pt x="104" y="10"/>
                        <a:pt x="97" y="13"/>
                      </a:cubicBezTo>
                      <a:lnTo>
                        <a:pt x="97" y="13"/>
                      </a:lnTo>
                      <a:cubicBezTo>
                        <a:pt x="90" y="15"/>
                        <a:pt x="83" y="20"/>
                        <a:pt x="76" y="24"/>
                      </a:cubicBezTo>
                      <a:lnTo>
                        <a:pt x="76" y="24"/>
                      </a:lnTo>
                      <a:cubicBezTo>
                        <a:pt x="67" y="30"/>
                        <a:pt x="59" y="37"/>
                        <a:pt x="51" y="45"/>
                      </a:cubicBezTo>
                      <a:lnTo>
                        <a:pt x="51" y="45"/>
                      </a:lnTo>
                      <a:cubicBezTo>
                        <a:pt x="39" y="56"/>
                        <a:pt x="28" y="69"/>
                        <a:pt x="18" y="83"/>
                      </a:cubicBezTo>
                      <a:lnTo>
                        <a:pt x="18" y="83"/>
                      </a:lnTo>
                      <a:cubicBezTo>
                        <a:pt x="14" y="89"/>
                        <a:pt x="11" y="96"/>
                        <a:pt x="8" y="102"/>
                      </a:cubicBezTo>
                      <a:lnTo>
                        <a:pt x="8" y="102"/>
                      </a:lnTo>
                      <a:cubicBezTo>
                        <a:pt x="3" y="111"/>
                        <a:pt x="2" y="121"/>
                        <a:pt x="1" y="130"/>
                      </a:cubicBezTo>
                      <a:lnTo>
                        <a:pt x="1" y="130"/>
                      </a:lnTo>
                      <a:cubicBezTo>
                        <a:pt x="0" y="145"/>
                        <a:pt x="2" y="159"/>
                        <a:pt x="9" y="172"/>
                      </a:cubicBezTo>
                      <a:lnTo>
                        <a:pt x="9" y="172"/>
                      </a:lnTo>
                      <a:cubicBezTo>
                        <a:pt x="16" y="185"/>
                        <a:pt x="29" y="196"/>
                        <a:pt x="42" y="203"/>
                      </a:cubicBezTo>
                      <a:lnTo>
                        <a:pt x="42" y="203"/>
                      </a:lnTo>
                      <a:cubicBezTo>
                        <a:pt x="69" y="217"/>
                        <a:pt x="103" y="216"/>
                        <a:pt x="132" y="206"/>
                      </a:cubicBezTo>
                      <a:lnTo>
                        <a:pt x="132" y="206"/>
                      </a:lnTo>
                      <a:cubicBezTo>
                        <a:pt x="145" y="200"/>
                        <a:pt x="157" y="194"/>
                        <a:pt x="170" y="185"/>
                      </a:cubicBezTo>
                      <a:lnTo>
                        <a:pt x="170" y="185"/>
                      </a:lnTo>
                      <a:cubicBezTo>
                        <a:pt x="183" y="176"/>
                        <a:pt x="193" y="164"/>
                        <a:pt x="203" y="151"/>
                      </a:cubicBezTo>
                      <a:lnTo>
                        <a:pt x="203" y="151"/>
                      </a:lnTo>
                      <a:cubicBezTo>
                        <a:pt x="214" y="137"/>
                        <a:pt x="222" y="120"/>
                        <a:pt x="228" y="103"/>
                      </a:cubicBezTo>
                      <a:lnTo>
                        <a:pt x="228" y="103"/>
                      </a:lnTo>
                      <a:cubicBezTo>
                        <a:pt x="231" y="96"/>
                        <a:pt x="233" y="89"/>
                        <a:pt x="234" y="81"/>
                      </a:cubicBezTo>
                      <a:lnTo>
                        <a:pt x="234" y="81"/>
                      </a:lnTo>
                      <a:cubicBezTo>
                        <a:pt x="235" y="76"/>
                        <a:pt x="235" y="71"/>
                        <a:pt x="234" y="65"/>
                      </a:cubicBezTo>
                      <a:lnTo>
                        <a:pt x="234" y="65"/>
                      </a:lnTo>
                      <a:cubicBezTo>
                        <a:pt x="233" y="58"/>
                        <a:pt x="231" y="51"/>
                        <a:pt x="227" y="44"/>
                      </a:cubicBezTo>
                      <a:lnTo>
                        <a:pt x="227" y="44"/>
                      </a:lnTo>
                      <a:cubicBezTo>
                        <a:pt x="220" y="31"/>
                        <a:pt x="208" y="22"/>
                        <a:pt x="196" y="15"/>
                      </a:cubicBezTo>
                      <a:lnTo>
                        <a:pt x="196" y="15"/>
                      </a:lnTo>
                      <a:cubicBezTo>
                        <a:pt x="191" y="12"/>
                        <a:pt x="184" y="9"/>
                        <a:pt x="178" y="6"/>
                      </a:cubicBezTo>
                      <a:lnTo>
                        <a:pt x="178" y="6"/>
                      </a:lnTo>
                      <a:cubicBezTo>
                        <a:pt x="171" y="3"/>
                        <a:pt x="163" y="1"/>
                        <a:pt x="154" y="0"/>
                      </a:cubicBezTo>
                      <a:lnTo>
                        <a:pt x="154" y="0"/>
                      </a:lnTo>
                      <a:cubicBezTo>
                        <a:pt x="154" y="0"/>
                        <a:pt x="153" y="0"/>
                        <a:pt x="152" y="0"/>
                      </a:cubicBezTo>
                      <a:lnTo>
                        <a:pt x="152" y="0"/>
                      </a:lnTo>
                      <a:cubicBezTo>
                        <a:pt x="149" y="0"/>
                        <a:pt x="144" y="1"/>
                        <a:pt x="141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 76">
                  <a:extLst>
                    <a:ext uri="{FF2B5EF4-FFF2-40B4-BE49-F238E27FC236}">
                      <a16:creationId xmlns:a16="http://schemas.microsoft.com/office/drawing/2014/main" id="{D31EF19B-FB84-294F-BD47-273E7FBDCA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4892675"/>
                  <a:ext cx="60325" cy="103188"/>
                </a:xfrm>
                <a:custGeom>
                  <a:avLst/>
                  <a:gdLst>
                    <a:gd name="T0" fmla="*/ 9 w 167"/>
                    <a:gd name="T1" fmla="*/ 11 h 285"/>
                    <a:gd name="T2" fmla="*/ 9 w 167"/>
                    <a:gd name="T3" fmla="*/ 11 h 285"/>
                    <a:gd name="T4" fmla="*/ 16 w 167"/>
                    <a:gd name="T5" fmla="*/ 50 h 285"/>
                    <a:gd name="T6" fmla="*/ 16 w 167"/>
                    <a:gd name="T7" fmla="*/ 50 h 285"/>
                    <a:gd name="T8" fmla="*/ 58 w 167"/>
                    <a:gd name="T9" fmla="*/ 83 h 285"/>
                    <a:gd name="T10" fmla="*/ 58 w 167"/>
                    <a:gd name="T11" fmla="*/ 83 h 285"/>
                    <a:gd name="T12" fmla="*/ 72 w 167"/>
                    <a:gd name="T13" fmla="*/ 97 h 285"/>
                    <a:gd name="T14" fmla="*/ 72 w 167"/>
                    <a:gd name="T15" fmla="*/ 97 h 285"/>
                    <a:gd name="T16" fmla="*/ 84 w 167"/>
                    <a:gd name="T17" fmla="*/ 113 h 285"/>
                    <a:gd name="T18" fmla="*/ 84 w 167"/>
                    <a:gd name="T19" fmla="*/ 113 h 285"/>
                    <a:gd name="T20" fmla="*/ 98 w 167"/>
                    <a:gd name="T21" fmla="*/ 141 h 285"/>
                    <a:gd name="T22" fmla="*/ 98 w 167"/>
                    <a:gd name="T23" fmla="*/ 141 h 285"/>
                    <a:gd name="T24" fmla="*/ 104 w 167"/>
                    <a:gd name="T25" fmla="*/ 161 h 285"/>
                    <a:gd name="T26" fmla="*/ 104 w 167"/>
                    <a:gd name="T27" fmla="*/ 161 h 285"/>
                    <a:gd name="T28" fmla="*/ 109 w 167"/>
                    <a:gd name="T29" fmla="*/ 195 h 285"/>
                    <a:gd name="T30" fmla="*/ 109 w 167"/>
                    <a:gd name="T31" fmla="*/ 195 h 285"/>
                    <a:gd name="T32" fmla="*/ 109 w 167"/>
                    <a:gd name="T33" fmla="*/ 253 h 285"/>
                    <a:gd name="T34" fmla="*/ 109 w 167"/>
                    <a:gd name="T35" fmla="*/ 253 h 285"/>
                    <a:gd name="T36" fmla="*/ 135 w 167"/>
                    <a:gd name="T37" fmla="*/ 283 h 285"/>
                    <a:gd name="T38" fmla="*/ 135 w 167"/>
                    <a:gd name="T39" fmla="*/ 283 h 285"/>
                    <a:gd name="T40" fmla="*/ 164 w 167"/>
                    <a:gd name="T41" fmla="*/ 258 h 285"/>
                    <a:gd name="T42" fmla="*/ 164 w 167"/>
                    <a:gd name="T43" fmla="*/ 258 h 285"/>
                    <a:gd name="T44" fmla="*/ 164 w 167"/>
                    <a:gd name="T45" fmla="*/ 180 h 285"/>
                    <a:gd name="T46" fmla="*/ 164 w 167"/>
                    <a:gd name="T47" fmla="*/ 180 h 285"/>
                    <a:gd name="T48" fmla="*/ 156 w 167"/>
                    <a:gd name="T49" fmla="*/ 143 h 285"/>
                    <a:gd name="T50" fmla="*/ 156 w 167"/>
                    <a:gd name="T51" fmla="*/ 143 h 285"/>
                    <a:gd name="T52" fmla="*/ 139 w 167"/>
                    <a:gd name="T53" fmla="*/ 96 h 285"/>
                    <a:gd name="T54" fmla="*/ 139 w 167"/>
                    <a:gd name="T55" fmla="*/ 96 h 285"/>
                    <a:gd name="T56" fmla="*/ 48 w 167"/>
                    <a:gd name="T57" fmla="*/ 4 h 285"/>
                    <a:gd name="T58" fmla="*/ 48 w 167"/>
                    <a:gd name="T59" fmla="*/ 4 h 285"/>
                    <a:gd name="T60" fmla="*/ 32 w 167"/>
                    <a:gd name="T61" fmla="*/ 0 h 285"/>
                    <a:gd name="T62" fmla="*/ 32 w 167"/>
                    <a:gd name="T63" fmla="*/ 0 h 285"/>
                    <a:gd name="T64" fmla="*/ 9 w 167"/>
                    <a:gd name="T65" fmla="*/ 11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285">
                      <a:moveTo>
                        <a:pt x="9" y="11"/>
                      </a:moveTo>
                      <a:lnTo>
                        <a:pt x="9" y="11"/>
                      </a:lnTo>
                      <a:cubicBezTo>
                        <a:pt x="0" y="23"/>
                        <a:pt x="4" y="41"/>
                        <a:pt x="16" y="50"/>
                      </a:cubicBezTo>
                      <a:lnTo>
                        <a:pt x="16" y="50"/>
                      </a:lnTo>
                      <a:cubicBezTo>
                        <a:pt x="30" y="61"/>
                        <a:pt x="44" y="71"/>
                        <a:pt x="58" y="83"/>
                      </a:cubicBezTo>
                      <a:lnTo>
                        <a:pt x="58" y="83"/>
                      </a:lnTo>
                      <a:cubicBezTo>
                        <a:pt x="62" y="87"/>
                        <a:pt x="67" y="92"/>
                        <a:pt x="72" y="97"/>
                      </a:cubicBezTo>
                      <a:lnTo>
                        <a:pt x="72" y="97"/>
                      </a:lnTo>
                      <a:cubicBezTo>
                        <a:pt x="76" y="102"/>
                        <a:pt x="80" y="107"/>
                        <a:pt x="84" y="113"/>
                      </a:cubicBezTo>
                      <a:lnTo>
                        <a:pt x="84" y="113"/>
                      </a:lnTo>
                      <a:cubicBezTo>
                        <a:pt x="89" y="122"/>
                        <a:pt x="94" y="131"/>
                        <a:pt x="98" y="141"/>
                      </a:cubicBezTo>
                      <a:lnTo>
                        <a:pt x="98" y="141"/>
                      </a:lnTo>
                      <a:cubicBezTo>
                        <a:pt x="100" y="147"/>
                        <a:pt x="101" y="154"/>
                        <a:pt x="104" y="161"/>
                      </a:cubicBezTo>
                      <a:lnTo>
                        <a:pt x="104" y="161"/>
                      </a:lnTo>
                      <a:cubicBezTo>
                        <a:pt x="107" y="172"/>
                        <a:pt x="108" y="183"/>
                        <a:pt x="109" y="195"/>
                      </a:cubicBezTo>
                      <a:lnTo>
                        <a:pt x="109" y="195"/>
                      </a:lnTo>
                      <a:cubicBezTo>
                        <a:pt x="109" y="214"/>
                        <a:pt x="109" y="234"/>
                        <a:pt x="109" y="253"/>
                      </a:cubicBezTo>
                      <a:lnTo>
                        <a:pt x="109" y="253"/>
                      </a:lnTo>
                      <a:cubicBezTo>
                        <a:pt x="108" y="268"/>
                        <a:pt x="119" y="282"/>
                        <a:pt x="135" y="283"/>
                      </a:cubicBezTo>
                      <a:lnTo>
                        <a:pt x="135" y="283"/>
                      </a:lnTo>
                      <a:cubicBezTo>
                        <a:pt x="149" y="284"/>
                        <a:pt x="164" y="273"/>
                        <a:pt x="164" y="258"/>
                      </a:cubicBezTo>
                      <a:lnTo>
                        <a:pt x="164" y="258"/>
                      </a:lnTo>
                      <a:cubicBezTo>
                        <a:pt x="165" y="231"/>
                        <a:pt x="166" y="206"/>
                        <a:pt x="164" y="180"/>
                      </a:cubicBezTo>
                      <a:lnTo>
                        <a:pt x="164" y="180"/>
                      </a:lnTo>
                      <a:cubicBezTo>
                        <a:pt x="163" y="167"/>
                        <a:pt x="160" y="155"/>
                        <a:pt x="156" y="143"/>
                      </a:cubicBezTo>
                      <a:lnTo>
                        <a:pt x="156" y="143"/>
                      </a:lnTo>
                      <a:cubicBezTo>
                        <a:pt x="151" y="127"/>
                        <a:pt x="146" y="111"/>
                        <a:pt x="139" y="96"/>
                      </a:cubicBezTo>
                      <a:lnTo>
                        <a:pt x="139" y="96"/>
                      </a:lnTo>
                      <a:cubicBezTo>
                        <a:pt x="118" y="56"/>
                        <a:pt x="82" y="30"/>
                        <a:pt x="48" y="4"/>
                      </a:cubicBezTo>
                      <a:lnTo>
                        <a:pt x="48" y="4"/>
                      </a:lnTo>
                      <a:cubicBezTo>
                        <a:pt x="43" y="1"/>
                        <a:pt x="38" y="0"/>
                        <a:pt x="32" y="0"/>
                      </a:cubicBezTo>
                      <a:lnTo>
                        <a:pt x="32" y="0"/>
                      </a:lnTo>
                      <a:cubicBezTo>
                        <a:pt x="23" y="0"/>
                        <a:pt x="14" y="3"/>
                        <a:pt x="9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77">
                  <a:extLst>
                    <a:ext uri="{FF2B5EF4-FFF2-40B4-BE49-F238E27FC236}">
                      <a16:creationId xmlns:a16="http://schemas.microsoft.com/office/drawing/2014/main" id="{456A584C-D291-8241-B245-8C83038DAB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56213" y="4914900"/>
                  <a:ext cx="38100" cy="87313"/>
                </a:xfrm>
                <a:custGeom>
                  <a:avLst/>
                  <a:gdLst>
                    <a:gd name="T0" fmla="*/ 6 w 106"/>
                    <a:gd name="T1" fmla="*/ 12 h 243"/>
                    <a:gd name="T2" fmla="*/ 6 w 106"/>
                    <a:gd name="T3" fmla="*/ 12 h 243"/>
                    <a:gd name="T4" fmla="*/ 1 w 106"/>
                    <a:gd name="T5" fmla="*/ 33 h 243"/>
                    <a:gd name="T6" fmla="*/ 1 w 106"/>
                    <a:gd name="T7" fmla="*/ 33 h 243"/>
                    <a:gd name="T8" fmla="*/ 12 w 106"/>
                    <a:gd name="T9" fmla="*/ 51 h 243"/>
                    <a:gd name="T10" fmla="*/ 12 w 106"/>
                    <a:gd name="T11" fmla="*/ 51 h 243"/>
                    <a:gd name="T12" fmla="*/ 21 w 106"/>
                    <a:gd name="T13" fmla="*/ 61 h 243"/>
                    <a:gd name="T14" fmla="*/ 21 w 106"/>
                    <a:gd name="T15" fmla="*/ 61 h 243"/>
                    <a:gd name="T16" fmla="*/ 30 w 106"/>
                    <a:gd name="T17" fmla="*/ 83 h 243"/>
                    <a:gd name="T18" fmla="*/ 30 w 106"/>
                    <a:gd name="T19" fmla="*/ 83 h 243"/>
                    <a:gd name="T20" fmla="*/ 50 w 106"/>
                    <a:gd name="T21" fmla="*/ 219 h 243"/>
                    <a:gd name="T22" fmla="*/ 50 w 106"/>
                    <a:gd name="T23" fmla="*/ 219 h 243"/>
                    <a:gd name="T24" fmla="*/ 61 w 106"/>
                    <a:gd name="T25" fmla="*/ 236 h 243"/>
                    <a:gd name="T26" fmla="*/ 61 w 106"/>
                    <a:gd name="T27" fmla="*/ 236 h 243"/>
                    <a:gd name="T28" fmla="*/ 82 w 106"/>
                    <a:gd name="T29" fmla="*/ 241 h 243"/>
                    <a:gd name="T30" fmla="*/ 82 w 106"/>
                    <a:gd name="T31" fmla="*/ 241 h 243"/>
                    <a:gd name="T32" fmla="*/ 100 w 106"/>
                    <a:gd name="T33" fmla="*/ 230 h 243"/>
                    <a:gd name="T34" fmla="*/ 100 w 106"/>
                    <a:gd name="T35" fmla="*/ 230 h 243"/>
                    <a:gd name="T36" fmla="*/ 104 w 106"/>
                    <a:gd name="T37" fmla="*/ 208 h 243"/>
                    <a:gd name="T38" fmla="*/ 104 w 106"/>
                    <a:gd name="T39" fmla="*/ 208 h 243"/>
                    <a:gd name="T40" fmla="*/ 98 w 106"/>
                    <a:gd name="T41" fmla="*/ 142 h 243"/>
                    <a:gd name="T42" fmla="*/ 98 w 106"/>
                    <a:gd name="T43" fmla="*/ 142 h 243"/>
                    <a:gd name="T44" fmla="*/ 84 w 106"/>
                    <a:gd name="T45" fmla="*/ 71 h 243"/>
                    <a:gd name="T46" fmla="*/ 84 w 106"/>
                    <a:gd name="T47" fmla="*/ 71 h 243"/>
                    <a:gd name="T48" fmla="*/ 69 w 106"/>
                    <a:gd name="T49" fmla="*/ 34 h 243"/>
                    <a:gd name="T50" fmla="*/ 69 w 106"/>
                    <a:gd name="T51" fmla="*/ 34 h 243"/>
                    <a:gd name="T52" fmla="*/ 44 w 106"/>
                    <a:gd name="T53" fmla="*/ 5 h 243"/>
                    <a:gd name="T54" fmla="*/ 44 w 106"/>
                    <a:gd name="T55" fmla="*/ 5 h 243"/>
                    <a:gd name="T56" fmla="*/ 29 w 106"/>
                    <a:gd name="T57" fmla="*/ 0 h 243"/>
                    <a:gd name="T58" fmla="*/ 29 w 106"/>
                    <a:gd name="T59" fmla="*/ 0 h 243"/>
                    <a:gd name="T60" fmla="*/ 6 w 106"/>
                    <a:gd name="T61" fmla="*/ 12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243">
                      <a:moveTo>
                        <a:pt x="6" y="12"/>
                      </a:moveTo>
                      <a:lnTo>
                        <a:pt x="6" y="12"/>
                      </a:lnTo>
                      <a:cubicBezTo>
                        <a:pt x="1" y="19"/>
                        <a:pt x="0" y="26"/>
                        <a:pt x="1" y="33"/>
                      </a:cubicBezTo>
                      <a:lnTo>
                        <a:pt x="1" y="33"/>
                      </a:lnTo>
                      <a:cubicBezTo>
                        <a:pt x="2" y="41"/>
                        <a:pt x="6" y="46"/>
                        <a:pt x="12" y="51"/>
                      </a:cubicBezTo>
                      <a:lnTo>
                        <a:pt x="12" y="51"/>
                      </a:lnTo>
                      <a:cubicBezTo>
                        <a:pt x="15" y="54"/>
                        <a:pt x="18" y="58"/>
                        <a:pt x="21" y="61"/>
                      </a:cubicBezTo>
                      <a:lnTo>
                        <a:pt x="21" y="61"/>
                      </a:lnTo>
                      <a:cubicBezTo>
                        <a:pt x="24" y="69"/>
                        <a:pt x="27" y="76"/>
                        <a:pt x="30" y="83"/>
                      </a:cubicBezTo>
                      <a:lnTo>
                        <a:pt x="30" y="83"/>
                      </a:lnTo>
                      <a:cubicBezTo>
                        <a:pt x="43" y="127"/>
                        <a:pt x="47" y="173"/>
                        <a:pt x="50" y="219"/>
                      </a:cubicBezTo>
                      <a:lnTo>
                        <a:pt x="50" y="219"/>
                      </a:lnTo>
                      <a:cubicBezTo>
                        <a:pt x="50" y="225"/>
                        <a:pt x="55" y="233"/>
                        <a:pt x="61" y="236"/>
                      </a:cubicBezTo>
                      <a:lnTo>
                        <a:pt x="61" y="236"/>
                      </a:lnTo>
                      <a:cubicBezTo>
                        <a:pt x="67" y="241"/>
                        <a:pt x="75" y="242"/>
                        <a:pt x="82" y="241"/>
                      </a:cubicBezTo>
                      <a:lnTo>
                        <a:pt x="82" y="241"/>
                      </a:lnTo>
                      <a:cubicBezTo>
                        <a:pt x="89" y="240"/>
                        <a:pt x="95" y="235"/>
                        <a:pt x="100" y="230"/>
                      </a:cubicBezTo>
                      <a:lnTo>
                        <a:pt x="100" y="230"/>
                      </a:lnTo>
                      <a:cubicBezTo>
                        <a:pt x="104" y="223"/>
                        <a:pt x="105" y="216"/>
                        <a:pt x="104" y="208"/>
                      </a:cubicBezTo>
                      <a:lnTo>
                        <a:pt x="104" y="208"/>
                      </a:lnTo>
                      <a:cubicBezTo>
                        <a:pt x="103" y="186"/>
                        <a:pt x="101" y="164"/>
                        <a:pt x="98" y="142"/>
                      </a:cubicBezTo>
                      <a:lnTo>
                        <a:pt x="98" y="142"/>
                      </a:lnTo>
                      <a:cubicBezTo>
                        <a:pt x="96" y="118"/>
                        <a:pt x="92" y="94"/>
                        <a:pt x="84" y="71"/>
                      </a:cubicBezTo>
                      <a:lnTo>
                        <a:pt x="84" y="71"/>
                      </a:lnTo>
                      <a:cubicBezTo>
                        <a:pt x="81" y="58"/>
                        <a:pt x="76" y="46"/>
                        <a:pt x="69" y="34"/>
                      </a:cubicBezTo>
                      <a:lnTo>
                        <a:pt x="69" y="34"/>
                      </a:lnTo>
                      <a:cubicBezTo>
                        <a:pt x="63" y="23"/>
                        <a:pt x="54" y="14"/>
                        <a:pt x="44" y="5"/>
                      </a:cubicBezTo>
                      <a:lnTo>
                        <a:pt x="44" y="5"/>
                      </a:lnTo>
                      <a:cubicBezTo>
                        <a:pt x="40" y="2"/>
                        <a:pt x="34" y="0"/>
                        <a:pt x="29" y="0"/>
                      </a:cubicBezTo>
                      <a:lnTo>
                        <a:pt x="29" y="0"/>
                      </a:lnTo>
                      <a:cubicBezTo>
                        <a:pt x="20" y="0"/>
                        <a:pt x="11" y="5"/>
                        <a:pt x="6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78">
                  <a:extLst>
                    <a:ext uri="{FF2B5EF4-FFF2-40B4-BE49-F238E27FC236}">
                      <a16:creationId xmlns:a16="http://schemas.microsoft.com/office/drawing/2014/main" id="{BB974B8F-0EA9-F54C-A175-7936869CDB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64200" y="4586288"/>
                  <a:ext cx="180975" cy="196850"/>
                </a:xfrm>
                <a:custGeom>
                  <a:avLst/>
                  <a:gdLst>
                    <a:gd name="T0" fmla="*/ 464 w 504"/>
                    <a:gd name="T1" fmla="*/ 1 h 545"/>
                    <a:gd name="T2" fmla="*/ 456 w 504"/>
                    <a:gd name="T3" fmla="*/ 2 h 545"/>
                    <a:gd name="T4" fmla="*/ 436 w 504"/>
                    <a:gd name="T5" fmla="*/ 7 h 545"/>
                    <a:gd name="T6" fmla="*/ 391 w 504"/>
                    <a:gd name="T7" fmla="*/ 18 h 545"/>
                    <a:gd name="T8" fmla="*/ 290 w 504"/>
                    <a:gd name="T9" fmla="*/ 51 h 545"/>
                    <a:gd name="T10" fmla="*/ 201 w 504"/>
                    <a:gd name="T11" fmla="*/ 89 h 545"/>
                    <a:gd name="T12" fmla="*/ 89 w 504"/>
                    <a:gd name="T13" fmla="*/ 144 h 545"/>
                    <a:gd name="T14" fmla="*/ 76 w 504"/>
                    <a:gd name="T15" fmla="*/ 182 h 545"/>
                    <a:gd name="T16" fmla="*/ 113 w 504"/>
                    <a:gd name="T17" fmla="*/ 194 h 545"/>
                    <a:gd name="T18" fmla="*/ 240 w 504"/>
                    <a:gd name="T19" fmla="*/ 133 h 545"/>
                    <a:gd name="T20" fmla="*/ 303 w 504"/>
                    <a:gd name="T21" fmla="*/ 105 h 545"/>
                    <a:gd name="T22" fmla="*/ 357 w 504"/>
                    <a:gd name="T23" fmla="*/ 85 h 545"/>
                    <a:gd name="T24" fmla="*/ 404 w 504"/>
                    <a:gd name="T25" fmla="*/ 72 h 545"/>
                    <a:gd name="T26" fmla="*/ 322 w 504"/>
                    <a:gd name="T27" fmla="*/ 155 h 545"/>
                    <a:gd name="T28" fmla="*/ 241 w 504"/>
                    <a:gd name="T29" fmla="*/ 241 h 545"/>
                    <a:gd name="T30" fmla="*/ 200 w 504"/>
                    <a:gd name="T31" fmla="*/ 282 h 545"/>
                    <a:gd name="T32" fmla="*/ 154 w 504"/>
                    <a:gd name="T33" fmla="*/ 331 h 545"/>
                    <a:gd name="T34" fmla="*/ 118 w 504"/>
                    <a:gd name="T35" fmla="*/ 374 h 545"/>
                    <a:gd name="T36" fmla="*/ 80 w 504"/>
                    <a:gd name="T37" fmla="*/ 416 h 545"/>
                    <a:gd name="T38" fmla="*/ 6 w 504"/>
                    <a:gd name="T39" fmla="*/ 499 h 545"/>
                    <a:gd name="T40" fmla="*/ 2 w 504"/>
                    <a:gd name="T41" fmla="*/ 520 h 545"/>
                    <a:gd name="T42" fmla="*/ 13 w 504"/>
                    <a:gd name="T43" fmla="*/ 539 h 545"/>
                    <a:gd name="T44" fmla="*/ 34 w 504"/>
                    <a:gd name="T45" fmla="*/ 543 h 545"/>
                    <a:gd name="T46" fmla="*/ 52 w 504"/>
                    <a:gd name="T47" fmla="*/ 531 h 545"/>
                    <a:gd name="T48" fmla="*/ 138 w 504"/>
                    <a:gd name="T49" fmla="*/ 435 h 545"/>
                    <a:gd name="T50" fmla="*/ 221 w 504"/>
                    <a:gd name="T51" fmla="*/ 339 h 545"/>
                    <a:gd name="T52" fmla="*/ 285 w 504"/>
                    <a:gd name="T53" fmla="*/ 275 h 545"/>
                    <a:gd name="T54" fmla="*/ 353 w 504"/>
                    <a:gd name="T55" fmla="*/ 203 h 545"/>
                    <a:gd name="T56" fmla="*/ 426 w 504"/>
                    <a:gd name="T57" fmla="*/ 130 h 545"/>
                    <a:gd name="T58" fmla="*/ 461 w 504"/>
                    <a:gd name="T59" fmla="*/ 91 h 545"/>
                    <a:gd name="T60" fmla="*/ 477 w 504"/>
                    <a:gd name="T61" fmla="*/ 72 h 545"/>
                    <a:gd name="T62" fmla="*/ 488 w 504"/>
                    <a:gd name="T63" fmla="*/ 59 h 545"/>
                    <a:gd name="T64" fmla="*/ 496 w 504"/>
                    <a:gd name="T65" fmla="*/ 47 h 545"/>
                    <a:gd name="T66" fmla="*/ 502 w 504"/>
                    <a:gd name="T67" fmla="*/ 31 h 545"/>
                    <a:gd name="T68" fmla="*/ 484 w 504"/>
                    <a:gd name="T69" fmla="*/ 2 h 545"/>
                    <a:gd name="T70" fmla="*/ 472 w 504"/>
                    <a:gd name="T71" fmla="*/ 0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04" h="545">
                      <a:moveTo>
                        <a:pt x="464" y="1"/>
                      </a:moveTo>
                      <a:lnTo>
                        <a:pt x="464" y="1"/>
                      </a:lnTo>
                      <a:cubicBezTo>
                        <a:pt x="461" y="2"/>
                        <a:pt x="459" y="2"/>
                        <a:pt x="456" y="2"/>
                      </a:cubicBezTo>
                      <a:lnTo>
                        <a:pt x="456" y="2"/>
                      </a:lnTo>
                      <a:cubicBezTo>
                        <a:pt x="449" y="4"/>
                        <a:pt x="442" y="5"/>
                        <a:pt x="436" y="7"/>
                      </a:cubicBezTo>
                      <a:lnTo>
                        <a:pt x="436" y="7"/>
                      </a:lnTo>
                      <a:cubicBezTo>
                        <a:pt x="422" y="11"/>
                        <a:pt x="406" y="15"/>
                        <a:pt x="391" y="18"/>
                      </a:cubicBezTo>
                      <a:lnTo>
                        <a:pt x="391" y="18"/>
                      </a:lnTo>
                      <a:cubicBezTo>
                        <a:pt x="356" y="26"/>
                        <a:pt x="323" y="38"/>
                        <a:pt x="290" y="51"/>
                      </a:cubicBezTo>
                      <a:lnTo>
                        <a:pt x="290" y="51"/>
                      </a:lnTo>
                      <a:cubicBezTo>
                        <a:pt x="259" y="62"/>
                        <a:pt x="230" y="76"/>
                        <a:pt x="201" y="89"/>
                      </a:cubicBezTo>
                      <a:lnTo>
                        <a:pt x="201" y="89"/>
                      </a:lnTo>
                      <a:cubicBezTo>
                        <a:pt x="163" y="107"/>
                        <a:pt x="126" y="125"/>
                        <a:pt x="89" y="144"/>
                      </a:cubicBezTo>
                      <a:lnTo>
                        <a:pt x="89" y="144"/>
                      </a:lnTo>
                      <a:cubicBezTo>
                        <a:pt x="76" y="151"/>
                        <a:pt x="69" y="167"/>
                        <a:pt x="76" y="182"/>
                      </a:cubicBezTo>
                      <a:lnTo>
                        <a:pt x="76" y="182"/>
                      </a:lnTo>
                      <a:cubicBezTo>
                        <a:pt x="82" y="195"/>
                        <a:pt x="100" y="201"/>
                        <a:pt x="113" y="194"/>
                      </a:cubicBezTo>
                      <a:lnTo>
                        <a:pt x="113" y="194"/>
                      </a:lnTo>
                      <a:cubicBezTo>
                        <a:pt x="155" y="173"/>
                        <a:pt x="197" y="152"/>
                        <a:pt x="240" y="133"/>
                      </a:cubicBezTo>
                      <a:lnTo>
                        <a:pt x="240" y="133"/>
                      </a:lnTo>
                      <a:cubicBezTo>
                        <a:pt x="261" y="123"/>
                        <a:pt x="282" y="114"/>
                        <a:pt x="303" y="105"/>
                      </a:cubicBezTo>
                      <a:lnTo>
                        <a:pt x="303" y="105"/>
                      </a:lnTo>
                      <a:cubicBezTo>
                        <a:pt x="321" y="98"/>
                        <a:pt x="339" y="92"/>
                        <a:pt x="357" y="85"/>
                      </a:cubicBezTo>
                      <a:lnTo>
                        <a:pt x="357" y="85"/>
                      </a:lnTo>
                      <a:cubicBezTo>
                        <a:pt x="373" y="81"/>
                        <a:pt x="388" y="76"/>
                        <a:pt x="404" y="72"/>
                      </a:cubicBezTo>
                      <a:lnTo>
                        <a:pt x="404" y="72"/>
                      </a:lnTo>
                      <a:cubicBezTo>
                        <a:pt x="378" y="100"/>
                        <a:pt x="349" y="127"/>
                        <a:pt x="322" y="155"/>
                      </a:cubicBezTo>
                      <a:lnTo>
                        <a:pt x="322" y="155"/>
                      </a:lnTo>
                      <a:cubicBezTo>
                        <a:pt x="294" y="183"/>
                        <a:pt x="268" y="213"/>
                        <a:pt x="241" y="241"/>
                      </a:cubicBezTo>
                      <a:lnTo>
                        <a:pt x="241" y="241"/>
                      </a:lnTo>
                      <a:cubicBezTo>
                        <a:pt x="227" y="255"/>
                        <a:pt x="214" y="268"/>
                        <a:pt x="200" y="282"/>
                      </a:cubicBezTo>
                      <a:lnTo>
                        <a:pt x="200" y="282"/>
                      </a:lnTo>
                      <a:cubicBezTo>
                        <a:pt x="184" y="298"/>
                        <a:pt x="169" y="314"/>
                        <a:pt x="154" y="331"/>
                      </a:cubicBezTo>
                      <a:lnTo>
                        <a:pt x="154" y="331"/>
                      </a:lnTo>
                      <a:cubicBezTo>
                        <a:pt x="142" y="345"/>
                        <a:pt x="130" y="360"/>
                        <a:pt x="118" y="374"/>
                      </a:cubicBezTo>
                      <a:lnTo>
                        <a:pt x="118" y="374"/>
                      </a:lnTo>
                      <a:cubicBezTo>
                        <a:pt x="106" y="389"/>
                        <a:pt x="93" y="403"/>
                        <a:pt x="80" y="416"/>
                      </a:cubicBezTo>
                      <a:lnTo>
                        <a:pt x="80" y="416"/>
                      </a:lnTo>
                      <a:cubicBezTo>
                        <a:pt x="55" y="444"/>
                        <a:pt x="31" y="471"/>
                        <a:pt x="6" y="499"/>
                      </a:cubicBezTo>
                      <a:lnTo>
                        <a:pt x="6" y="499"/>
                      </a:lnTo>
                      <a:cubicBezTo>
                        <a:pt x="1" y="505"/>
                        <a:pt x="0" y="514"/>
                        <a:pt x="2" y="520"/>
                      </a:cubicBezTo>
                      <a:lnTo>
                        <a:pt x="2" y="520"/>
                      </a:lnTo>
                      <a:cubicBezTo>
                        <a:pt x="3" y="528"/>
                        <a:pt x="7" y="534"/>
                        <a:pt x="13" y="539"/>
                      </a:cubicBezTo>
                      <a:lnTo>
                        <a:pt x="13" y="539"/>
                      </a:lnTo>
                      <a:cubicBezTo>
                        <a:pt x="19" y="543"/>
                        <a:pt x="27" y="544"/>
                        <a:pt x="34" y="543"/>
                      </a:cubicBezTo>
                      <a:lnTo>
                        <a:pt x="34" y="543"/>
                      </a:lnTo>
                      <a:cubicBezTo>
                        <a:pt x="42" y="541"/>
                        <a:pt x="46" y="537"/>
                        <a:pt x="52" y="531"/>
                      </a:cubicBezTo>
                      <a:lnTo>
                        <a:pt x="52" y="531"/>
                      </a:lnTo>
                      <a:cubicBezTo>
                        <a:pt x="80" y="499"/>
                        <a:pt x="110" y="467"/>
                        <a:pt x="138" y="435"/>
                      </a:cubicBezTo>
                      <a:lnTo>
                        <a:pt x="138" y="435"/>
                      </a:lnTo>
                      <a:cubicBezTo>
                        <a:pt x="167" y="403"/>
                        <a:pt x="194" y="370"/>
                        <a:pt x="221" y="339"/>
                      </a:cubicBezTo>
                      <a:lnTo>
                        <a:pt x="221" y="339"/>
                      </a:lnTo>
                      <a:cubicBezTo>
                        <a:pt x="243" y="318"/>
                        <a:pt x="264" y="297"/>
                        <a:pt x="285" y="275"/>
                      </a:cubicBezTo>
                      <a:lnTo>
                        <a:pt x="285" y="275"/>
                      </a:lnTo>
                      <a:cubicBezTo>
                        <a:pt x="308" y="251"/>
                        <a:pt x="329" y="226"/>
                        <a:pt x="353" y="203"/>
                      </a:cubicBezTo>
                      <a:lnTo>
                        <a:pt x="353" y="203"/>
                      </a:lnTo>
                      <a:cubicBezTo>
                        <a:pt x="377" y="178"/>
                        <a:pt x="402" y="154"/>
                        <a:pt x="426" y="130"/>
                      </a:cubicBezTo>
                      <a:lnTo>
                        <a:pt x="426" y="130"/>
                      </a:lnTo>
                      <a:cubicBezTo>
                        <a:pt x="439" y="117"/>
                        <a:pt x="450" y="104"/>
                        <a:pt x="461" y="91"/>
                      </a:cubicBezTo>
                      <a:lnTo>
                        <a:pt x="461" y="91"/>
                      </a:lnTo>
                      <a:cubicBezTo>
                        <a:pt x="466" y="84"/>
                        <a:pt x="472" y="78"/>
                        <a:pt x="477" y="72"/>
                      </a:cubicBezTo>
                      <a:lnTo>
                        <a:pt x="477" y="72"/>
                      </a:lnTo>
                      <a:cubicBezTo>
                        <a:pt x="480" y="67"/>
                        <a:pt x="484" y="63"/>
                        <a:pt x="488" y="59"/>
                      </a:cubicBezTo>
                      <a:lnTo>
                        <a:pt x="488" y="59"/>
                      </a:lnTo>
                      <a:cubicBezTo>
                        <a:pt x="491" y="54"/>
                        <a:pt x="494" y="51"/>
                        <a:pt x="496" y="47"/>
                      </a:cubicBezTo>
                      <a:lnTo>
                        <a:pt x="496" y="47"/>
                      </a:lnTo>
                      <a:cubicBezTo>
                        <a:pt x="499" y="42"/>
                        <a:pt x="500" y="37"/>
                        <a:pt x="502" y="31"/>
                      </a:cubicBezTo>
                      <a:lnTo>
                        <a:pt x="502" y="31"/>
                      </a:lnTo>
                      <a:cubicBezTo>
                        <a:pt x="503" y="19"/>
                        <a:pt x="495" y="6"/>
                        <a:pt x="484" y="2"/>
                      </a:cubicBezTo>
                      <a:lnTo>
                        <a:pt x="484" y="2"/>
                      </a:lnTo>
                      <a:cubicBezTo>
                        <a:pt x="479" y="1"/>
                        <a:pt x="476" y="0"/>
                        <a:pt x="472" y="0"/>
                      </a:cubicBezTo>
                      <a:lnTo>
                        <a:pt x="472" y="0"/>
                      </a:lnTo>
                      <a:cubicBezTo>
                        <a:pt x="469" y="0"/>
                        <a:pt x="466" y="1"/>
                        <a:pt x="46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79">
                  <a:extLst>
                    <a:ext uri="{FF2B5EF4-FFF2-40B4-BE49-F238E27FC236}">
                      <a16:creationId xmlns:a16="http://schemas.microsoft.com/office/drawing/2014/main" id="{A1877DD4-24C0-CC49-87F7-EEA9762C5C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4913" y="4738688"/>
                  <a:ext cx="104775" cy="66675"/>
                </a:xfrm>
                <a:custGeom>
                  <a:avLst/>
                  <a:gdLst>
                    <a:gd name="T0" fmla="*/ 51 w 292"/>
                    <a:gd name="T1" fmla="*/ 154 h 185"/>
                    <a:gd name="T2" fmla="*/ 51 w 292"/>
                    <a:gd name="T3" fmla="*/ 154 h 185"/>
                    <a:gd name="T4" fmla="*/ 50 w 292"/>
                    <a:gd name="T5" fmla="*/ 155 h 185"/>
                    <a:gd name="T6" fmla="*/ 50 w 292"/>
                    <a:gd name="T7" fmla="*/ 155 h 185"/>
                    <a:gd name="T8" fmla="*/ 51 w 292"/>
                    <a:gd name="T9" fmla="*/ 154 h 185"/>
                    <a:gd name="T10" fmla="*/ 53 w 292"/>
                    <a:gd name="T11" fmla="*/ 152 h 185"/>
                    <a:gd name="T12" fmla="*/ 53 w 292"/>
                    <a:gd name="T13" fmla="*/ 152 h 185"/>
                    <a:gd name="T14" fmla="*/ 51 w 292"/>
                    <a:gd name="T15" fmla="*/ 154 h 185"/>
                    <a:gd name="T16" fmla="*/ 51 w 292"/>
                    <a:gd name="T17" fmla="*/ 154 h 185"/>
                    <a:gd name="T18" fmla="*/ 53 w 292"/>
                    <a:gd name="T19" fmla="*/ 152 h 185"/>
                    <a:gd name="T20" fmla="*/ 268 w 292"/>
                    <a:gd name="T21" fmla="*/ 1 h 185"/>
                    <a:gd name="T22" fmla="*/ 268 w 292"/>
                    <a:gd name="T23" fmla="*/ 1 h 185"/>
                    <a:gd name="T24" fmla="*/ 165 w 292"/>
                    <a:gd name="T25" fmla="*/ 35 h 185"/>
                    <a:gd name="T26" fmla="*/ 165 w 292"/>
                    <a:gd name="T27" fmla="*/ 35 h 185"/>
                    <a:gd name="T28" fmla="*/ 77 w 292"/>
                    <a:gd name="T29" fmla="*/ 85 h 185"/>
                    <a:gd name="T30" fmla="*/ 77 w 292"/>
                    <a:gd name="T31" fmla="*/ 85 h 185"/>
                    <a:gd name="T32" fmla="*/ 35 w 292"/>
                    <a:gd name="T33" fmla="*/ 117 h 185"/>
                    <a:gd name="T34" fmla="*/ 35 w 292"/>
                    <a:gd name="T35" fmla="*/ 117 h 185"/>
                    <a:gd name="T36" fmla="*/ 18 w 292"/>
                    <a:gd name="T37" fmla="*/ 135 h 185"/>
                    <a:gd name="T38" fmla="*/ 18 w 292"/>
                    <a:gd name="T39" fmla="*/ 135 h 185"/>
                    <a:gd name="T40" fmla="*/ 5 w 292"/>
                    <a:gd name="T41" fmla="*/ 152 h 185"/>
                    <a:gd name="T42" fmla="*/ 5 w 292"/>
                    <a:gd name="T43" fmla="*/ 152 h 185"/>
                    <a:gd name="T44" fmla="*/ 10 w 292"/>
                    <a:gd name="T45" fmla="*/ 178 h 185"/>
                    <a:gd name="T46" fmla="*/ 10 w 292"/>
                    <a:gd name="T47" fmla="*/ 178 h 185"/>
                    <a:gd name="T48" fmla="*/ 36 w 292"/>
                    <a:gd name="T49" fmla="*/ 174 h 185"/>
                    <a:gd name="T50" fmla="*/ 36 w 292"/>
                    <a:gd name="T51" fmla="*/ 174 h 185"/>
                    <a:gd name="T52" fmla="*/ 51 w 292"/>
                    <a:gd name="T53" fmla="*/ 154 h 185"/>
                    <a:gd name="T54" fmla="*/ 51 w 292"/>
                    <a:gd name="T55" fmla="*/ 154 h 185"/>
                    <a:gd name="T56" fmla="*/ 106 w 292"/>
                    <a:gd name="T57" fmla="*/ 109 h 185"/>
                    <a:gd name="T58" fmla="*/ 106 w 292"/>
                    <a:gd name="T59" fmla="*/ 109 h 185"/>
                    <a:gd name="T60" fmla="*/ 102 w 292"/>
                    <a:gd name="T61" fmla="*/ 112 h 185"/>
                    <a:gd name="T62" fmla="*/ 102 w 292"/>
                    <a:gd name="T63" fmla="*/ 112 h 185"/>
                    <a:gd name="T64" fmla="*/ 159 w 292"/>
                    <a:gd name="T65" fmla="*/ 79 h 185"/>
                    <a:gd name="T66" fmla="*/ 159 w 292"/>
                    <a:gd name="T67" fmla="*/ 79 h 185"/>
                    <a:gd name="T68" fmla="*/ 216 w 292"/>
                    <a:gd name="T69" fmla="*/ 55 h 185"/>
                    <a:gd name="T70" fmla="*/ 216 w 292"/>
                    <a:gd name="T71" fmla="*/ 55 h 185"/>
                    <a:gd name="T72" fmla="*/ 212 w 292"/>
                    <a:gd name="T73" fmla="*/ 56 h 185"/>
                    <a:gd name="T74" fmla="*/ 212 w 292"/>
                    <a:gd name="T75" fmla="*/ 56 h 185"/>
                    <a:gd name="T76" fmla="*/ 275 w 292"/>
                    <a:gd name="T77" fmla="*/ 37 h 185"/>
                    <a:gd name="T78" fmla="*/ 275 w 292"/>
                    <a:gd name="T79" fmla="*/ 37 h 185"/>
                    <a:gd name="T80" fmla="*/ 290 w 292"/>
                    <a:gd name="T81" fmla="*/ 15 h 185"/>
                    <a:gd name="T82" fmla="*/ 290 w 292"/>
                    <a:gd name="T83" fmla="*/ 15 h 185"/>
                    <a:gd name="T84" fmla="*/ 271 w 292"/>
                    <a:gd name="T85" fmla="*/ 0 h 185"/>
                    <a:gd name="T86" fmla="*/ 271 w 292"/>
                    <a:gd name="T87" fmla="*/ 0 h 185"/>
                    <a:gd name="T88" fmla="*/ 268 w 292"/>
                    <a:gd name="T89" fmla="*/ 1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92" h="185">
                      <a:moveTo>
                        <a:pt x="51" y="154"/>
                      </a:moveTo>
                      <a:lnTo>
                        <a:pt x="51" y="154"/>
                      </a:lnTo>
                      <a:cubicBezTo>
                        <a:pt x="51" y="155"/>
                        <a:pt x="50" y="155"/>
                        <a:pt x="50" y="155"/>
                      </a:cubicBezTo>
                      <a:lnTo>
                        <a:pt x="50" y="155"/>
                      </a:lnTo>
                      <a:cubicBezTo>
                        <a:pt x="50" y="155"/>
                        <a:pt x="51" y="155"/>
                        <a:pt x="51" y="154"/>
                      </a:cubicBezTo>
                      <a:close/>
                      <a:moveTo>
                        <a:pt x="53" y="152"/>
                      </a:moveTo>
                      <a:lnTo>
                        <a:pt x="53" y="152"/>
                      </a:lnTo>
                      <a:cubicBezTo>
                        <a:pt x="52" y="152"/>
                        <a:pt x="52" y="153"/>
                        <a:pt x="51" y="154"/>
                      </a:cubicBezTo>
                      <a:lnTo>
                        <a:pt x="51" y="154"/>
                      </a:lnTo>
                      <a:cubicBezTo>
                        <a:pt x="52" y="153"/>
                        <a:pt x="52" y="152"/>
                        <a:pt x="53" y="152"/>
                      </a:cubicBezTo>
                      <a:close/>
                      <a:moveTo>
                        <a:pt x="268" y="1"/>
                      </a:moveTo>
                      <a:lnTo>
                        <a:pt x="268" y="1"/>
                      </a:lnTo>
                      <a:cubicBezTo>
                        <a:pt x="233" y="10"/>
                        <a:pt x="199" y="21"/>
                        <a:pt x="165" y="35"/>
                      </a:cubicBezTo>
                      <a:lnTo>
                        <a:pt x="165" y="35"/>
                      </a:lnTo>
                      <a:cubicBezTo>
                        <a:pt x="135" y="49"/>
                        <a:pt x="105" y="66"/>
                        <a:pt x="77" y="85"/>
                      </a:cubicBezTo>
                      <a:lnTo>
                        <a:pt x="77" y="85"/>
                      </a:lnTo>
                      <a:cubicBezTo>
                        <a:pt x="62" y="94"/>
                        <a:pt x="48" y="105"/>
                        <a:pt x="35" y="117"/>
                      </a:cubicBezTo>
                      <a:lnTo>
                        <a:pt x="35" y="117"/>
                      </a:lnTo>
                      <a:cubicBezTo>
                        <a:pt x="29" y="123"/>
                        <a:pt x="24" y="129"/>
                        <a:pt x="18" y="135"/>
                      </a:cubicBezTo>
                      <a:lnTo>
                        <a:pt x="18" y="135"/>
                      </a:lnTo>
                      <a:cubicBezTo>
                        <a:pt x="14" y="141"/>
                        <a:pt x="9" y="146"/>
                        <a:pt x="5" y="152"/>
                      </a:cubicBezTo>
                      <a:lnTo>
                        <a:pt x="5" y="152"/>
                      </a:lnTo>
                      <a:cubicBezTo>
                        <a:pt x="0" y="161"/>
                        <a:pt x="1" y="172"/>
                        <a:pt x="10" y="178"/>
                      </a:cubicBezTo>
                      <a:lnTo>
                        <a:pt x="10" y="178"/>
                      </a:lnTo>
                      <a:cubicBezTo>
                        <a:pt x="18" y="184"/>
                        <a:pt x="31" y="182"/>
                        <a:pt x="36" y="174"/>
                      </a:cubicBezTo>
                      <a:lnTo>
                        <a:pt x="36" y="174"/>
                      </a:lnTo>
                      <a:cubicBezTo>
                        <a:pt x="40" y="167"/>
                        <a:pt x="45" y="160"/>
                        <a:pt x="51" y="154"/>
                      </a:cubicBezTo>
                      <a:lnTo>
                        <a:pt x="51" y="154"/>
                      </a:lnTo>
                      <a:cubicBezTo>
                        <a:pt x="67" y="136"/>
                        <a:pt x="86" y="122"/>
                        <a:pt x="106" y="109"/>
                      </a:cubicBezTo>
                      <a:lnTo>
                        <a:pt x="106" y="109"/>
                      </a:lnTo>
                      <a:cubicBezTo>
                        <a:pt x="105" y="110"/>
                        <a:pt x="104" y="111"/>
                        <a:pt x="102" y="112"/>
                      </a:cubicBezTo>
                      <a:lnTo>
                        <a:pt x="102" y="112"/>
                      </a:lnTo>
                      <a:cubicBezTo>
                        <a:pt x="120" y="100"/>
                        <a:pt x="139" y="89"/>
                        <a:pt x="159" y="79"/>
                      </a:cubicBezTo>
                      <a:lnTo>
                        <a:pt x="159" y="79"/>
                      </a:lnTo>
                      <a:cubicBezTo>
                        <a:pt x="177" y="70"/>
                        <a:pt x="197" y="62"/>
                        <a:pt x="216" y="55"/>
                      </a:cubicBezTo>
                      <a:lnTo>
                        <a:pt x="216" y="55"/>
                      </a:lnTo>
                      <a:cubicBezTo>
                        <a:pt x="215" y="55"/>
                        <a:pt x="213" y="56"/>
                        <a:pt x="212" y="56"/>
                      </a:cubicBezTo>
                      <a:lnTo>
                        <a:pt x="212" y="56"/>
                      </a:lnTo>
                      <a:cubicBezTo>
                        <a:pt x="233" y="49"/>
                        <a:pt x="254" y="43"/>
                        <a:pt x="275" y="37"/>
                      </a:cubicBezTo>
                      <a:lnTo>
                        <a:pt x="275" y="37"/>
                      </a:lnTo>
                      <a:cubicBezTo>
                        <a:pt x="285" y="35"/>
                        <a:pt x="291" y="26"/>
                        <a:pt x="290" y="15"/>
                      </a:cubicBezTo>
                      <a:lnTo>
                        <a:pt x="290" y="15"/>
                      </a:lnTo>
                      <a:cubicBezTo>
                        <a:pt x="288" y="7"/>
                        <a:pt x="280" y="0"/>
                        <a:pt x="271" y="0"/>
                      </a:cubicBezTo>
                      <a:lnTo>
                        <a:pt x="271" y="0"/>
                      </a:lnTo>
                      <a:cubicBezTo>
                        <a:pt x="270" y="0"/>
                        <a:pt x="269" y="1"/>
                        <a:pt x="268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 80">
                  <a:extLst>
                    <a:ext uri="{FF2B5EF4-FFF2-40B4-BE49-F238E27FC236}">
                      <a16:creationId xmlns:a16="http://schemas.microsoft.com/office/drawing/2014/main" id="{9D32E91F-D7F3-E54A-A2A6-D8710EC6D4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45075" y="4765675"/>
                  <a:ext cx="55563" cy="34925"/>
                </a:xfrm>
                <a:custGeom>
                  <a:avLst/>
                  <a:gdLst>
                    <a:gd name="T0" fmla="*/ 124 w 154"/>
                    <a:gd name="T1" fmla="*/ 1 h 95"/>
                    <a:gd name="T2" fmla="*/ 124 w 154"/>
                    <a:gd name="T3" fmla="*/ 1 h 95"/>
                    <a:gd name="T4" fmla="*/ 77 w 154"/>
                    <a:gd name="T5" fmla="*/ 22 h 95"/>
                    <a:gd name="T6" fmla="*/ 77 w 154"/>
                    <a:gd name="T7" fmla="*/ 22 h 95"/>
                    <a:gd name="T8" fmla="*/ 13 w 154"/>
                    <a:gd name="T9" fmla="*/ 56 h 95"/>
                    <a:gd name="T10" fmla="*/ 13 w 154"/>
                    <a:gd name="T11" fmla="*/ 56 h 95"/>
                    <a:gd name="T12" fmla="*/ 4 w 154"/>
                    <a:gd name="T13" fmla="*/ 80 h 95"/>
                    <a:gd name="T14" fmla="*/ 4 w 154"/>
                    <a:gd name="T15" fmla="*/ 80 h 95"/>
                    <a:gd name="T16" fmla="*/ 29 w 154"/>
                    <a:gd name="T17" fmla="*/ 89 h 95"/>
                    <a:gd name="T18" fmla="*/ 29 w 154"/>
                    <a:gd name="T19" fmla="*/ 89 h 95"/>
                    <a:gd name="T20" fmla="*/ 90 w 154"/>
                    <a:gd name="T21" fmla="*/ 57 h 95"/>
                    <a:gd name="T22" fmla="*/ 90 w 154"/>
                    <a:gd name="T23" fmla="*/ 57 h 95"/>
                    <a:gd name="T24" fmla="*/ 140 w 154"/>
                    <a:gd name="T25" fmla="*/ 35 h 95"/>
                    <a:gd name="T26" fmla="*/ 140 w 154"/>
                    <a:gd name="T27" fmla="*/ 35 h 95"/>
                    <a:gd name="T28" fmla="*/ 149 w 154"/>
                    <a:gd name="T29" fmla="*/ 10 h 95"/>
                    <a:gd name="T30" fmla="*/ 149 w 154"/>
                    <a:gd name="T31" fmla="*/ 10 h 95"/>
                    <a:gd name="T32" fmla="*/ 138 w 154"/>
                    <a:gd name="T33" fmla="*/ 0 h 95"/>
                    <a:gd name="T34" fmla="*/ 138 w 154"/>
                    <a:gd name="T35" fmla="*/ 0 h 95"/>
                    <a:gd name="T36" fmla="*/ 133 w 154"/>
                    <a:gd name="T37" fmla="*/ 0 h 95"/>
                    <a:gd name="T38" fmla="*/ 133 w 154"/>
                    <a:gd name="T39" fmla="*/ 0 h 95"/>
                    <a:gd name="T40" fmla="*/ 124 w 154"/>
                    <a:gd name="T41" fmla="*/ 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4" h="95">
                      <a:moveTo>
                        <a:pt x="124" y="1"/>
                      </a:moveTo>
                      <a:lnTo>
                        <a:pt x="124" y="1"/>
                      </a:lnTo>
                      <a:cubicBezTo>
                        <a:pt x="108" y="7"/>
                        <a:pt x="92" y="14"/>
                        <a:pt x="77" y="22"/>
                      </a:cubicBezTo>
                      <a:lnTo>
                        <a:pt x="77" y="22"/>
                      </a:lnTo>
                      <a:cubicBezTo>
                        <a:pt x="55" y="33"/>
                        <a:pt x="34" y="44"/>
                        <a:pt x="13" y="56"/>
                      </a:cubicBezTo>
                      <a:lnTo>
                        <a:pt x="13" y="56"/>
                      </a:lnTo>
                      <a:cubicBezTo>
                        <a:pt x="4" y="60"/>
                        <a:pt x="0" y="71"/>
                        <a:pt x="4" y="80"/>
                      </a:cubicBezTo>
                      <a:lnTo>
                        <a:pt x="4" y="80"/>
                      </a:lnTo>
                      <a:cubicBezTo>
                        <a:pt x="8" y="89"/>
                        <a:pt x="20" y="94"/>
                        <a:pt x="29" y="89"/>
                      </a:cubicBezTo>
                      <a:lnTo>
                        <a:pt x="29" y="89"/>
                      </a:lnTo>
                      <a:cubicBezTo>
                        <a:pt x="49" y="78"/>
                        <a:pt x="70" y="67"/>
                        <a:pt x="90" y="57"/>
                      </a:cubicBezTo>
                      <a:lnTo>
                        <a:pt x="90" y="57"/>
                      </a:lnTo>
                      <a:cubicBezTo>
                        <a:pt x="107" y="49"/>
                        <a:pt x="123" y="41"/>
                        <a:pt x="140" y="35"/>
                      </a:cubicBezTo>
                      <a:lnTo>
                        <a:pt x="140" y="35"/>
                      </a:lnTo>
                      <a:cubicBezTo>
                        <a:pt x="149" y="31"/>
                        <a:pt x="153" y="19"/>
                        <a:pt x="149" y="10"/>
                      </a:cubicBezTo>
                      <a:lnTo>
                        <a:pt x="149" y="10"/>
                      </a:lnTo>
                      <a:cubicBezTo>
                        <a:pt x="147" y="6"/>
                        <a:pt x="143" y="2"/>
                        <a:pt x="138" y="0"/>
                      </a:cubicBezTo>
                      <a:lnTo>
                        <a:pt x="138" y="0"/>
                      </a:lnTo>
                      <a:cubicBezTo>
                        <a:pt x="136" y="0"/>
                        <a:pt x="134" y="0"/>
                        <a:pt x="133" y="0"/>
                      </a:cubicBezTo>
                      <a:lnTo>
                        <a:pt x="133" y="0"/>
                      </a:lnTo>
                      <a:cubicBezTo>
                        <a:pt x="130" y="0"/>
                        <a:pt x="127" y="0"/>
                        <a:pt x="1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81">
                  <a:extLst>
                    <a:ext uri="{FF2B5EF4-FFF2-40B4-BE49-F238E27FC236}">
                      <a16:creationId xmlns:a16="http://schemas.microsoft.com/office/drawing/2014/main" id="{11D812E4-9B16-2D46-A9A2-4E91145899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68888" y="4784725"/>
                  <a:ext cx="49212" cy="23813"/>
                </a:xfrm>
                <a:custGeom>
                  <a:avLst/>
                  <a:gdLst>
                    <a:gd name="T0" fmla="*/ 114 w 138"/>
                    <a:gd name="T1" fmla="*/ 0 h 68"/>
                    <a:gd name="T2" fmla="*/ 114 w 138"/>
                    <a:gd name="T3" fmla="*/ 0 h 68"/>
                    <a:gd name="T4" fmla="*/ 15 w 138"/>
                    <a:gd name="T5" fmla="*/ 29 h 68"/>
                    <a:gd name="T6" fmla="*/ 15 w 138"/>
                    <a:gd name="T7" fmla="*/ 29 h 68"/>
                    <a:gd name="T8" fmla="*/ 3 w 138"/>
                    <a:gd name="T9" fmla="*/ 37 h 68"/>
                    <a:gd name="T10" fmla="*/ 3 w 138"/>
                    <a:gd name="T11" fmla="*/ 37 h 68"/>
                    <a:gd name="T12" fmla="*/ 0 w 138"/>
                    <a:gd name="T13" fmla="*/ 51 h 68"/>
                    <a:gd name="T14" fmla="*/ 0 w 138"/>
                    <a:gd name="T15" fmla="*/ 51 h 68"/>
                    <a:gd name="T16" fmla="*/ 8 w 138"/>
                    <a:gd name="T17" fmla="*/ 63 h 68"/>
                    <a:gd name="T18" fmla="*/ 8 w 138"/>
                    <a:gd name="T19" fmla="*/ 63 h 68"/>
                    <a:gd name="T20" fmla="*/ 22 w 138"/>
                    <a:gd name="T21" fmla="*/ 66 h 68"/>
                    <a:gd name="T22" fmla="*/ 22 w 138"/>
                    <a:gd name="T23" fmla="*/ 66 h 68"/>
                    <a:gd name="T24" fmla="*/ 121 w 138"/>
                    <a:gd name="T25" fmla="*/ 37 h 68"/>
                    <a:gd name="T26" fmla="*/ 121 w 138"/>
                    <a:gd name="T27" fmla="*/ 37 h 68"/>
                    <a:gd name="T28" fmla="*/ 133 w 138"/>
                    <a:gd name="T29" fmla="*/ 29 h 68"/>
                    <a:gd name="T30" fmla="*/ 133 w 138"/>
                    <a:gd name="T31" fmla="*/ 29 h 68"/>
                    <a:gd name="T32" fmla="*/ 136 w 138"/>
                    <a:gd name="T33" fmla="*/ 15 h 68"/>
                    <a:gd name="T34" fmla="*/ 136 w 138"/>
                    <a:gd name="T35" fmla="*/ 15 h 68"/>
                    <a:gd name="T36" fmla="*/ 128 w 138"/>
                    <a:gd name="T37" fmla="*/ 3 h 68"/>
                    <a:gd name="T38" fmla="*/ 128 w 138"/>
                    <a:gd name="T39" fmla="*/ 3 h 68"/>
                    <a:gd name="T40" fmla="*/ 117 w 138"/>
                    <a:gd name="T41" fmla="*/ 0 h 68"/>
                    <a:gd name="T42" fmla="*/ 117 w 138"/>
                    <a:gd name="T43" fmla="*/ 0 h 68"/>
                    <a:gd name="T44" fmla="*/ 114 w 138"/>
                    <a:gd name="T45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8" h="68">
                      <a:moveTo>
                        <a:pt x="114" y="0"/>
                      </a:moveTo>
                      <a:lnTo>
                        <a:pt x="114" y="0"/>
                      </a:lnTo>
                      <a:cubicBezTo>
                        <a:pt x="81" y="9"/>
                        <a:pt x="48" y="19"/>
                        <a:pt x="15" y="29"/>
                      </a:cubicBezTo>
                      <a:lnTo>
                        <a:pt x="15" y="29"/>
                      </a:lnTo>
                      <a:cubicBezTo>
                        <a:pt x="10" y="31"/>
                        <a:pt x="7" y="33"/>
                        <a:pt x="3" y="37"/>
                      </a:cubicBezTo>
                      <a:lnTo>
                        <a:pt x="3" y="37"/>
                      </a:lnTo>
                      <a:cubicBezTo>
                        <a:pt x="1" y="41"/>
                        <a:pt x="0" y="46"/>
                        <a:pt x="0" y="51"/>
                      </a:cubicBezTo>
                      <a:lnTo>
                        <a:pt x="0" y="51"/>
                      </a:lnTo>
                      <a:cubicBezTo>
                        <a:pt x="2" y="56"/>
                        <a:pt x="4" y="60"/>
                        <a:pt x="8" y="63"/>
                      </a:cubicBezTo>
                      <a:lnTo>
                        <a:pt x="8" y="63"/>
                      </a:lnTo>
                      <a:cubicBezTo>
                        <a:pt x="12" y="65"/>
                        <a:pt x="18" y="67"/>
                        <a:pt x="22" y="66"/>
                      </a:cubicBezTo>
                      <a:lnTo>
                        <a:pt x="22" y="66"/>
                      </a:lnTo>
                      <a:cubicBezTo>
                        <a:pt x="55" y="56"/>
                        <a:pt x="88" y="46"/>
                        <a:pt x="121" y="37"/>
                      </a:cubicBezTo>
                      <a:lnTo>
                        <a:pt x="121" y="37"/>
                      </a:lnTo>
                      <a:cubicBezTo>
                        <a:pt x="126" y="35"/>
                        <a:pt x="130" y="33"/>
                        <a:pt x="133" y="29"/>
                      </a:cubicBezTo>
                      <a:lnTo>
                        <a:pt x="133" y="29"/>
                      </a:lnTo>
                      <a:cubicBezTo>
                        <a:pt x="136" y="25"/>
                        <a:pt x="137" y="19"/>
                        <a:pt x="136" y="15"/>
                      </a:cubicBezTo>
                      <a:lnTo>
                        <a:pt x="136" y="15"/>
                      </a:lnTo>
                      <a:cubicBezTo>
                        <a:pt x="135" y="10"/>
                        <a:pt x="132" y="6"/>
                        <a:pt x="128" y="3"/>
                      </a:cubicBezTo>
                      <a:lnTo>
                        <a:pt x="128" y="3"/>
                      </a:lnTo>
                      <a:cubicBezTo>
                        <a:pt x="126" y="1"/>
                        <a:pt x="121" y="0"/>
                        <a:pt x="117" y="0"/>
                      </a:cubicBezTo>
                      <a:lnTo>
                        <a:pt x="117" y="0"/>
                      </a:lnTo>
                      <a:cubicBezTo>
                        <a:pt x="116" y="0"/>
                        <a:pt x="115" y="0"/>
                        <a:pt x="11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 82">
                  <a:extLst>
                    <a:ext uri="{FF2B5EF4-FFF2-40B4-BE49-F238E27FC236}">
                      <a16:creationId xmlns:a16="http://schemas.microsoft.com/office/drawing/2014/main" id="{49166686-297C-104C-9FCB-4C73F5FEAF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4075" y="5045075"/>
                  <a:ext cx="41275" cy="123825"/>
                </a:xfrm>
                <a:custGeom>
                  <a:avLst/>
                  <a:gdLst>
                    <a:gd name="T0" fmla="*/ 46 w 113"/>
                    <a:gd name="T1" fmla="*/ 196 h 346"/>
                    <a:gd name="T2" fmla="*/ 46 w 113"/>
                    <a:gd name="T3" fmla="*/ 196 h 346"/>
                    <a:gd name="T4" fmla="*/ 46 w 113"/>
                    <a:gd name="T5" fmla="*/ 197 h 346"/>
                    <a:gd name="T6" fmla="*/ 46 w 113"/>
                    <a:gd name="T7" fmla="*/ 197 h 346"/>
                    <a:gd name="T8" fmla="*/ 46 w 113"/>
                    <a:gd name="T9" fmla="*/ 196 h 346"/>
                    <a:gd name="T10" fmla="*/ 85 w 113"/>
                    <a:gd name="T11" fmla="*/ 2 h 346"/>
                    <a:gd name="T12" fmla="*/ 85 w 113"/>
                    <a:gd name="T13" fmla="*/ 2 h 346"/>
                    <a:gd name="T14" fmla="*/ 75 w 113"/>
                    <a:gd name="T15" fmla="*/ 13 h 346"/>
                    <a:gd name="T16" fmla="*/ 75 w 113"/>
                    <a:gd name="T17" fmla="*/ 13 h 346"/>
                    <a:gd name="T18" fmla="*/ 57 w 113"/>
                    <a:gd name="T19" fmla="*/ 50 h 346"/>
                    <a:gd name="T20" fmla="*/ 57 w 113"/>
                    <a:gd name="T21" fmla="*/ 50 h 346"/>
                    <a:gd name="T22" fmla="*/ 41 w 113"/>
                    <a:gd name="T23" fmla="*/ 89 h 346"/>
                    <a:gd name="T24" fmla="*/ 41 w 113"/>
                    <a:gd name="T25" fmla="*/ 89 h 346"/>
                    <a:gd name="T26" fmla="*/ 15 w 113"/>
                    <a:gd name="T27" fmla="*/ 168 h 346"/>
                    <a:gd name="T28" fmla="*/ 15 w 113"/>
                    <a:gd name="T29" fmla="*/ 168 h 346"/>
                    <a:gd name="T30" fmla="*/ 2 w 113"/>
                    <a:gd name="T31" fmla="*/ 245 h 346"/>
                    <a:gd name="T32" fmla="*/ 2 w 113"/>
                    <a:gd name="T33" fmla="*/ 245 h 346"/>
                    <a:gd name="T34" fmla="*/ 1 w 113"/>
                    <a:gd name="T35" fmla="*/ 285 h 346"/>
                    <a:gd name="T36" fmla="*/ 1 w 113"/>
                    <a:gd name="T37" fmla="*/ 285 h 346"/>
                    <a:gd name="T38" fmla="*/ 8 w 113"/>
                    <a:gd name="T39" fmla="*/ 328 h 346"/>
                    <a:gd name="T40" fmla="*/ 8 w 113"/>
                    <a:gd name="T41" fmla="*/ 328 h 346"/>
                    <a:gd name="T42" fmla="*/ 30 w 113"/>
                    <a:gd name="T43" fmla="*/ 343 h 346"/>
                    <a:gd name="T44" fmla="*/ 30 w 113"/>
                    <a:gd name="T45" fmla="*/ 343 h 346"/>
                    <a:gd name="T46" fmla="*/ 45 w 113"/>
                    <a:gd name="T47" fmla="*/ 321 h 346"/>
                    <a:gd name="T48" fmla="*/ 45 w 113"/>
                    <a:gd name="T49" fmla="*/ 321 h 346"/>
                    <a:gd name="T50" fmla="*/ 38 w 113"/>
                    <a:gd name="T51" fmla="*/ 280 h 346"/>
                    <a:gd name="T52" fmla="*/ 38 w 113"/>
                    <a:gd name="T53" fmla="*/ 280 h 346"/>
                    <a:gd name="T54" fmla="*/ 46 w 113"/>
                    <a:gd name="T55" fmla="*/ 200 h 346"/>
                    <a:gd name="T56" fmla="*/ 46 w 113"/>
                    <a:gd name="T57" fmla="*/ 200 h 346"/>
                    <a:gd name="T58" fmla="*/ 71 w 113"/>
                    <a:gd name="T59" fmla="*/ 114 h 346"/>
                    <a:gd name="T60" fmla="*/ 71 w 113"/>
                    <a:gd name="T61" fmla="*/ 114 h 346"/>
                    <a:gd name="T62" fmla="*/ 89 w 113"/>
                    <a:gd name="T63" fmla="*/ 69 h 346"/>
                    <a:gd name="T64" fmla="*/ 89 w 113"/>
                    <a:gd name="T65" fmla="*/ 69 h 346"/>
                    <a:gd name="T66" fmla="*/ 110 w 113"/>
                    <a:gd name="T67" fmla="*/ 25 h 346"/>
                    <a:gd name="T68" fmla="*/ 110 w 113"/>
                    <a:gd name="T69" fmla="*/ 25 h 346"/>
                    <a:gd name="T70" fmla="*/ 109 w 113"/>
                    <a:gd name="T71" fmla="*/ 11 h 346"/>
                    <a:gd name="T72" fmla="*/ 109 w 113"/>
                    <a:gd name="T73" fmla="*/ 11 h 346"/>
                    <a:gd name="T74" fmla="*/ 99 w 113"/>
                    <a:gd name="T75" fmla="*/ 2 h 346"/>
                    <a:gd name="T76" fmla="*/ 99 w 113"/>
                    <a:gd name="T77" fmla="*/ 2 h 346"/>
                    <a:gd name="T78" fmla="*/ 92 w 113"/>
                    <a:gd name="T79" fmla="*/ 0 h 346"/>
                    <a:gd name="T80" fmla="*/ 92 w 113"/>
                    <a:gd name="T81" fmla="*/ 0 h 346"/>
                    <a:gd name="T82" fmla="*/ 85 w 113"/>
                    <a:gd name="T83" fmla="*/ 2 h 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3" h="346">
                      <a:moveTo>
                        <a:pt x="46" y="196"/>
                      </a:moveTo>
                      <a:lnTo>
                        <a:pt x="46" y="196"/>
                      </a:lnTo>
                      <a:lnTo>
                        <a:pt x="46" y="197"/>
                      </a:lnTo>
                      <a:lnTo>
                        <a:pt x="46" y="197"/>
                      </a:lnTo>
                      <a:lnTo>
                        <a:pt x="46" y="196"/>
                      </a:lnTo>
                      <a:close/>
                      <a:moveTo>
                        <a:pt x="85" y="2"/>
                      </a:moveTo>
                      <a:lnTo>
                        <a:pt x="85" y="2"/>
                      </a:lnTo>
                      <a:cubicBezTo>
                        <a:pt x="80" y="4"/>
                        <a:pt x="77" y="8"/>
                        <a:pt x="75" y="13"/>
                      </a:cubicBezTo>
                      <a:lnTo>
                        <a:pt x="75" y="13"/>
                      </a:lnTo>
                      <a:cubicBezTo>
                        <a:pt x="69" y="25"/>
                        <a:pt x="63" y="37"/>
                        <a:pt x="57" y="50"/>
                      </a:cubicBezTo>
                      <a:lnTo>
                        <a:pt x="57" y="50"/>
                      </a:lnTo>
                      <a:cubicBezTo>
                        <a:pt x="52" y="63"/>
                        <a:pt x="46" y="75"/>
                        <a:pt x="41" y="89"/>
                      </a:cubicBezTo>
                      <a:lnTo>
                        <a:pt x="41" y="89"/>
                      </a:lnTo>
                      <a:cubicBezTo>
                        <a:pt x="30" y="114"/>
                        <a:pt x="22" y="141"/>
                        <a:pt x="15" y="168"/>
                      </a:cubicBezTo>
                      <a:lnTo>
                        <a:pt x="15" y="168"/>
                      </a:lnTo>
                      <a:cubicBezTo>
                        <a:pt x="9" y="193"/>
                        <a:pt x="4" y="219"/>
                        <a:pt x="2" y="245"/>
                      </a:cubicBezTo>
                      <a:lnTo>
                        <a:pt x="2" y="245"/>
                      </a:lnTo>
                      <a:cubicBezTo>
                        <a:pt x="0" y="258"/>
                        <a:pt x="0" y="271"/>
                        <a:pt x="1" y="285"/>
                      </a:cubicBezTo>
                      <a:lnTo>
                        <a:pt x="1" y="285"/>
                      </a:lnTo>
                      <a:cubicBezTo>
                        <a:pt x="2" y="299"/>
                        <a:pt x="5" y="314"/>
                        <a:pt x="8" y="328"/>
                      </a:cubicBezTo>
                      <a:lnTo>
                        <a:pt x="8" y="328"/>
                      </a:lnTo>
                      <a:cubicBezTo>
                        <a:pt x="10" y="337"/>
                        <a:pt x="19" y="345"/>
                        <a:pt x="30" y="343"/>
                      </a:cubicBezTo>
                      <a:lnTo>
                        <a:pt x="30" y="343"/>
                      </a:lnTo>
                      <a:cubicBezTo>
                        <a:pt x="39" y="341"/>
                        <a:pt x="46" y="331"/>
                        <a:pt x="45" y="321"/>
                      </a:cubicBezTo>
                      <a:lnTo>
                        <a:pt x="45" y="321"/>
                      </a:lnTo>
                      <a:cubicBezTo>
                        <a:pt x="42" y="307"/>
                        <a:pt x="39" y="294"/>
                        <a:pt x="38" y="280"/>
                      </a:cubicBezTo>
                      <a:lnTo>
                        <a:pt x="38" y="280"/>
                      </a:lnTo>
                      <a:cubicBezTo>
                        <a:pt x="37" y="253"/>
                        <a:pt x="40" y="226"/>
                        <a:pt x="46" y="200"/>
                      </a:cubicBezTo>
                      <a:lnTo>
                        <a:pt x="46" y="200"/>
                      </a:lnTo>
                      <a:cubicBezTo>
                        <a:pt x="52" y="170"/>
                        <a:pt x="60" y="142"/>
                        <a:pt x="71" y="114"/>
                      </a:cubicBezTo>
                      <a:lnTo>
                        <a:pt x="71" y="114"/>
                      </a:lnTo>
                      <a:cubicBezTo>
                        <a:pt x="76" y="99"/>
                        <a:pt x="83" y="84"/>
                        <a:pt x="89" y="69"/>
                      </a:cubicBezTo>
                      <a:lnTo>
                        <a:pt x="89" y="69"/>
                      </a:lnTo>
                      <a:cubicBezTo>
                        <a:pt x="96" y="54"/>
                        <a:pt x="103" y="40"/>
                        <a:pt x="110" y="25"/>
                      </a:cubicBezTo>
                      <a:lnTo>
                        <a:pt x="110" y="25"/>
                      </a:lnTo>
                      <a:cubicBezTo>
                        <a:pt x="112" y="21"/>
                        <a:pt x="111" y="15"/>
                        <a:pt x="109" y="11"/>
                      </a:cubicBezTo>
                      <a:lnTo>
                        <a:pt x="109" y="11"/>
                      </a:lnTo>
                      <a:cubicBezTo>
                        <a:pt x="107" y="6"/>
                        <a:pt x="103" y="3"/>
                        <a:pt x="99" y="2"/>
                      </a:cubicBezTo>
                      <a:lnTo>
                        <a:pt x="99" y="2"/>
                      </a:lnTo>
                      <a:cubicBezTo>
                        <a:pt x="97" y="0"/>
                        <a:pt x="95" y="0"/>
                        <a:pt x="92" y="0"/>
                      </a:cubicBezTo>
                      <a:lnTo>
                        <a:pt x="92" y="0"/>
                      </a:lnTo>
                      <a:cubicBezTo>
                        <a:pt x="90" y="0"/>
                        <a:pt x="87" y="1"/>
                        <a:pt x="85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83">
                  <a:extLst>
                    <a:ext uri="{FF2B5EF4-FFF2-40B4-BE49-F238E27FC236}">
                      <a16:creationId xmlns:a16="http://schemas.microsoft.com/office/drawing/2014/main" id="{34500377-BA42-2543-9A94-FCDFBB056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00588" y="5221288"/>
                  <a:ext cx="90487" cy="76200"/>
                </a:xfrm>
                <a:custGeom>
                  <a:avLst/>
                  <a:gdLst>
                    <a:gd name="T0" fmla="*/ 99 w 250"/>
                    <a:gd name="T1" fmla="*/ 110 h 211"/>
                    <a:gd name="T2" fmla="*/ 100 w 250"/>
                    <a:gd name="T3" fmla="*/ 110 h 211"/>
                    <a:gd name="T4" fmla="*/ 99 w 250"/>
                    <a:gd name="T5" fmla="*/ 109 h 211"/>
                    <a:gd name="T6" fmla="*/ 66 w 250"/>
                    <a:gd name="T7" fmla="*/ 71 h 211"/>
                    <a:gd name="T8" fmla="*/ 68 w 250"/>
                    <a:gd name="T9" fmla="*/ 74 h 211"/>
                    <a:gd name="T10" fmla="*/ 66 w 250"/>
                    <a:gd name="T11" fmla="*/ 71 h 211"/>
                    <a:gd name="T12" fmla="*/ 13 w 250"/>
                    <a:gd name="T13" fmla="*/ 2 h 211"/>
                    <a:gd name="T14" fmla="*/ 4 w 250"/>
                    <a:gd name="T15" fmla="*/ 27 h 211"/>
                    <a:gd name="T16" fmla="*/ 13 w 250"/>
                    <a:gd name="T17" fmla="*/ 50 h 211"/>
                    <a:gd name="T18" fmla="*/ 25 w 250"/>
                    <a:gd name="T19" fmla="*/ 74 h 211"/>
                    <a:gd name="T20" fmla="*/ 54 w 250"/>
                    <a:gd name="T21" fmla="*/ 116 h 211"/>
                    <a:gd name="T22" fmla="*/ 89 w 250"/>
                    <a:gd name="T23" fmla="*/ 150 h 211"/>
                    <a:gd name="T24" fmla="*/ 130 w 250"/>
                    <a:gd name="T25" fmla="*/ 176 h 211"/>
                    <a:gd name="T26" fmla="*/ 229 w 250"/>
                    <a:gd name="T27" fmla="*/ 210 h 211"/>
                    <a:gd name="T28" fmla="*/ 242 w 250"/>
                    <a:gd name="T29" fmla="*/ 205 h 211"/>
                    <a:gd name="T30" fmla="*/ 249 w 250"/>
                    <a:gd name="T31" fmla="*/ 193 h 211"/>
                    <a:gd name="T32" fmla="*/ 244 w 250"/>
                    <a:gd name="T33" fmla="*/ 179 h 211"/>
                    <a:gd name="T34" fmla="*/ 231 w 250"/>
                    <a:gd name="T35" fmla="*/ 173 h 211"/>
                    <a:gd name="T36" fmla="*/ 228 w 250"/>
                    <a:gd name="T37" fmla="*/ 172 h 211"/>
                    <a:gd name="T38" fmla="*/ 228 w 250"/>
                    <a:gd name="T39" fmla="*/ 172 h 211"/>
                    <a:gd name="T40" fmla="*/ 145 w 250"/>
                    <a:gd name="T41" fmla="*/ 142 h 211"/>
                    <a:gd name="T42" fmla="*/ 120 w 250"/>
                    <a:gd name="T43" fmla="*/ 126 h 211"/>
                    <a:gd name="T44" fmla="*/ 100 w 250"/>
                    <a:gd name="T45" fmla="*/ 110 h 211"/>
                    <a:gd name="T46" fmla="*/ 100 w 250"/>
                    <a:gd name="T47" fmla="*/ 110 h 211"/>
                    <a:gd name="T48" fmla="*/ 99 w 250"/>
                    <a:gd name="T49" fmla="*/ 110 h 211"/>
                    <a:gd name="T50" fmla="*/ 96 w 250"/>
                    <a:gd name="T51" fmla="*/ 108 h 211"/>
                    <a:gd name="T52" fmla="*/ 99 w 250"/>
                    <a:gd name="T53" fmla="*/ 109 h 211"/>
                    <a:gd name="T54" fmla="*/ 82 w 250"/>
                    <a:gd name="T55" fmla="*/ 92 h 211"/>
                    <a:gd name="T56" fmla="*/ 69 w 250"/>
                    <a:gd name="T57" fmla="*/ 75 h 211"/>
                    <a:gd name="T58" fmla="*/ 52 w 250"/>
                    <a:gd name="T59" fmla="*/ 46 h 211"/>
                    <a:gd name="T60" fmla="*/ 37 w 250"/>
                    <a:gd name="T61" fmla="*/ 11 h 211"/>
                    <a:gd name="T62" fmla="*/ 20 w 250"/>
                    <a:gd name="T63" fmla="*/ 0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0" h="211">
                      <a:moveTo>
                        <a:pt x="99" y="110"/>
                      </a:moveTo>
                      <a:lnTo>
                        <a:pt x="99" y="110"/>
                      </a:lnTo>
                      <a:cubicBezTo>
                        <a:pt x="99" y="110"/>
                        <a:pt x="99" y="110"/>
                        <a:pt x="100" y="110"/>
                      </a:cubicBezTo>
                      <a:lnTo>
                        <a:pt x="100" y="110"/>
                      </a:lnTo>
                      <a:cubicBezTo>
                        <a:pt x="99" y="110"/>
                        <a:pt x="99" y="109"/>
                        <a:pt x="99" y="109"/>
                      </a:cubicBezTo>
                      <a:lnTo>
                        <a:pt x="99" y="109"/>
                      </a:lnTo>
                      <a:lnTo>
                        <a:pt x="99" y="110"/>
                      </a:lnTo>
                      <a:close/>
                      <a:moveTo>
                        <a:pt x="66" y="71"/>
                      </a:moveTo>
                      <a:lnTo>
                        <a:pt x="66" y="71"/>
                      </a:lnTo>
                      <a:cubicBezTo>
                        <a:pt x="66" y="72"/>
                        <a:pt x="68" y="73"/>
                        <a:pt x="68" y="74"/>
                      </a:cubicBezTo>
                      <a:lnTo>
                        <a:pt x="68" y="74"/>
                      </a:lnTo>
                      <a:cubicBezTo>
                        <a:pt x="68" y="73"/>
                        <a:pt x="66" y="72"/>
                        <a:pt x="66" y="71"/>
                      </a:cubicBezTo>
                      <a:close/>
                      <a:moveTo>
                        <a:pt x="13" y="2"/>
                      </a:moveTo>
                      <a:lnTo>
                        <a:pt x="13" y="2"/>
                      </a:lnTo>
                      <a:cubicBezTo>
                        <a:pt x="3" y="7"/>
                        <a:pt x="0" y="17"/>
                        <a:pt x="4" y="27"/>
                      </a:cubicBezTo>
                      <a:lnTo>
                        <a:pt x="4" y="27"/>
                      </a:lnTo>
                      <a:cubicBezTo>
                        <a:pt x="7" y="34"/>
                        <a:pt x="9" y="42"/>
                        <a:pt x="13" y="50"/>
                      </a:cubicBezTo>
                      <a:lnTo>
                        <a:pt x="13" y="50"/>
                      </a:lnTo>
                      <a:cubicBezTo>
                        <a:pt x="17" y="58"/>
                        <a:pt x="21" y="67"/>
                        <a:pt x="25" y="74"/>
                      </a:cubicBezTo>
                      <a:lnTo>
                        <a:pt x="25" y="74"/>
                      </a:lnTo>
                      <a:cubicBezTo>
                        <a:pt x="33" y="89"/>
                        <a:pt x="42" y="103"/>
                        <a:pt x="54" y="116"/>
                      </a:cubicBezTo>
                      <a:lnTo>
                        <a:pt x="54" y="116"/>
                      </a:lnTo>
                      <a:cubicBezTo>
                        <a:pt x="64" y="129"/>
                        <a:pt x="77" y="139"/>
                        <a:pt x="89" y="150"/>
                      </a:cubicBezTo>
                      <a:lnTo>
                        <a:pt x="89" y="150"/>
                      </a:lnTo>
                      <a:cubicBezTo>
                        <a:pt x="102" y="160"/>
                        <a:pt x="116" y="169"/>
                        <a:pt x="130" y="176"/>
                      </a:cubicBezTo>
                      <a:lnTo>
                        <a:pt x="130" y="176"/>
                      </a:lnTo>
                      <a:cubicBezTo>
                        <a:pt x="161" y="191"/>
                        <a:pt x="195" y="203"/>
                        <a:pt x="229" y="210"/>
                      </a:cubicBezTo>
                      <a:lnTo>
                        <a:pt x="229" y="210"/>
                      </a:lnTo>
                      <a:cubicBezTo>
                        <a:pt x="233" y="210"/>
                        <a:pt x="239" y="208"/>
                        <a:pt x="242" y="205"/>
                      </a:cubicBezTo>
                      <a:lnTo>
                        <a:pt x="242" y="205"/>
                      </a:lnTo>
                      <a:cubicBezTo>
                        <a:pt x="246" y="202"/>
                        <a:pt x="248" y="197"/>
                        <a:pt x="249" y="193"/>
                      </a:cubicBezTo>
                      <a:lnTo>
                        <a:pt x="249" y="193"/>
                      </a:lnTo>
                      <a:cubicBezTo>
                        <a:pt x="249" y="187"/>
                        <a:pt x="247" y="183"/>
                        <a:pt x="244" y="179"/>
                      </a:cubicBezTo>
                      <a:lnTo>
                        <a:pt x="244" y="179"/>
                      </a:lnTo>
                      <a:cubicBezTo>
                        <a:pt x="241" y="174"/>
                        <a:pt x="237" y="173"/>
                        <a:pt x="231" y="173"/>
                      </a:cubicBezTo>
                      <a:lnTo>
                        <a:pt x="231" y="173"/>
                      </a:lnTo>
                      <a:cubicBezTo>
                        <a:pt x="230" y="172"/>
                        <a:pt x="229" y="172"/>
                        <a:pt x="228" y="172"/>
                      </a:cubicBezTo>
                      <a:lnTo>
                        <a:pt x="228" y="172"/>
                      </a:lnTo>
                      <a:lnTo>
                        <a:pt x="228" y="172"/>
                      </a:lnTo>
                      <a:lnTo>
                        <a:pt x="228" y="172"/>
                      </a:lnTo>
                      <a:cubicBezTo>
                        <a:pt x="199" y="165"/>
                        <a:pt x="171" y="154"/>
                        <a:pt x="145" y="142"/>
                      </a:cubicBezTo>
                      <a:lnTo>
                        <a:pt x="145" y="142"/>
                      </a:lnTo>
                      <a:cubicBezTo>
                        <a:pt x="136" y="137"/>
                        <a:pt x="128" y="132"/>
                        <a:pt x="120" y="126"/>
                      </a:cubicBezTo>
                      <a:lnTo>
                        <a:pt x="120" y="126"/>
                      </a:lnTo>
                      <a:cubicBezTo>
                        <a:pt x="113" y="122"/>
                        <a:pt x="106" y="116"/>
                        <a:pt x="100" y="110"/>
                      </a:cubicBezTo>
                      <a:lnTo>
                        <a:pt x="100" y="110"/>
                      </a:lnTo>
                      <a:lnTo>
                        <a:pt x="100" y="110"/>
                      </a:lnTo>
                      <a:lnTo>
                        <a:pt x="100" y="110"/>
                      </a:lnTo>
                      <a:cubicBezTo>
                        <a:pt x="100" y="110"/>
                        <a:pt x="100" y="110"/>
                        <a:pt x="99" y="110"/>
                      </a:cubicBezTo>
                      <a:lnTo>
                        <a:pt x="99" y="110"/>
                      </a:lnTo>
                      <a:cubicBezTo>
                        <a:pt x="99" y="109"/>
                        <a:pt x="98" y="108"/>
                        <a:pt x="96" y="108"/>
                      </a:cubicBezTo>
                      <a:lnTo>
                        <a:pt x="96" y="108"/>
                      </a:lnTo>
                      <a:cubicBezTo>
                        <a:pt x="97" y="108"/>
                        <a:pt x="98" y="109"/>
                        <a:pt x="99" y="109"/>
                      </a:cubicBezTo>
                      <a:lnTo>
                        <a:pt x="99" y="109"/>
                      </a:lnTo>
                      <a:cubicBezTo>
                        <a:pt x="93" y="103"/>
                        <a:pt x="87" y="98"/>
                        <a:pt x="82" y="92"/>
                      </a:cubicBezTo>
                      <a:lnTo>
                        <a:pt x="82" y="92"/>
                      </a:lnTo>
                      <a:cubicBezTo>
                        <a:pt x="77" y="87"/>
                        <a:pt x="72" y="81"/>
                        <a:pt x="69" y="75"/>
                      </a:cubicBezTo>
                      <a:lnTo>
                        <a:pt x="69" y="75"/>
                      </a:lnTo>
                      <a:cubicBezTo>
                        <a:pt x="63" y="66"/>
                        <a:pt x="58" y="56"/>
                        <a:pt x="52" y="46"/>
                      </a:cubicBezTo>
                      <a:lnTo>
                        <a:pt x="52" y="46"/>
                      </a:lnTo>
                      <a:cubicBezTo>
                        <a:pt x="47" y="34"/>
                        <a:pt x="42" y="22"/>
                        <a:pt x="37" y="11"/>
                      </a:cubicBezTo>
                      <a:lnTo>
                        <a:pt x="37" y="11"/>
                      </a:lnTo>
                      <a:cubicBezTo>
                        <a:pt x="34" y="4"/>
                        <a:pt x="27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5" y="1"/>
                        <a:pt x="13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84">
                  <a:extLst>
                    <a:ext uri="{FF2B5EF4-FFF2-40B4-BE49-F238E27FC236}">
                      <a16:creationId xmlns:a16="http://schemas.microsoft.com/office/drawing/2014/main" id="{9223F4EF-DD27-3F40-B5F9-1C5912D987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9100" y="4600575"/>
                  <a:ext cx="192088" cy="136525"/>
                </a:xfrm>
                <a:custGeom>
                  <a:avLst/>
                  <a:gdLst>
                    <a:gd name="T0" fmla="*/ 504 w 534"/>
                    <a:gd name="T1" fmla="*/ 2 h 380"/>
                    <a:gd name="T2" fmla="*/ 504 w 534"/>
                    <a:gd name="T3" fmla="*/ 2 h 380"/>
                    <a:gd name="T4" fmla="*/ 389 w 534"/>
                    <a:gd name="T5" fmla="*/ 57 h 380"/>
                    <a:gd name="T6" fmla="*/ 389 w 534"/>
                    <a:gd name="T7" fmla="*/ 57 h 380"/>
                    <a:gd name="T8" fmla="*/ 358 w 534"/>
                    <a:gd name="T9" fmla="*/ 73 h 380"/>
                    <a:gd name="T10" fmla="*/ 358 w 534"/>
                    <a:gd name="T11" fmla="*/ 73 h 380"/>
                    <a:gd name="T12" fmla="*/ 339 w 534"/>
                    <a:gd name="T13" fmla="*/ 85 h 380"/>
                    <a:gd name="T14" fmla="*/ 339 w 534"/>
                    <a:gd name="T15" fmla="*/ 85 h 380"/>
                    <a:gd name="T16" fmla="*/ 303 w 534"/>
                    <a:gd name="T17" fmla="*/ 107 h 380"/>
                    <a:gd name="T18" fmla="*/ 303 w 534"/>
                    <a:gd name="T19" fmla="*/ 107 h 380"/>
                    <a:gd name="T20" fmla="*/ 286 w 534"/>
                    <a:gd name="T21" fmla="*/ 117 h 380"/>
                    <a:gd name="T22" fmla="*/ 286 w 534"/>
                    <a:gd name="T23" fmla="*/ 117 h 380"/>
                    <a:gd name="T24" fmla="*/ 226 w 534"/>
                    <a:gd name="T25" fmla="*/ 160 h 380"/>
                    <a:gd name="T26" fmla="*/ 226 w 534"/>
                    <a:gd name="T27" fmla="*/ 160 h 380"/>
                    <a:gd name="T28" fmla="*/ 185 w 534"/>
                    <a:gd name="T29" fmla="*/ 192 h 380"/>
                    <a:gd name="T30" fmla="*/ 185 w 534"/>
                    <a:gd name="T31" fmla="*/ 192 h 380"/>
                    <a:gd name="T32" fmla="*/ 152 w 534"/>
                    <a:gd name="T33" fmla="*/ 218 h 380"/>
                    <a:gd name="T34" fmla="*/ 152 w 534"/>
                    <a:gd name="T35" fmla="*/ 218 h 380"/>
                    <a:gd name="T36" fmla="*/ 137 w 534"/>
                    <a:gd name="T37" fmla="*/ 230 h 380"/>
                    <a:gd name="T38" fmla="*/ 88 w 534"/>
                    <a:gd name="T39" fmla="*/ 272 h 380"/>
                    <a:gd name="T40" fmla="*/ 88 w 534"/>
                    <a:gd name="T41" fmla="*/ 272 h 380"/>
                    <a:gd name="T42" fmla="*/ 49 w 534"/>
                    <a:gd name="T43" fmla="*/ 306 h 380"/>
                    <a:gd name="T44" fmla="*/ 49 w 534"/>
                    <a:gd name="T45" fmla="*/ 306 h 380"/>
                    <a:gd name="T46" fmla="*/ 8 w 534"/>
                    <a:gd name="T47" fmla="*/ 344 h 380"/>
                    <a:gd name="T48" fmla="*/ 8 w 534"/>
                    <a:gd name="T49" fmla="*/ 344 h 380"/>
                    <a:gd name="T50" fmla="*/ 6 w 534"/>
                    <a:gd name="T51" fmla="*/ 370 h 380"/>
                    <a:gd name="T52" fmla="*/ 6 w 534"/>
                    <a:gd name="T53" fmla="*/ 370 h 380"/>
                    <a:gd name="T54" fmla="*/ 33 w 534"/>
                    <a:gd name="T55" fmla="*/ 372 h 380"/>
                    <a:gd name="T56" fmla="*/ 33 w 534"/>
                    <a:gd name="T57" fmla="*/ 372 h 380"/>
                    <a:gd name="T58" fmla="*/ 75 w 534"/>
                    <a:gd name="T59" fmla="*/ 333 h 380"/>
                    <a:gd name="T60" fmla="*/ 75 w 534"/>
                    <a:gd name="T61" fmla="*/ 333 h 380"/>
                    <a:gd name="T62" fmla="*/ 118 w 534"/>
                    <a:gd name="T63" fmla="*/ 295 h 380"/>
                    <a:gd name="T64" fmla="*/ 118 w 534"/>
                    <a:gd name="T65" fmla="*/ 295 h 380"/>
                    <a:gd name="T66" fmla="*/ 172 w 534"/>
                    <a:gd name="T67" fmla="*/ 249 h 380"/>
                    <a:gd name="T68" fmla="*/ 172 w 534"/>
                    <a:gd name="T69" fmla="*/ 249 h 380"/>
                    <a:gd name="T70" fmla="*/ 246 w 534"/>
                    <a:gd name="T71" fmla="*/ 191 h 380"/>
                    <a:gd name="T72" fmla="*/ 246 w 534"/>
                    <a:gd name="T73" fmla="*/ 191 h 380"/>
                    <a:gd name="T74" fmla="*/ 255 w 534"/>
                    <a:gd name="T75" fmla="*/ 185 h 380"/>
                    <a:gd name="T76" fmla="*/ 255 w 534"/>
                    <a:gd name="T77" fmla="*/ 185 h 380"/>
                    <a:gd name="T78" fmla="*/ 279 w 534"/>
                    <a:gd name="T79" fmla="*/ 168 h 380"/>
                    <a:gd name="T80" fmla="*/ 279 w 534"/>
                    <a:gd name="T81" fmla="*/ 168 h 380"/>
                    <a:gd name="T82" fmla="*/ 310 w 534"/>
                    <a:gd name="T83" fmla="*/ 145 h 380"/>
                    <a:gd name="T84" fmla="*/ 310 w 534"/>
                    <a:gd name="T85" fmla="*/ 145 h 380"/>
                    <a:gd name="T86" fmla="*/ 362 w 534"/>
                    <a:gd name="T87" fmla="*/ 114 h 380"/>
                    <a:gd name="T88" fmla="*/ 362 w 534"/>
                    <a:gd name="T89" fmla="*/ 114 h 380"/>
                    <a:gd name="T90" fmla="*/ 411 w 534"/>
                    <a:gd name="T91" fmla="*/ 87 h 380"/>
                    <a:gd name="T92" fmla="*/ 411 w 534"/>
                    <a:gd name="T93" fmla="*/ 87 h 380"/>
                    <a:gd name="T94" fmla="*/ 520 w 534"/>
                    <a:gd name="T95" fmla="*/ 35 h 380"/>
                    <a:gd name="T96" fmla="*/ 520 w 534"/>
                    <a:gd name="T97" fmla="*/ 35 h 380"/>
                    <a:gd name="T98" fmla="*/ 529 w 534"/>
                    <a:gd name="T99" fmla="*/ 10 h 380"/>
                    <a:gd name="T100" fmla="*/ 529 w 534"/>
                    <a:gd name="T101" fmla="*/ 10 h 380"/>
                    <a:gd name="T102" fmla="*/ 512 w 534"/>
                    <a:gd name="T103" fmla="*/ 0 h 380"/>
                    <a:gd name="T104" fmla="*/ 512 w 534"/>
                    <a:gd name="T105" fmla="*/ 0 h 380"/>
                    <a:gd name="T106" fmla="*/ 504 w 534"/>
                    <a:gd name="T107" fmla="*/ 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34" h="380">
                      <a:moveTo>
                        <a:pt x="504" y="2"/>
                      </a:moveTo>
                      <a:lnTo>
                        <a:pt x="504" y="2"/>
                      </a:lnTo>
                      <a:cubicBezTo>
                        <a:pt x="465" y="19"/>
                        <a:pt x="427" y="37"/>
                        <a:pt x="389" y="57"/>
                      </a:cubicBezTo>
                      <a:lnTo>
                        <a:pt x="389" y="57"/>
                      </a:lnTo>
                      <a:cubicBezTo>
                        <a:pt x="379" y="63"/>
                        <a:pt x="369" y="68"/>
                        <a:pt x="358" y="73"/>
                      </a:cubicBezTo>
                      <a:lnTo>
                        <a:pt x="358" y="73"/>
                      </a:lnTo>
                      <a:cubicBezTo>
                        <a:pt x="351" y="77"/>
                        <a:pt x="345" y="81"/>
                        <a:pt x="339" y="85"/>
                      </a:cubicBezTo>
                      <a:lnTo>
                        <a:pt x="339" y="85"/>
                      </a:lnTo>
                      <a:cubicBezTo>
                        <a:pt x="327" y="93"/>
                        <a:pt x="315" y="100"/>
                        <a:pt x="303" y="107"/>
                      </a:cubicBezTo>
                      <a:lnTo>
                        <a:pt x="303" y="107"/>
                      </a:lnTo>
                      <a:cubicBezTo>
                        <a:pt x="298" y="110"/>
                        <a:pt x="291" y="114"/>
                        <a:pt x="286" y="117"/>
                      </a:cubicBezTo>
                      <a:lnTo>
                        <a:pt x="286" y="117"/>
                      </a:lnTo>
                      <a:cubicBezTo>
                        <a:pt x="266" y="132"/>
                        <a:pt x="246" y="146"/>
                        <a:pt x="226" y="160"/>
                      </a:cubicBezTo>
                      <a:lnTo>
                        <a:pt x="226" y="160"/>
                      </a:lnTo>
                      <a:cubicBezTo>
                        <a:pt x="212" y="170"/>
                        <a:pt x="198" y="181"/>
                        <a:pt x="185" y="192"/>
                      </a:cubicBezTo>
                      <a:lnTo>
                        <a:pt x="185" y="192"/>
                      </a:lnTo>
                      <a:cubicBezTo>
                        <a:pt x="174" y="201"/>
                        <a:pt x="163" y="209"/>
                        <a:pt x="152" y="218"/>
                      </a:cubicBezTo>
                      <a:lnTo>
                        <a:pt x="152" y="218"/>
                      </a:lnTo>
                      <a:cubicBezTo>
                        <a:pt x="147" y="222"/>
                        <a:pt x="142" y="226"/>
                        <a:pt x="137" y="230"/>
                      </a:cubicBezTo>
                      <a:lnTo>
                        <a:pt x="88" y="272"/>
                      </a:lnTo>
                      <a:lnTo>
                        <a:pt x="88" y="272"/>
                      </a:lnTo>
                      <a:cubicBezTo>
                        <a:pt x="75" y="283"/>
                        <a:pt x="63" y="295"/>
                        <a:pt x="49" y="306"/>
                      </a:cubicBezTo>
                      <a:lnTo>
                        <a:pt x="49" y="306"/>
                      </a:lnTo>
                      <a:cubicBezTo>
                        <a:pt x="36" y="318"/>
                        <a:pt x="22" y="331"/>
                        <a:pt x="8" y="344"/>
                      </a:cubicBezTo>
                      <a:lnTo>
                        <a:pt x="8" y="344"/>
                      </a:lnTo>
                      <a:cubicBezTo>
                        <a:pt x="1" y="351"/>
                        <a:pt x="0" y="362"/>
                        <a:pt x="6" y="370"/>
                      </a:cubicBezTo>
                      <a:lnTo>
                        <a:pt x="6" y="370"/>
                      </a:lnTo>
                      <a:cubicBezTo>
                        <a:pt x="13" y="377"/>
                        <a:pt x="26" y="379"/>
                        <a:pt x="33" y="372"/>
                      </a:cubicBezTo>
                      <a:lnTo>
                        <a:pt x="33" y="372"/>
                      </a:lnTo>
                      <a:cubicBezTo>
                        <a:pt x="47" y="359"/>
                        <a:pt x="61" y="345"/>
                        <a:pt x="75" y="333"/>
                      </a:cubicBezTo>
                      <a:lnTo>
                        <a:pt x="75" y="333"/>
                      </a:lnTo>
                      <a:cubicBezTo>
                        <a:pt x="89" y="320"/>
                        <a:pt x="104" y="307"/>
                        <a:pt x="118" y="295"/>
                      </a:cubicBezTo>
                      <a:lnTo>
                        <a:pt x="118" y="295"/>
                      </a:lnTo>
                      <a:cubicBezTo>
                        <a:pt x="136" y="280"/>
                        <a:pt x="154" y="264"/>
                        <a:pt x="172" y="249"/>
                      </a:cubicBezTo>
                      <a:lnTo>
                        <a:pt x="172" y="249"/>
                      </a:lnTo>
                      <a:cubicBezTo>
                        <a:pt x="196" y="230"/>
                        <a:pt x="221" y="211"/>
                        <a:pt x="246" y="191"/>
                      </a:cubicBezTo>
                      <a:lnTo>
                        <a:pt x="246" y="191"/>
                      </a:lnTo>
                      <a:cubicBezTo>
                        <a:pt x="249" y="189"/>
                        <a:pt x="252" y="186"/>
                        <a:pt x="255" y="185"/>
                      </a:cubicBezTo>
                      <a:lnTo>
                        <a:pt x="255" y="185"/>
                      </a:lnTo>
                      <a:cubicBezTo>
                        <a:pt x="263" y="179"/>
                        <a:pt x="271" y="173"/>
                        <a:pt x="279" y="168"/>
                      </a:cubicBezTo>
                      <a:lnTo>
                        <a:pt x="279" y="168"/>
                      </a:lnTo>
                      <a:cubicBezTo>
                        <a:pt x="290" y="160"/>
                        <a:pt x="300" y="153"/>
                        <a:pt x="310" y="145"/>
                      </a:cubicBezTo>
                      <a:lnTo>
                        <a:pt x="310" y="145"/>
                      </a:lnTo>
                      <a:cubicBezTo>
                        <a:pt x="328" y="135"/>
                        <a:pt x="345" y="124"/>
                        <a:pt x="362" y="114"/>
                      </a:cubicBezTo>
                      <a:lnTo>
                        <a:pt x="362" y="114"/>
                      </a:lnTo>
                      <a:cubicBezTo>
                        <a:pt x="379" y="104"/>
                        <a:pt x="395" y="96"/>
                        <a:pt x="411" y="87"/>
                      </a:cubicBezTo>
                      <a:lnTo>
                        <a:pt x="411" y="87"/>
                      </a:lnTo>
                      <a:cubicBezTo>
                        <a:pt x="447" y="68"/>
                        <a:pt x="483" y="52"/>
                        <a:pt x="520" y="35"/>
                      </a:cubicBezTo>
                      <a:lnTo>
                        <a:pt x="520" y="35"/>
                      </a:lnTo>
                      <a:cubicBezTo>
                        <a:pt x="530" y="31"/>
                        <a:pt x="533" y="19"/>
                        <a:pt x="529" y="10"/>
                      </a:cubicBezTo>
                      <a:lnTo>
                        <a:pt x="529" y="10"/>
                      </a:lnTo>
                      <a:cubicBezTo>
                        <a:pt x="526" y="3"/>
                        <a:pt x="519" y="0"/>
                        <a:pt x="512" y="0"/>
                      </a:cubicBezTo>
                      <a:lnTo>
                        <a:pt x="512" y="0"/>
                      </a:lnTo>
                      <a:cubicBezTo>
                        <a:pt x="510" y="0"/>
                        <a:pt x="506" y="0"/>
                        <a:pt x="504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85">
                  <a:extLst>
                    <a:ext uri="{FF2B5EF4-FFF2-40B4-BE49-F238E27FC236}">
                      <a16:creationId xmlns:a16="http://schemas.microsoft.com/office/drawing/2014/main" id="{AC12291E-CA44-8C46-BBE0-82E3116D17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10213" y="4678363"/>
                  <a:ext cx="106362" cy="76200"/>
                </a:xfrm>
                <a:custGeom>
                  <a:avLst/>
                  <a:gdLst>
                    <a:gd name="T0" fmla="*/ 266 w 297"/>
                    <a:gd name="T1" fmla="*/ 2 h 212"/>
                    <a:gd name="T2" fmla="*/ 266 w 297"/>
                    <a:gd name="T3" fmla="*/ 2 h 212"/>
                    <a:gd name="T4" fmla="*/ 208 w 297"/>
                    <a:gd name="T5" fmla="*/ 37 h 212"/>
                    <a:gd name="T6" fmla="*/ 208 w 297"/>
                    <a:gd name="T7" fmla="*/ 37 h 212"/>
                    <a:gd name="T8" fmla="*/ 147 w 297"/>
                    <a:gd name="T9" fmla="*/ 75 h 212"/>
                    <a:gd name="T10" fmla="*/ 147 w 297"/>
                    <a:gd name="T11" fmla="*/ 75 h 212"/>
                    <a:gd name="T12" fmla="*/ 108 w 297"/>
                    <a:gd name="T13" fmla="*/ 100 h 212"/>
                    <a:gd name="T14" fmla="*/ 108 w 297"/>
                    <a:gd name="T15" fmla="*/ 100 h 212"/>
                    <a:gd name="T16" fmla="*/ 89 w 297"/>
                    <a:gd name="T17" fmla="*/ 113 h 212"/>
                    <a:gd name="T18" fmla="*/ 89 w 297"/>
                    <a:gd name="T19" fmla="*/ 113 h 212"/>
                    <a:gd name="T20" fmla="*/ 9 w 297"/>
                    <a:gd name="T21" fmla="*/ 177 h 212"/>
                    <a:gd name="T22" fmla="*/ 9 w 297"/>
                    <a:gd name="T23" fmla="*/ 177 h 212"/>
                    <a:gd name="T24" fmla="*/ 7 w 297"/>
                    <a:gd name="T25" fmla="*/ 203 h 212"/>
                    <a:gd name="T26" fmla="*/ 7 w 297"/>
                    <a:gd name="T27" fmla="*/ 203 h 212"/>
                    <a:gd name="T28" fmla="*/ 33 w 297"/>
                    <a:gd name="T29" fmla="*/ 205 h 212"/>
                    <a:gd name="T30" fmla="*/ 33 w 297"/>
                    <a:gd name="T31" fmla="*/ 205 h 212"/>
                    <a:gd name="T32" fmla="*/ 122 w 297"/>
                    <a:gd name="T33" fmla="*/ 136 h 212"/>
                    <a:gd name="T34" fmla="*/ 122 w 297"/>
                    <a:gd name="T35" fmla="*/ 136 h 212"/>
                    <a:gd name="T36" fmla="*/ 147 w 297"/>
                    <a:gd name="T37" fmla="*/ 119 h 212"/>
                    <a:gd name="T38" fmla="*/ 147 w 297"/>
                    <a:gd name="T39" fmla="*/ 119 h 212"/>
                    <a:gd name="T40" fmla="*/ 182 w 297"/>
                    <a:gd name="T41" fmla="*/ 95 h 212"/>
                    <a:gd name="T42" fmla="*/ 182 w 297"/>
                    <a:gd name="T43" fmla="*/ 95 h 212"/>
                    <a:gd name="T44" fmla="*/ 282 w 297"/>
                    <a:gd name="T45" fmla="*/ 36 h 212"/>
                    <a:gd name="T46" fmla="*/ 282 w 297"/>
                    <a:gd name="T47" fmla="*/ 36 h 212"/>
                    <a:gd name="T48" fmla="*/ 291 w 297"/>
                    <a:gd name="T49" fmla="*/ 11 h 212"/>
                    <a:gd name="T50" fmla="*/ 291 w 297"/>
                    <a:gd name="T51" fmla="*/ 11 h 212"/>
                    <a:gd name="T52" fmla="*/ 274 w 297"/>
                    <a:gd name="T53" fmla="*/ 0 h 212"/>
                    <a:gd name="T54" fmla="*/ 274 w 297"/>
                    <a:gd name="T55" fmla="*/ 0 h 212"/>
                    <a:gd name="T56" fmla="*/ 266 w 297"/>
                    <a:gd name="T57" fmla="*/ 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97" h="212">
                      <a:moveTo>
                        <a:pt x="266" y="2"/>
                      </a:moveTo>
                      <a:lnTo>
                        <a:pt x="266" y="2"/>
                      </a:lnTo>
                      <a:cubicBezTo>
                        <a:pt x="246" y="13"/>
                        <a:pt x="227" y="25"/>
                        <a:pt x="208" y="37"/>
                      </a:cubicBezTo>
                      <a:lnTo>
                        <a:pt x="208" y="37"/>
                      </a:lnTo>
                      <a:cubicBezTo>
                        <a:pt x="187" y="49"/>
                        <a:pt x="166" y="61"/>
                        <a:pt x="147" y="75"/>
                      </a:cubicBezTo>
                      <a:lnTo>
                        <a:pt x="147" y="75"/>
                      </a:lnTo>
                      <a:cubicBezTo>
                        <a:pt x="134" y="83"/>
                        <a:pt x="121" y="91"/>
                        <a:pt x="108" y="100"/>
                      </a:cubicBezTo>
                      <a:lnTo>
                        <a:pt x="108" y="100"/>
                      </a:lnTo>
                      <a:cubicBezTo>
                        <a:pt x="102" y="104"/>
                        <a:pt x="96" y="109"/>
                        <a:pt x="89" y="113"/>
                      </a:cubicBezTo>
                      <a:lnTo>
                        <a:pt x="89" y="113"/>
                      </a:lnTo>
                      <a:cubicBezTo>
                        <a:pt x="62" y="134"/>
                        <a:pt x="35" y="155"/>
                        <a:pt x="9" y="177"/>
                      </a:cubicBezTo>
                      <a:lnTo>
                        <a:pt x="9" y="177"/>
                      </a:lnTo>
                      <a:cubicBezTo>
                        <a:pt x="1" y="183"/>
                        <a:pt x="0" y="195"/>
                        <a:pt x="7" y="203"/>
                      </a:cubicBezTo>
                      <a:lnTo>
                        <a:pt x="7" y="203"/>
                      </a:lnTo>
                      <a:cubicBezTo>
                        <a:pt x="13" y="211"/>
                        <a:pt x="25" y="211"/>
                        <a:pt x="33" y="205"/>
                      </a:cubicBezTo>
                      <a:lnTo>
                        <a:pt x="33" y="205"/>
                      </a:lnTo>
                      <a:cubicBezTo>
                        <a:pt x="62" y="182"/>
                        <a:pt x="92" y="159"/>
                        <a:pt x="122" y="136"/>
                      </a:cubicBezTo>
                      <a:lnTo>
                        <a:pt x="122" y="136"/>
                      </a:lnTo>
                      <a:cubicBezTo>
                        <a:pt x="130" y="129"/>
                        <a:pt x="139" y="124"/>
                        <a:pt x="147" y="119"/>
                      </a:cubicBezTo>
                      <a:lnTo>
                        <a:pt x="147" y="119"/>
                      </a:lnTo>
                      <a:cubicBezTo>
                        <a:pt x="159" y="111"/>
                        <a:pt x="170" y="103"/>
                        <a:pt x="182" y="95"/>
                      </a:cubicBezTo>
                      <a:lnTo>
                        <a:pt x="182" y="95"/>
                      </a:lnTo>
                      <a:cubicBezTo>
                        <a:pt x="215" y="75"/>
                        <a:pt x="249" y="55"/>
                        <a:pt x="282" y="36"/>
                      </a:cubicBezTo>
                      <a:lnTo>
                        <a:pt x="282" y="36"/>
                      </a:lnTo>
                      <a:cubicBezTo>
                        <a:pt x="291" y="31"/>
                        <a:pt x="296" y="21"/>
                        <a:pt x="291" y="11"/>
                      </a:cubicBezTo>
                      <a:lnTo>
                        <a:pt x="291" y="11"/>
                      </a:lnTo>
                      <a:cubicBezTo>
                        <a:pt x="288" y="5"/>
                        <a:pt x="281" y="0"/>
                        <a:pt x="274" y="0"/>
                      </a:cubicBezTo>
                      <a:lnTo>
                        <a:pt x="274" y="0"/>
                      </a:lnTo>
                      <a:cubicBezTo>
                        <a:pt x="271" y="0"/>
                        <a:pt x="269" y="1"/>
                        <a:pt x="266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 86">
                  <a:extLst>
                    <a:ext uri="{FF2B5EF4-FFF2-40B4-BE49-F238E27FC236}">
                      <a16:creationId xmlns:a16="http://schemas.microsoft.com/office/drawing/2014/main" id="{26138EBB-3315-6A42-B8F5-3506DB8EF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16513" y="4438650"/>
                  <a:ext cx="552450" cy="190500"/>
                </a:xfrm>
                <a:custGeom>
                  <a:avLst/>
                  <a:gdLst>
                    <a:gd name="T0" fmla="*/ 666 w 1535"/>
                    <a:gd name="T1" fmla="*/ 247 h 529"/>
                    <a:gd name="T2" fmla="*/ 663 w 1535"/>
                    <a:gd name="T3" fmla="*/ 248 h 529"/>
                    <a:gd name="T4" fmla="*/ 1511 w 1535"/>
                    <a:gd name="T5" fmla="*/ 0 h 529"/>
                    <a:gd name="T6" fmla="*/ 1388 w 1535"/>
                    <a:gd name="T7" fmla="*/ 17 h 529"/>
                    <a:gd name="T8" fmla="*/ 1328 w 1535"/>
                    <a:gd name="T9" fmla="*/ 27 h 529"/>
                    <a:gd name="T10" fmla="*/ 1275 w 1535"/>
                    <a:gd name="T11" fmla="*/ 38 h 529"/>
                    <a:gd name="T12" fmla="*/ 1206 w 1535"/>
                    <a:gd name="T13" fmla="*/ 53 h 529"/>
                    <a:gd name="T14" fmla="*/ 1145 w 1535"/>
                    <a:gd name="T15" fmla="*/ 68 h 529"/>
                    <a:gd name="T16" fmla="*/ 1020 w 1535"/>
                    <a:gd name="T17" fmla="*/ 100 h 529"/>
                    <a:gd name="T18" fmla="*/ 905 w 1535"/>
                    <a:gd name="T19" fmla="*/ 134 h 529"/>
                    <a:gd name="T20" fmla="*/ 857 w 1535"/>
                    <a:gd name="T21" fmla="*/ 148 h 529"/>
                    <a:gd name="T22" fmla="*/ 788 w 1535"/>
                    <a:gd name="T23" fmla="*/ 169 h 529"/>
                    <a:gd name="T24" fmla="*/ 677 w 1535"/>
                    <a:gd name="T25" fmla="*/ 205 h 529"/>
                    <a:gd name="T26" fmla="*/ 556 w 1535"/>
                    <a:gd name="T27" fmla="*/ 247 h 529"/>
                    <a:gd name="T28" fmla="*/ 449 w 1535"/>
                    <a:gd name="T29" fmla="*/ 286 h 529"/>
                    <a:gd name="T30" fmla="*/ 338 w 1535"/>
                    <a:gd name="T31" fmla="*/ 327 h 529"/>
                    <a:gd name="T32" fmla="*/ 227 w 1535"/>
                    <a:gd name="T33" fmla="*/ 373 h 529"/>
                    <a:gd name="T34" fmla="*/ 167 w 1535"/>
                    <a:gd name="T35" fmla="*/ 398 h 529"/>
                    <a:gd name="T36" fmla="*/ 112 w 1535"/>
                    <a:gd name="T37" fmla="*/ 424 h 529"/>
                    <a:gd name="T38" fmla="*/ 61 w 1535"/>
                    <a:gd name="T39" fmla="*/ 453 h 529"/>
                    <a:gd name="T40" fmla="*/ 9 w 1535"/>
                    <a:gd name="T41" fmla="*/ 493 h 529"/>
                    <a:gd name="T42" fmla="*/ 7 w 1535"/>
                    <a:gd name="T43" fmla="*/ 519 h 529"/>
                    <a:gd name="T44" fmla="*/ 33 w 1535"/>
                    <a:gd name="T45" fmla="*/ 522 h 529"/>
                    <a:gd name="T46" fmla="*/ 62 w 1535"/>
                    <a:gd name="T47" fmla="*/ 499 h 529"/>
                    <a:gd name="T48" fmla="*/ 86 w 1535"/>
                    <a:gd name="T49" fmla="*/ 481 h 529"/>
                    <a:gd name="T50" fmla="*/ 135 w 1535"/>
                    <a:gd name="T51" fmla="*/ 455 h 529"/>
                    <a:gd name="T52" fmla="*/ 189 w 1535"/>
                    <a:gd name="T53" fmla="*/ 430 h 529"/>
                    <a:gd name="T54" fmla="*/ 300 w 1535"/>
                    <a:gd name="T55" fmla="*/ 382 h 529"/>
                    <a:gd name="T56" fmla="*/ 417 w 1535"/>
                    <a:gd name="T57" fmla="*/ 336 h 529"/>
                    <a:gd name="T58" fmla="*/ 522 w 1535"/>
                    <a:gd name="T59" fmla="*/ 299 h 529"/>
                    <a:gd name="T60" fmla="*/ 598 w 1535"/>
                    <a:gd name="T61" fmla="*/ 271 h 529"/>
                    <a:gd name="T62" fmla="*/ 663 w 1535"/>
                    <a:gd name="T63" fmla="*/ 248 h 529"/>
                    <a:gd name="T64" fmla="*/ 661 w 1535"/>
                    <a:gd name="T65" fmla="*/ 249 h 529"/>
                    <a:gd name="T66" fmla="*/ 770 w 1535"/>
                    <a:gd name="T67" fmla="*/ 214 h 529"/>
                    <a:gd name="T68" fmla="*/ 882 w 1535"/>
                    <a:gd name="T69" fmla="*/ 179 h 529"/>
                    <a:gd name="T70" fmla="*/ 963 w 1535"/>
                    <a:gd name="T71" fmla="*/ 155 h 529"/>
                    <a:gd name="T72" fmla="*/ 1006 w 1535"/>
                    <a:gd name="T73" fmla="*/ 143 h 529"/>
                    <a:gd name="T74" fmla="*/ 1124 w 1535"/>
                    <a:gd name="T75" fmla="*/ 112 h 529"/>
                    <a:gd name="T76" fmla="*/ 1317 w 1535"/>
                    <a:gd name="T77" fmla="*/ 67 h 529"/>
                    <a:gd name="T78" fmla="*/ 1415 w 1535"/>
                    <a:gd name="T79" fmla="*/ 50 h 529"/>
                    <a:gd name="T80" fmla="*/ 1518 w 1535"/>
                    <a:gd name="T81" fmla="*/ 37 h 529"/>
                    <a:gd name="T82" fmla="*/ 1532 w 1535"/>
                    <a:gd name="T83" fmla="*/ 15 h 529"/>
                    <a:gd name="T84" fmla="*/ 1514 w 1535"/>
                    <a:gd name="T85" fmla="*/ 0 h 529"/>
                    <a:gd name="T86" fmla="*/ 1511 w 1535"/>
                    <a:gd name="T87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35" h="529">
                      <a:moveTo>
                        <a:pt x="666" y="247"/>
                      </a:moveTo>
                      <a:lnTo>
                        <a:pt x="666" y="247"/>
                      </a:lnTo>
                      <a:cubicBezTo>
                        <a:pt x="665" y="248"/>
                        <a:pt x="664" y="248"/>
                        <a:pt x="663" y="248"/>
                      </a:cubicBezTo>
                      <a:lnTo>
                        <a:pt x="663" y="248"/>
                      </a:lnTo>
                      <a:cubicBezTo>
                        <a:pt x="664" y="248"/>
                        <a:pt x="665" y="247"/>
                        <a:pt x="666" y="247"/>
                      </a:cubicBezTo>
                      <a:close/>
                      <a:moveTo>
                        <a:pt x="1511" y="0"/>
                      </a:moveTo>
                      <a:lnTo>
                        <a:pt x="1511" y="0"/>
                      </a:lnTo>
                      <a:cubicBezTo>
                        <a:pt x="1469" y="5"/>
                        <a:pt x="1428" y="10"/>
                        <a:pt x="1388" y="17"/>
                      </a:cubicBezTo>
                      <a:lnTo>
                        <a:pt x="1388" y="17"/>
                      </a:lnTo>
                      <a:cubicBezTo>
                        <a:pt x="1368" y="20"/>
                        <a:pt x="1348" y="24"/>
                        <a:pt x="1328" y="27"/>
                      </a:cubicBezTo>
                      <a:lnTo>
                        <a:pt x="1328" y="27"/>
                      </a:lnTo>
                      <a:cubicBezTo>
                        <a:pt x="1310" y="31"/>
                        <a:pt x="1293" y="34"/>
                        <a:pt x="1275" y="38"/>
                      </a:cubicBezTo>
                      <a:lnTo>
                        <a:pt x="1275" y="38"/>
                      </a:lnTo>
                      <a:cubicBezTo>
                        <a:pt x="1252" y="42"/>
                        <a:pt x="1229" y="48"/>
                        <a:pt x="1206" y="53"/>
                      </a:cubicBezTo>
                      <a:lnTo>
                        <a:pt x="1206" y="53"/>
                      </a:lnTo>
                      <a:cubicBezTo>
                        <a:pt x="1186" y="57"/>
                        <a:pt x="1165" y="63"/>
                        <a:pt x="1145" y="68"/>
                      </a:cubicBezTo>
                      <a:lnTo>
                        <a:pt x="1145" y="68"/>
                      </a:lnTo>
                      <a:cubicBezTo>
                        <a:pt x="1103" y="79"/>
                        <a:pt x="1061" y="90"/>
                        <a:pt x="1020" y="100"/>
                      </a:cubicBezTo>
                      <a:lnTo>
                        <a:pt x="1020" y="100"/>
                      </a:lnTo>
                      <a:cubicBezTo>
                        <a:pt x="981" y="111"/>
                        <a:pt x="943" y="123"/>
                        <a:pt x="905" y="134"/>
                      </a:cubicBezTo>
                      <a:lnTo>
                        <a:pt x="905" y="134"/>
                      </a:lnTo>
                      <a:cubicBezTo>
                        <a:pt x="889" y="138"/>
                        <a:pt x="873" y="143"/>
                        <a:pt x="857" y="148"/>
                      </a:cubicBezTo>
                      <a:lnTo>
                        <a:pt x="857" y="148"/>
                      </a:lnTo>
                      <a:cubicBezTo>
                        <a:pt x="834" y="155"/>
                        <a:pt x="811" y="162"/>
                        <a:pt x="788" y="169"/>
                      </a:cubicBezTo>
                      <a:lnTo>
                        <a:pt x="788" y="169"/>
                      </a:lnTo>
                      <a:cubicBezTo>
                        <a:pt x="751" y="181"/>
                        <a:pt x="714" y="193"/>
                        <a:pt x="677" y="205"/>
                      </a:cubicBezTo>
                      <a:lnTo>
                        <a:pt x="677" y="205"/>
                      </a:lnTo>
                      <a:cubicBezTo>
                        <a:pt x="636" y="218"/>
                        <a:pt x="595" y="232"/>
                        <a:pt x="556" y="247"/>
                      </a:cubicBezTo>
                      <a:lnTo>
                        <a:pt x="556" y="247"/>
                      </a:lnTo>
                      <a:cubicBezTo>
                        <a:pt x="520" y="260"/>
                        <a:pt x="485" y="274"/>
                        <a:pt x="449" y="286"/>
                      </a:cubicBezTo>
                      <a:lnTo>
                        <a:pt x="449" y="286"/>
                      </a:lnTo>
                      <a:cubicBezTo>
                        <a:pt x="412" y="299"/>
                        <a:pt x="374" y="311"/>
                        <a:pt x="338" y="327"/>
                      </a:cubicBezTo>
                      <a:lnTo>
                        <a:pt x="338" y="327"/>
                      </a:lnTo>
                      <a:cubicBezTo>
                        <a:pt x="301" y="341"/>
                        <a:pt x="264" y="358"/>
                        <a:pt x="227" y="373"/>
                      </a:cubicBezTo>
                      <a:lnTo>
                        <a:pt x="227" y="373"/>
                      </a:lnTo>
                      <a:cubicBezTo>
                        <a:pt x="207" y="381"/>
                        <a:pt x="187" y="390"/>
                        <a:pt x="167" y="398"/>
                      </a:cubicBezTo>
                      <a:lnTo>
                        <a:pt x="167" y="398"/>
                      </a:lnTo>
                      <a:cubicBezTo>
                        <a:pt x="149" y="406"/>
                        <a:pt x="130" y="415"/>
                        <a:pt x="112" y="424"/>
                      </a:cubicBezTo>
                      <a:lnTo>
                        <a:pt x="112" y="424"/>
                      </a:lnTo>
                      <a:cubicBezTo>
                        <a:pt x="95" y="432"/>
                        <a:pt x="77" y="443"/>
                        <a:pt x="61" y="453"/>
                      </a:cubicBezTo>
                      <a:lnTo>
                        <a:pt x="61" y="453"/>
                      </a:lnTo>
                      <a:cubicBezTo>
                        <a:pt x="43" y="466"/>
                        <a:pt x="26" y="480"/>
                        <a:pt x="9" y="493"/>
                      </a:cubicBezTo>
                      <a:lnTo>
                        <a:pt x="9" y="493"/>
                      </a:lnTo>
                      <a:cubicBezTo>
                        <a:pt x="1" y="500"/>
                        <a:pt x="0" y="512"/>
                        <a:pt x="7" y="519"/>
                      </a:cubicBezTo>
                      <a:lnTo>
                        <a:pt x="7" y="519"/>
                      </a:lnTo>
                      <a:cubicBezTo>
                        <a:pt x="13" y="527"/>
                        <a:pt x="25" y="528"/>
                        <a:pt x="33" y="522"/>
                      </a:cubicBezTo>
                      <a:lnTo>
                        <a:pt x="33" y="522"/>
                      </a:lnTo>
                      <a:cubicBezTo>
                        <a:pt x="42" y="514"/>
                        <a:pt x="52" y="506"/>
                        <a:pt x="62" y="499"/>
                      </a:cubicBezTo>
                      <a:lnTo>
                        <a:pt x="62" y="499"/>
                      </a:lnTo>
                      <a:cubicBezTo>
                        <a:pt x="70" y="492"/>
                        <a:pt x="78" y="487"/>
                        <a:pt x="86" y="481"/>
                      </a:cubicBezTo>
                      <a:lnTo>
                        <a:pt x="86" y="481"/>
                      </a:lnTo>
                      <a:cubicBezTo>
                        <a:pt x="102" y="472"/>
                        <a:pt x="118" y="462"/>
                        <a:pt x="135" y="455"/>
                      </a:cubicBezTo>
                      <a:lnTo>
                        <a:pt x="135" y="455"/>
                      </a:lnTo>
                      <a:cubicBezTo>
                        <a:pt x="152" y="446"/>
                        <a:pt x="170" y="437"/>
                        <a:pt x="189" y="430"/>
                      </a:cubicBezTo>
                      <a:lnTo>
                        <a:pt x="189" y="430"/>
                      </a:lnTo>
                      <a:cubicBezTo>
                        <a:pt x="226" y="414"/>
                        <a:pt x="262" y="398"/>
                        <a:pt x="300" y="382"/>
                      </a:cubicBezTo>
                      <a:lnTo>
                        <a:pt x="300" y="382"/>
                      </a:lnTo>
                      <a:cubicBezTo>
                        <a:pt x="338" y="366"/>
                        <a:pt x="377" y="350"/>
                        <a:pt x="417" y="336"/>
                      </a:cubicBezTo>
                      <a:lnTo>
                        <a:pt x="417" y="336"/>
                      </a:lnTo>
                      <a:cubicBezTo>
                        <a:pt x="452" y="324"/>
                        <a:pt x="487" y="312"/>
                        <a:pt x="522" y="299"/>
                      </a:cubicBezTo>
                      <a:lnTo>
                        <a:pt x="522" y="299"/>
                      </a:lnTo>
                      <a:cubicBezTo>
                        <a:pt x="547" y="290"/>
                        <a:pt x="573" y="280"/>
                        <a:pt x="598" y="271"/>
                      </a:cubicBezTo>
                      <a:lnTo>
                        <a:pt x="598" y="271"/>
                      </a:lnTo>
                      <a:cubicBezTo>
                        <a:pt x="619" y="263"/>
                        <a:pt x="641" y="256"/>
                        <a:pt x="663" y="248"/>
                      </a:cubicBezTo>
                      <a:lnTo>
                        <a:pt x="663" y="248"/>
                      </a:lnTo>
                      <a:cubicBezTo>
                        <a:pt x="662" y="248"/>
                        <a:pt x="662" y="248"/>
                        <a:pt x="661" y="249"/>
                      </a:cubicBezTo>
                      <a:lnTo>
                        <a:pt x="661" y="249"/>
                      </a:lnTo>
                      <a:cubicBezTo>
                        <a:pt x="698" y="237"/>
                        <a:pt x="734" y="225"/>
                        <a:pt x="770" y="214"/>
                      </a:cubicBezTo>
                      <a:lnTo>
                        <a:pt x="770" y="214"/>
                      </a:lnTo>
                      <a:cubicBezTo>
                        <a:pt x="807" y="202"/>
                        <a:pt x="845" y="190"/>
                        <a:pt x="882" y="179"/>
                      </a:cubicBezTo>
                      <a:lnTo>
                        <a:pt x="882" y="179"/>
                      </a:lnTo>
                      <a:cubicBezTo>
                        <a:pt x="909" y="171"/>
                        <a:pt x="936" y="163"/>
                        <a:pt x="963" y="155"/>
                      </a:cubicBezTo>
                      <a:lnTo>
                        <a:pt x="963" y="155"/>
                      </a:lnTo>
                      <a:cubicBezTo>
                        <a:pt x="977" y="151"/>
                        <a:pt x="991" y="147"/>
                        <a:pt x="1006" y="143"/>
                      </a:cubicBezTo>
                      <a:lnTo>
                        <a:pt x="1006" y="143"/>
                      </a:lnTo>
                      <a:cubicBezTo>
                        <a:pt x="1045" y="132"/>
                        <a:pt x="1084" y="122"/>
                        <a:pt x="1124" y="112"/>
                      </a:cubicBezTo>
                      <a:lnTo>
                        <a:pt x="1124" y="112"/>
                      </a:lnTo>
                      <a:cubicBezTo>
                        <a:pt x="1188" y="96"/>
                        <a:pt x="1252" y="79"/>
                        <a:pt x="1317" y="67"/>
                      </a:cubicBezTo>
                      <a:lnTo>
                        <a:pt x="1317" y="67"/>
                      </a:lnTo>
                      <a:cubicBezTo>
                        <a:pt x="1350" y="61"/>
                        <a:pt x="1383" y="55"/>
                        <a:pt x="1415" y="50"/>
                      </a:cubicBezTo>
                      <a:lnTo>
                        <a:pt x="1415" y="50"/>
                      </a:lnTo>
                      <a:cubicBezTo>
                        <a:pt x="1449" y="45"/>
                        <a:pt x="1484" y="41"/>
                        <a:pt x="1518" y="37"/>
                      </a:cubicBezTo>
                      <a:lnTo>
                        <a:pt x="1518" y="37"/>
                      </a:lnTo>
                      <a:cubicBezTo>
                        <a:pt x="1528" y="35"/>
                        <a:pt x="1534" y="24"/>
                        <a:pt x="1532" y="15"/>
                      </a:cubicBezTo>
                      <a:lnTo>
                        <a:pt x="1532" y="15"/>
                      </a:lnTo>
                      <a:cubicBezTo>
                        <a:pt x="1531" y="5"/>
                        <a:pt x="1522" y="0"/>
                        <a:pt x="1514" y="0"/>
                      </a:cubicBezTo>
                      <a:lnTo>
                        <a:pt x="1514" y="0"/>
                      </a:lnTo>
                      <a:cubicBezTo>
                        <a:pt x="1512" y="0"/>
                        <a:pt x="1511" y="0"/>
                        <a:pt x="15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87">
                  <a:extLst>
                    <a:ext uri="{FF2B5EF4-FFF2-40B4-BE49-F238E27FC236}">
                      <a16:creationId xmlns:a16="http://schemas.microsoft.com/office/drawing/2014/main" id="{5A9A3521-CB3A-E64D-AB24-F731EEF5F4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3688" y="4503738"/>
                  <a:ext cx="149225" cy="63500"/>
                </a:xfrm>
                <a:custGeom>
                  <a:avLst/>
                  <a:gdLst>
                    <a:gd name="T0" fmla="*/ 385 w 413"/>
                    <a:gd name="T1" fmla="*/ 2 h 177"/>
                    <a:gd name="T2" fmla="*/ 385 w 413"/>
                    <a:gd name="T3" fmla="*/ 2 h 177"/>
                    <a:gd name="T4" fmla="*/ 294 w 413"/>
                    <a:gd name="T5" fmla="*/ 34 h 177"/>
                    <a:gd name="T6" fmla="*/ 294 w 413"/>
                    <a:gd name="T7" fmla="*/ 34 h 177"/>
                    <a:gd name="T8" fmla="*/ 213 w 413"/>
                    <a:gd name="T9" fmla="*/ 63 h 177"/>
                    <a:gd name="T10" fmla="*/ 213 w 413"/>
                    <a:gd name="T11" fmla="*/ 63 h 177"/>
                    <a:gd name="T12" fmla="*/ 126 w 413"/>
                    <a:gd name="T13" fmla="*/ 94 h 177"/>
                    <a:gd name="T14" fmla="*/ 126 w 413"/>
                    <a:gd name="T15" fmla="*/ 94 h 177"/>
                    <a:gd name="T16" fmla="*/ 13 w 413"/>
                    <a:gd name="T17" fmla="*/ 139 h 177"/>
                    <a:gd name="T18" fmla="*/ 13 w 413"/>
                    <a:gd name="T19" fmla="*/ 139 h 177"/>
                    <a:gd name="T20" fmla="*/ 4 w 413"/>
                    <a:gd name="T21" fmla="*/ 164 h 177"/>
                    <a:gd name="T22" fmla="*/ 4 w 413"/>
                    <a:gd name="T23" fmla="*/ 164 h 177"/>
                    <a:gd name="T24" fmla="*/ 29 w 413"/>
                    <a:gd name="T25" fmla="*/ 172 h 177"/>
                    <a:gd name="T26" fmla="*/ 141 w 413"/>
                    <a:gd name="T27" fmla="*/ 129 h 177"/>
                    <a:gd name="T28" fmla="*/ 141 w 413"/>
                    <a:gd name="T29" fmla="*/ 129 h 177"/>
                    <a:gd name="T30" fmla="*/ 229 w 413"/>
                    <a:gd name="T31" fmla="*/ 96 h 177"/>
                    <a:gd name="T32" fmla="*/ 229 w 413"/>
                    <a:gd name="T33" fmla="*/ 96 h 177"/>
                    <a:gd name="T34" fmla="*/ 310 w 413"/>
                    <a:gd name="T35" fmla="*/ 68 h 177"/>
                    <a:gd name="T36" fmla="*/ 310 w 413"/>
                    <a:gd name="T37" fmla="*/ 68 h 177"/>
                    <a:gd name="T38" fmla="*/ 401 w 413"/>
                    <a:gd name="T39" fmla="*/ 36 h 177"/>
                    <a:gd name="T40" fmla="*/ 401 w 413"/>
                    <a:gd name="T41" fmla="*/ 36 h 177"/>
                    <a:gd name="T42" fmla="*/ 410 w 413"/>
                    <a:gd name="T43" fmla="*/ 25 h 177"/>
                    <a:gd name="T44" fmla="*/ 410 w 413"/>
                    <a:gd name="T45" fmla="*/ 25 h 177"/>
                    <a:gd name="T46" fmla="*/ 410 w 413"/>
                    <a:gd name="T47" fmla="*/ 11 h 177"/>
                    <a:gd name="T48" fmla="*/ 410 w 413"/>
                    <a:gd name="T49" fmla="*/ 11 h 177"/>
                    <a:gd name="T50" fmla="*/ 399 w 413"/>
                    <a:gd name="T51" fmla="*/ 2 h 177"/>
                    <a:gd name="T52" fmla="*/ 399 w 413"/>
                    <a:gd name="T53" fmla="*/ 2 h 177"/>
                    <a:gd name="T54" fmla="*/ 393 w 413"/>
                    <a:gd name="T55" fmla="*/ 0 h 177"/>
                    <a:gd name="T56" fmla="*/ 393 w 413"/>
                    <a:gd name="T57" fmla="*/ 0 h 177"/>
                    <a:gd name="T58" fmla="*/ 385 w 413"/>
                    <a:gd name="T59" fmla="*/ 2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13" h="177">
                      <a:moveTo>
                        <a:pt x="385" y="2"/>
                      </a:moveTo>
                      <a:lnTo>
                        <a:pt x="385" y="2"/>
                      </a:lnTo>
                      <a:cubicBezTo>
                        <a:pt x="354" y="13"/>
                        <a:pt x="324" y="23"/>
                        <a:pt x="294" y="34"/>
                      </a:cubicBezTo>
                      <a:lnTo>
                        <a:pt x="294" y="34"/>
                      </a:lnTo>
                      <a:cubicBezTo>
                        <a:pt x="267" y="43"/>
                        <a:pt x="240" y="53"/>
                        <a:pt x="213" y="63"/>
                      </a:cubicBezTo>
                      <a:lnTo>
                        <a:pt x="213" y="63"/>
                      </a:lnTo>
                      <a:cubicBezTo>
                        <a:pt x="184" y="73"/>
                        <a:pt x="155" y="83"/>
                        <a:pt x="126" y="94"/>
                      </a:cubicBezTo>
                      <a:lnTo>
                        <a:pt x="126" y="94"/>
                      </a:lnTo>
                      <a:cubicBezTo>
                        <a:pt x="88" y="109"/>
                        <a:pt x="51" y="124"/>
                        <a:pt x="13" y="139"/>
                      </a:cubicBezTo>
                      <a:lnTo>
                        <a:pt x="13" y="139"/>
                      </a:lnTo>
                      <a:cubicBezTo>
                        <a:pt x="4" y="142"/>
                        <a:pt x="0" y="155"/>
                        <a:pt x="4" y="164"/>
                      </a:cubicBezTo>
                      <a:lnTo>
                        <a:pt x="4" y="164"/>
                      </a:lnTo>
                      <a:cubicBezTo>
                        <a:pt x="9" y="173"/>
                        <a:pt x="19" y="176"/>
                        <a:pt x="29" y="172"/>
                      </a:cubicBezTo>
                      <a:lnTo>
                        <a:pt x="141" y="129"/>
                      </a:lnTo>
                      <a:lnTo>
                        <a:pt x="141" y="129"/>
                      </a:lnTo>
                      <a:cubicBezTo>
                        <a:pt x="170" y="117"/>
                        <a:pt x="200" y="107"/>
                        <a:pt x="229" y="96"/>
                      </a:cubicBezTo>
                      <a:lnTo>
                        <a:pt x="229" y="96"/>
                      </a:lnTo>
                      <a:cubicBezTo>
                        <a:pt x="256" y="86"/>
                        <a:pt x="283" y="77"/>
                        <a:pt x="310" y="68"/>
                      </a:cubicBezTo>
                      <a:lnTo>
                        <a:pt x="310" y="68"/>
                      </a:lnTo>
                      <a:cubicBezTo>
                        <a:pt x="340" y="57"/>
                        <a:pt x="370" y="46"/>
                        <a:pt x="401" y="36"/>
                      </a:cubicBezTo>
                      <a:lnTo>
                        <a:pt x="401" y="36"/>
                      </a:lnTo>
                      <a:cubicBezTo>
                        <a:pt x="405" y="34"/>
                        <a:pt x="409" y="29"/>
                        <a:pt x="410" y="25"/>
                      </a:cubicBezTo>
                      <a:lnTo>
                        <a:pt x="410" y="25"/>
                      </a:lnTo>
                      <a:cubicBezTo>
                        <a:pt x="412" y="20"/>
                        <a:pt x="412" y="15"/>
                        <a:pt x="410" y="11"/>
                      </a:cubicBezTo>
                      <a:lnTo>
                        <a:pt x="410" y="11"/>
                      </a:lnTo>
                      <a:cubicBezTo>
                        <a:pt x="407" y="6"/>
                        <a:pt x="404" y="3"/>
                        <a:pt x="399" y="2"/>
                      </a:cubicBezTo>
                      <a:lnTo>
                        <a:pt x="399" y="2"/>
                      </a:lnTo>
                      <a:cubicBezTo>
                        <a:pt x="397" y="0"/>
                        <a:pt x="395" y="0"/>
                        <a:pt x="393" y="0"/>
                      </a:cubicBezTo>
                      <a:lnTo>
                        <a:pt x="393" y="0"/>
                      </a:lnTo>
                      <a:cubicBezTo>
                        <a:pt x="390" y="0"/>
                        <a:pt x="388" y="1"/>
                        <a:pt x="385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 88">
                  <a:extLst>
                    <a:ext uri="{FF2B5EF4-FFF2-40B4-BE49-F238E27FC236}">
                      <a16:creationId xmlns:a16="http://schemas.microsoft.com/office/drawing/2014/main" id="{215D4F44-1E95-0B4B-B3B6-C3D8065DAA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7250" y="5408613"/>
                  <a:ext cx="406400" cy="76200"/>
                </a:xfrm>
                <a:custGeom>
                  <a:avLst/>
                  <a:gdLst>
                    <a:gd name="T0" fmla="*/ 292 w 1129"/>
                    <a:gd name="T1" fmla="*/ 157 h 211"/>
                    <a:gd name="T2" fmla="*/ 293 w 1129"/>
                    <a:gd name="T3" fmla="*/ 157 h 211"/>
                    <a:gd name="T4" fmla="*/ 176 w 1129"/>
                    <a:gd name="T5" fmla="*/ 116 h 211"/>
                    <a:gd name="T6" fmla="*/ 178 w 1129"/>
                    <a:gd name="T7" fmla="*/ 117 h 211"/>
                    <a:gd name="T8" fmla="*/ 176 w 1129"/>
                    <a:gd name="T9" fmla="*/ 116 h 211"/>
                    <a:gd name="T10" fmla="*/ 9 w 1129"/>
                    <a:gd name="T11" fmla="*/ 4 h 211"/>
                    <a:gd name="T12" fmla="*/ 7 w 1129"/>
                    <a:gd name="T13" fmla="*/ 31 h 211"/>
                    <a:gd name="T14" fmla="*/ 32 w 1129"/>
                    <a:gd name="T15" fmla="*/ 57 h 211"/>
                    <a:gd name="T16" fmla="*/ 61 w 1129"/>
                    <a:gd name="T17" fmla="*/ 83 h 211"/>
                    <a:gd name="T18" fmla="*/ 132 w 1129"/>
                    <a:gd name="T19" fmla="*/ 134 h 211"/>
                    <a:gd name="T20" fmla="*/ 204 w 1129"/>
                    <a:gd name="T21" fmla="*/ 169 h 211"/>
                    <a:gd name="T22" fmla="*/ 289 w 1129"/>
                    <a:gd name="T23" fmla="*/ 194 h 211"/>
                    <a:gd name="T24" fmla="*/ 462 w 1129"/>
                    <a:gd name="T25" fmla="*/ 210 h 211"/>
                    <a:gd name="T26" fmla="*/ 641 w 1129"/>
                    <a:gd name="T27" fmla="*/ 196 h 211"/>
                    <a:gd name="T28" fmla="*/ 718 w 1129"/>
                    <a:gd name="T29" fmla="*/ 181 h 211"/>
                    <a:gd name="T30" fmla="*/ 768 w 1129"/>
                    <a:gd name="T31" fmla="*/ 172 h 211"/>
                    <a:gd name="T32" fmla="*/ 895 w 1129"/>
                    <a:gd name="T33" fmla="*/ 145 h 211"/>
                    <a:gd name="T34" fmla="*/ 942 w 1129"/>
                    <a:gd name="T35" fmla="*/ 135 h 211"/>
                    <a:gd name="T36" fmla="*/ 1003 w 1129"/>
                    <a:gd name="T37" fmla="*/ 120 h 211"/>
                    <a:gd name="T38" fmla="*/ 1052 w 1129"/>
                    <a:gd name="T39" fmla="*/ 107 h 211"/>
                    <a:gd name="T40" fmla="*/ 1113 w 1129"/>
                    <a:gd name="T41" fmla="*/ 91 h 211"/>
                    <a:gd name="T42" fmla="*/ 1124 w 1129"/>
                    <a:gd name="T43" fmla="*/ 84 h 211"/>
                    <a:gd name="T44" fmla="*/ 1127 w 1129"/>
                    <a:gd name="T45" fmla="*/ 69 h 211"/>
                    <a:gd name="T46" fmla="*/ 1105 w 1129"/>
                    <a:gd name="T47" fmla="*/ 55 h 211"/>
                    <a:gd name="T48" fmla="*/ 1044 w 1129"/>
                    <a:gd name="T49" fmla="*/ 71 h 211"/>
                    <a:gd name="T50" fmla="*/ 988 w 1129"/>
                    <a:gd name="T51" fmla="*/ 86 h 211"/>
                    <a:gd name="T52" fmla="*/ 928 w 1129"/>
                    <a:gd name="T53" fmla="*/ 100 h 211"/>
                    <a:gd name="T54" fmla="*/ 854 w 1129"/>
                    <a:gd name="T55" fmla="*/ 116 h 211"/>
                    <a:gd name="T56" fmla="*/ 751 w 1129"/>
                    <a:gd name="T57" fmla="*/ 137 h 211"/>
                    <a:gd name="T58" fmla="*/ 673 w 1129"/>
                    <a:gd name="T59" fmla="*/ 152 h 211"/>
                    <a:gd name="T60" fmla="*/ 555 w 1129"/>
                    <a:gd name="T61" fmla="*/ 169 h 211"/>
                    <a:gd name="T62" fmla="*/ 519 w 1129"/>
                    <a:gd name="T63" fmla="*/ 172 h 211"/>
                    <a:gd name="T64" fmla="*/ 524 w 1129"/>
                    <a:gd name="T65" fmla="*/ 172 h 211"/>
                    <a:gd name="T66" fmla="*/ 295 w 1129"/>
                    <a:gd name="T67" fmla="*/ 158 h 211"/>
                    <a:gd name="T68" fmla="*/ 237 w 1129"/>
                    <a:gd name="T69" fmla="*/ 142 h 211"/>
                    <a:gd name="T70" fmla="*/ 176 w 1129"/>
                    <a:gd name="T71" fmla="*/ 116 h 211"/>
                    <a:gd name="T72" fmla="*/ 119 w 1129"/>
                    <a:gd name="T73" fmla="*/ 81 h 211"/>
                    <a:gd name="T74" fmla="*/ 67 w 1129"/>
                    <a:gd name="T75" fmla="*/ 39 h 211"/>
                    <a:gd name="T76" fmla="*/ 51 w 1129"/>
                    <a:gd name="T77" fmla="*/ 24 h 211"/>
                    <a:gd name="T78" fmla="*/ 35 w 1129"/>
                    <a:gd name="T79" fmla="*/ 6 h 211"/>
                    <a:gd name="T80" fmla="*/ 21 w 1129"/>
                    <a:gd name="T81" fmla="*/ 0 h 211"/>
                    <a:gd name="T82" fmla="*/ 9 w 1129"/>
                    <a:gd name="T83" fmla="*/ 4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29" h="211">
                      <a:moveTo>
                        <a:pt x="292" y="157"/>
                      </a:moveTo>
                      <a:lnTo>
                        <a:pt x="292" y="157"/>
                      </a:lnTo>
                      <a:lnTo>
                        <a:pt x="293" y="157"/>
                      </a:lnTo>
                      <a:lnTo>
                        <a:pt x="293" y="157"/>
                      </a:lnTo>
                      <a:lnTo>
                        <a:pt x="292" y="157"/>
                      </a:lnTo>
                      <a:close/>
                      <a:moveTo>
                        <a:pt x="176" y="116"/>
                      </a:moveTo>
                      <a:lnTo>
                        <a:pt x="176" y="116"/>
                      </a:lnTo>
                      <a:cubicBezTo>
                        <a:pt x="177" y="116"/>
                        <a:pt x="177" y="116"/>
                        <a:pt x="178" y="117"/>
                      </a:cubicBezTo>
                      <a:lnTo>
                        <a:pt x="178" y="117"/>
                      </a:lnTo>
                      <a:cubicBezTo>
                        <a:pt x="177" y="116"/>
                        <a:pt x="177" y="116"/>
                        <a:pt x="176" y="116"/>
                      </a:cubicBezTo>
                      <a:close/>
                      <a:moveTo>
                        <a:pt x="9" y="4"/>
                      </a:moveTo>
                      <a:lnTo>
                        <a:pt x="9" y="4"/>
                      </a:lnTo>
                      <a:cubicBezTo>
                        <a:pt x="1" y="11"/>
                        <a:pt x="0" y="23"/>
                        <a:pt x="7" y="31"/>
                      </a:cubicBezTo>
                      <a:lnTo>
                        <a:pt x="7" y="31"/>
                      </a:lnTo>
                      <a:cubicBezTo>
                        <a:pt x="15" y="39"/>
                        <a:pt x="23" y="49"/>
                        <a:pt x="32" y="57"/>
                      </a:cubicBezTo>
                      <a:lnTo>
                        <a:pt x="32" y="57"/>
                      </a:lnTo>
                      <a:cubicBezTo>
                        <a:pt x="41" y="66"/>
                        <a:pt x="51" y="74"/>
                        <a:pt x="61" y="83"/>
                      </a:cubicBezTo>
                      <a:lnTo>
                        <a:pt x="61" y="83"/>
                      </a:lnTo>
                      <a:cubicBezTo>
                        <a:pt x="83" y="102"/>
                        <a:pt x="107" y="119"/>
                        <a:pt x="132" y="134"/>
                      </a:cubicBezTo>
                      <a:lnTo>
                        <a:pt x="132" y="134"/>
                      </a:lnTo>
                      <a:cubicBezTo>
                        <a:pt x="155" y="147"/>
                        <a:pt x="180" y="159"/>
                        <a:pt x="204" y="169"/>
                      </a:cubicBezTo>
                      <a:lnTo>
                        <a:pt x="204" y="169"/>
                      </a:lnTo>
                      <a:cubicBezTo>
                        <a:pt x="232" y="180"/>
                        <a:pt x="260" y="188"/>
                        <a:pt x="289" y="194"/>
                      </a:cubicBezTo>
                      <a:lnTo>
                        <a:pt x="289" y="194"/>
                      </a:lnTo>
                      <a:cubicBezTo>
                        <a:pt x="345" y="206"/>
                        <a:pt x="404" y="210"/>
                        <a:pt x="462" y="210"/>
                      </a:cubicBezTo>
                      <a:lnTo>
                        <a:pt x="462" y="210"/>
                      </a:lnTo>
                      <a:cubicBezTo>
                        <a:pt x="522" y="210"/>
                        <a:pt x="582" y="205"/>
                        <a:pt x="641" y="196"/>
                      </a:cubicBezTo>
                      <a:lnTo>
                        <a:pt x="641" y="196"/>
                      </a:lnTo>
                      <a:cubicBezTo>
                        <a:pt x="667" y="191"/>
                        <a:pt x="693" y="187"/>
                        <a:pt x="718" y="181"/>
                      </a:cubicBezTo>
                      <a:lnTo>
                        <a:pt x="718" y="181"/>
                      </a:lnTo>
                      <a:cubicBezTo>
                        <a:pt x="734" y="178"/>
                        <a:pt x="751" y="175"/>
                        <a:pt x="768" y="172"/>
                      </a:cubicBezTo>
                      <a:lnTo>
                        <a:pt x="768" y="172"/>
                      </a:lnTo>
                      <a:cubicBezTo>
                        <a:pt x="811" y="163"/>
                        <a:pt x="853" y="154"/>
                        <a:pt x="895" y="145"/>
                      </a:cubicBezTo>
                      <a:lnTo>
                        <a:pt x="895" y="145"/>
                      </a:lnTo>
                      <a:cubicBezTo>
                        <a:pt x="911" y="142"/>
                        <a:pt x="926" y="139"/>
                        <a:pt x="942" y="135"/>
                      </a:cubicBezTo>
                      <a:lnTo>
                        <a:pt x="942" y="135"/>
                      </a:lnTo>
                      <a:cubicBezTo>
                        <a:pt x="962" y="130"/>
                        <a:pt x="983" y="125"/>
                        <a:pt x="1003" y="120"/>
                      </a:cubicBezTo>
                      <a:lnTo>
                        <a:pt x="1003" y="120"/>
                      </a:lnTo>
                      <a:cubicBezTo>
                        <a:pt x="1019" y="116"/>
                        <a:pt x="1036" y="112"/>
                        <a:pt x="1052" y="107"/>
                      </a:cubicBezTo>
                      <a:lnTo>
                        <a:pt x="1052" y="107"/>
                      </a:lnTo>
                      <a:cubicBezTo>
                        <a:pt x="1072" y="102"/>
                        <a:pt x="1092" y="97"/>
                        <a:pt x="1113" y="91"/>
                      </a:cubicBezTo>
                      <a:lnTo>
                        <a:pt x="1113" y="91"/>
                      </a:lnTo>
                      <a:cubicBezTo>
                        <a:pt x="1117" y="90"/>
                        <a:pt x="1121" y="87"/>
                        <a:pt x="1124" y="84"/>
                      </a:cubicBezTo>
                      <a:lnTo>
                        <a:pt x="1124" y="84"/>
                      </a:lnTo>
                      <a:cubicBezTo>
                        <a:pt x="1127" y="79"/>
                        <a:pt x="1128" y="74"/>
                        <a:pt x="1127" y="69"/>
                      </a:cubicBezTo>
                      <a:lnTo>
                        <a:pt x="1127" y="69"/>
                      </a:lnTo>
                      <a:cubicBezTo>
                        <a:pt x="1125" y="60"/>
                        <a:pt x="1115" y="52"/>
                        <a:pt x="1105" y="55"/>
                      </a:cubicBezTo>
                      <a:lnTo>
                        <a:pt x="1105" y="55"/>
                      </a:lnTo>
                      <a:cubicBezTo>
                        <a:pt x="1085" y="61"/>
                        <a:pt x="1064" y="66"/>
                        <a:pt x="1044" y="71"/>
                      </a:cubicBezTo>
                      <a:lnTo>
                        <a:pt x="1044" y="71"/>
                      </a:lnTo>
                      <a:cubicBezTo>
                        <a:pt x="1025" y="76"/>
                        <a:pt x="1007" y="81"/>
                        <a:pt x="988" y="86"/>
                      </a:cubicBezTo>
                      <a:lnTo>
                        <a:pt x="988" y="86"/>
                      </a:lnTo>
                      <a:cubicBezTo>
                        <a:pt x="968" y="90"/>
                        <a:pt x="948" y="96"/>
                        <a:pt x="928" y="100"/>
                      </a:cubicBezTo>
                      <a:lnTo>
                        <a:pt x="928" y="100"/>
                      </a:lnTo>
                      <a:cubicBezTo>
                        <a:pt x="903" y="106"/>
                        <a:pt x="879" y="111"/>
                        <a:pt x="854" y="116"/>
                      </a:cubicBezTo>
                      <a:lnTo>
                        <a:pt x="854" y="116"/>
                      </a:lnTo>
                      <a:cubicBezTo>
                        <a:pt x="820" y="123"/>
                        <a:pt x="786" y="130"/>
                        <a:pt x="751" y="137"/>
                      </a:cubicBezTo>
                      <a:lnTo>
                        <a:pt x="751" y="137"/>
                      </a:lnTo>
                      <a:cubicBezTo>
                        <a:pt x="725" y="142"/>
                        <a:pt x="699" y="147"/>
                        <a:pt x="673" y="152"/>
                      </a:cubicBezTo>
                      <a:lnTo>
                        <a:pt x="673" y="152"/>
                      </a:lnTo>
                      <a:cubicBezTo>
                        <a:pt x="635" y="160"/>
                        <a:pt x="595" y="166"/>
                        <a:pt x="555" y="169"/>
                      </a:cubicBezTo>
                      <a:lnTo>
                        <a:pt x="555" y="169"/>
                      </a:lnTo>
                      <a:cubicBezTo>
                        <a:pt x="544" y="170"/>
                        <a:pt x="531" y="171"/>
                        <a:pt x="519" y="172"/>
                      </a:cubicBezTo>
                      <a:lnTo>
                        <a:pt x="519" y="172"/>
                      </a:lnTo>
                      <a:cubicBezTo>
                        <a:pt x="521" y="172"/>
                        <a:pt x="522" y="172"/>
                        <a:pt x="524" y="172"/>
                      </a:cubicBezTo>
                      <a:lnTo>
                        <a:pt x="524" y="172"/>
                      </a:lnTo>
                      <a:cubicBezTo>
                        <a:pt x="447" y="176"/>
                        <a:pt x="370" y="173"/>
                        <a:pt x="295" y="158"/>
                      </a:cubicBezTo>
                      <a:lnTo>
                        <a:pt x="295" y="158"/>
                      </a:lnTo>
                      <a:cubicBezTo>
                        <a:pt x="275" y="153"/>
                        <a:pt x="256" y="148"/>
                        <a:pt x="237" y="142"/>
                      </a:cubicBezTo>
                      <a:lnTo>
                        <a:pt x="237" y="142"/>
                      </a:lnTo>
                      <a:cubicBezTo>
                        <a:pt x="216" y="135"/>
                        <a:pt x="195" y="126"/>
                        <a:pt x="176" y="116"/>
                      </a:cubicBezTo>
                      <a:lnTo>
                        <a:pt x="176" y="116"/>
                      </a:lnTo>
                      <a:cubicBezTo>
                        <a:pt x="156" y="105"/>
                        <a:pt x="137" y="94"/>
                        <a:pt x="119" y="81"/>
                      </a:cubicBezTo>
                      <a:lnTo>
                        <a:pt x="119" y="81"/>
                      </a:lnTo>
                      <a:cubicBezTo>
                        <a:pt x="100" y="68"/>
                        <a:pt x="83" y="54"/>
                        <a:pt x="67" y="39"/>
                      </a:cubicBezTo>
                      <a:lnTo>
                        <a:pt x="67" y="39"/>
                      </a:lnTo>
                      <a:lnTo>
                        <a:pt x="67" y="39"/>
                      </a:lnTo>
                      <a:cubicBezTo>
                        <a:pt x="61" y="34"/>
                        <a:pt x="57" y="29"/>
                        <a:pt x="51" y="24"/>
                      </a:cubicBezTo>
                      <a:lnTo>
                        <a:pt x="51" y="24"/>
                      </a:lnTo>
                      <a:cubicBezTo>
                        <a:pt x="45" y="18"/>
                        <a:pt x="40" y="12"/>
                        <a:pt x="35" y="6"/>
                      </a:cubicBezTo>
                      <a:lnTo>
                        <a:pt x="35" y="6"/>
                      </a:lnTo>
                      <a:cubicBezTo>
                        <a:pt x="31" y="2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17" y="0"/>
                        <a:pt x="12" y="1"/>
                        <a:pt x="9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F5DD1F9B-D7F3-1344-A495-66C5BD4C2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5688" y="5170488"/>
                  <a:ext cx="557212" cy="247650"/>
                </a:xfrm>
                <a:custGeom>
                  <a:avLst/>
                  <a:gdLst>
                    <a:gd name="T0" fmla="*/ 213 w 1547"/>
                    <a:gd name="T1" fmla="*/ 650 h 689"/>
                    <a:gd name="T2" fmla="*/ 210 w 1547"/>
                    <a:gd name="T3" fmla="*/ 650 h 689"/>
                    <a:gd name="T4" fmla="*/ 425 w 1547"/>
                    <a:gd name="T5" fmla="*/ 612 h 689"/>
                    <a:gd name="T6" fmla="*/ 424 w 1547"/>
                    <a:gd name="T7" fmla="*/ 612 h 689"/>
                    <a:gd name="T8" fmla="*/ 425 w 1547"/>
                    <a:gd name="T9" fmla="*/ 612 h 689"/>
                    <a:gd name="T10" fmla="*/ 1514 w 1547"/>
                    <a:gd name="T11" fmla="*/ 4 h 689"/>
                    <a:gd name="T12" fmla="*/ 1346 w 1547"/>
                    <a:gd name="T13" fmla="*/ 137 h 689"/>
                    <a:gd name="T14" fmla="*/ 1311 w 1547"/>
                    <a:gd name="T15" fmla="*/ 163 h 689"/>
                    <a:gd name="T16" fmla="*/ 1259 w 1547"/>
                    <a:gd name="T17" fmla="*/ 201 h 689"/>
                    <a:gd name="T18" fmla="*/ 1228 w 1547"/>
                    <a:gd name="T19" fmla="*/ 223 h 689"/>
                    <a:gd name="T20" fmla="*/ 1179 w 1547"/>
                    <a:gd name="T21" fmla="*/ 255 h 689"/>
                    <a:gd name="T22" fmla="*/ 1184 w 1547"/>
                    <a:gd name="T23" fmla="*/ 252 h 689"/>
                    <a:gd name="T24" fmla="*/ 1126 w 1547"/>
                    <a:gd name="T25" fmla="*/ 286 h 689"/>
                    <a:gd name="T26" fmla="*/ 1085 w 1547"/>
                    <a:gd name="T27" fmla="*/ 309 h 689"/>
                    <a:gd name="T28" fmla="*/ 1020 w 1547"/>
                    <a:gd name="T29" fmla="*/ 344 h 689"/>
                    <a:gd name="T30" fmla="*/ 1005 w 1547"/>
                    <a:gd name="T31" fmla="*/ 352 h 689"/>
                    <a:gd name="T32" fmla="*/ 964 w 1547"/>
                    <a:gd name="T33" fmla="*/ 372 h 689"/>
                    <a:gd name="T34" fmla="*/ 757 w 1547"/>
                    <a:gd name="T35" fmla="*/ 476 h 689"/>
                    <a:gd name="T36" fmla="*/ 688 w 1547"/>
                    <a:gd name="T37" fmla="*/ 510 h 689"/>
                    <a:gd name="T38" fmla="*/ 636 w 1547"/>
                    <a:gd name="T39" fmla="*/ 534 h 689"/>
                    <a:gd name="T40" fmla="*/ 613 w 1547"/>
                    <a:gd name="T41" fmla="*/ 544 h 689"/>
                    <a:gd name="T42" fmla="*/ 562 w 1547"/>
                    <a:gd name="T43" fmla="*/ 564 h 689"/>
                    <a:gd name="T44" fmla="*/ 537 w 1547"/>
                    <a:gd name="T45" fmla="*/ 574 h 689"/>
                    <a:gd name="T46" fmla="*/ 422 w 1547"/>
                    <a:gd name="T47" fmla="*/ 613 h 689"/>
                    <a:gd name="T48" fmla="*/ 323 w 1547"/>
                    <a:gd name="T49" fmla="*/ 638 h 689"/>
                    <a:gd name="T50" fmla="*/ 215 w 1547"/>
                    <a:gd name="T51" fmla="*/ 650 h 689"/>
                    <a:gd name="T52" fmla="*/ 215 w 1547"/>
                    <a:gd name="T53" fmla="*/ 650 h 689"/>
                    <a:gd name="T54" fmla="*/ 122 w 1547"/>
                    <a:gd name="T55" fmla="*/ 650 h 689"/>
                    <a:gd name="T56" fmla="*/ 71 w 1547"/>
                    <a:gd name="T57" fmla="*/ 648 h 689"/>
                    <a:gd name="T58" fmla="*/ 21 w 1547"/>
                    <a:gd name="T59" fmla="*/ 643 h 689"/>
                    <a:gd name="T60" fmla="*/ 1 w 1547"/>
                    <a:gd name="T61" fmla="*/ 660 h 689"/>
                    <a:gd name="T62" fmla="*/ 18 w 1547"/>
                    <a:gd name="T63" fmla="*/ 680 h 689"/>
                    <a:gd name="T64" fmla="*/ 61 w 1547"/>
                    <a:gd name="T65" fmla="*/ 684 h 689"/>
                    <a:gd name="T66" fmla="*/ 104 w 1547"/>
                    <a:gd name="T67" fmla="*/ 686 h 689"/>
                    <a:gd name="T68" fmla="*/ 198 w 1547"/>
                    <a:gd name="T69" fmla="*/ 688 h 689"/>
                    <a:gd name="T70" fmla="*/ 371 w 1547"/>
                    <a:gd name="T71" fmla="*/ 665 h 689"/>
                    <a:gd name="T72" fmla="*/ 495 w 1547"/>
                    <a:gd name="T73" fmla="*/ 627 h 689"/>
                    <a:gd name="T74" fmla="*/ 559 w 1547"/>
                    <a:gd name="T75" fmla="*/ 605 h 689"/>
                    <a:gd name="T76" fmla="*/ 581 w 1547"/>
                    <a:gd name="T77" fmla="*/ 596 h 689"/>
                    <a:gd name="T78" fmla="*/ 624 w 1547"/>
                    <a:gd name="T79" fmla="*/ 579 h 689"/>
                    <a:gd name="T80" fmla="*/ 641 w 1547"/>
                    <a:gd name="T81" fmla="*/ 573 h 689"/>
                    <a:gd name="T82" fmla="*/ 670 w 1547"/>
                    <a:gd name="T83" fmla="*/ 559 h 689"/>
                    <a:gd name="T84" fmla="*/ 723 w 1547"/>
                    <a:gd name="T85" fmla="*/ 535 h 689"/>
                    <a:gd name="T86" fmla="*/ 790 w 1547"/>
                    <a:gd name="T87" fmla="*/ 501 h 689"/>
                    <a:gd name="T88" fmla="*/ 885 w 1547"/>
                    <a:gd name="T89" fmla="*/ 453 h 689"/>
                    <a:gd name="T90" fmla="*/ 1000 w 1547"/>
                    <a:gd name="T91" fmla="*/ 396 h 689"/>
                    <a:gd name="T92" fmla="*/ 1045 w 1547"/>
                    <a:gd name="T93" fmla="*/ 373 h 689"/>
                    <a:gd name="T94" fmla="*/ 1112 w 1547"/>
                    <a:gd name="T95" fmla="*/ 337 h 689"/>
                    <a:gd name="T96" fmla="*/ 1124 w 1547"/>
                    <a:gd name="T97" fmla="*/ 330 h 689"/>
                    <a:gd name="T98" fmla="*/ 1161 w 1547"/>
                    <a:gd name="T99" fmla="*/ 308 h 689"/>
                    <a:gd name="T100" fmla="*/ 1207 w 1547"/>
                    <a:gd name="T101" fmla="*/ 281 h 689"/>
                    <a:gd name="T102" fmla="*/ 1260 w 1547"/>
                    <a:gd name="T103" fmla="*/ 246 h 689"/>
                    <a:gd name="T104" fmla="*/ 1291 w 1547"/>
                    <a:gd name="T105" fmla="*/ 224 h 689"/>
                    <a:gd name="T106" fmla="*/ 1337 w 1547"/>
                    <a:gd name="T107" fmla="*/ 190 h 689"/>
                    <a:gd name="T108" fmla="*/ 1376 w 1547"/>
                    <a:gd name="T109" fmla="*/ 161 h 689"/>
                    <a:gd name="T110" fmla="*/ 1538 w 1547"/>
                    <a:gd name="T111" fmla="*/ 33 h 689"/>
                    <a:gd name="T112" fmla="*/ 1540 w 1547"/>
                    <a:gd name="T113" fmla="*/ 7 h 689"/>
                    <a:gd name="T114" fmla="*/ 1526 w 1547"/>
                    <a:gd name="T115" fmla="*/ 0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547" h="689">
                      <a:moveTo>
                        <a:pt x="213" y="650"/>
                      </a:moveTo>
                      <a:lnTo>
                        <a:pt x="213" y="650"/>
                      </a:lnTo>
                      <a:cubicBezTo>
                        <a:pt x="212" y="650"/>
                        <a:pt x="211" y="650"/>
                        <a:pt x="210" y="650"/>
                      </a:cubicBezTo>
                      <a:lnTo>
                        <a:pt x="210" y="650"/>
                      </a:lnTo>
                      <a:cubicBezTo>
                        <a:pt x="211" y="650"/>
                        <a:pt x="212" y="650"/>
                        <a:pt x="213" y="650"/>
                      </a:cubicBezTo>
                      <a:close/>
                      <a:moveTo>
                        <a:pt x="425" y="612"/>
                      </a:moveTo>
                      <a:lnTo>
                        <a:pt x="425" y="612"/>
                      </a:lnTo>
                      <a:cubicBezTo>
                        <a:pt x="425" y="612"/>
                        <a:pt x="425" y="612"/>
                        <a:pt x="424" y="612"/>
                      </a:cubicBezTo>
                      <a:lnTo>
                        <a:pt x="424" y="612"/>
                      </a:lnTo>
                      <a:cubicBezTo>
                        <a:pt x="425" y="612"/>
                        <a:pt x="425" y="612"/>
                        <a:pt x="425" y="612"/>
                      </a:cubicBezTo>
                      <a:close/>
                      <a:moveTo>
                        <a:pt x="1514" y="4"/>
                      </a:moveTo>
                      <a:lnTo>
                        <a:pt x="1514" y="4"/>
                      </a:lnTo>
                      <a:cubicBezTo>
                        <a:pt x="1458" y="49"/>
                        <a:pt x="1402" y="93"/>
                        <a:pt x="1346" y="137"/>
                      </a:cubicBezTo>
                      <a:lnTo>
                        <a:pt x="1346" y="137"/>
                      </a:lnTo>
                      <a:cubicBezTo>
                        <a:pt x="1334" y="145"/>
                        <a:pt x="1323" y="154"/>
                        <a:pt x="1311" y="163"/>
                      </a:cubicBezTo>
                      <a:lnTo>
                        <a:pt x="1311" y="163"/>
                      </a:lnTo>
                      <a:cubicBezTo>
                        <a:pt x="1295" y="175"/>
                        <a:pt x="1277" y="188"/>
                        <a:pt x="1259" y="201"/>
                      </a:cubicBezTo>
                      <a:lnTo>
                        <a:pt x="1259" y="201"/>
                      </a:lnTo>
                      <a:cubicBezTo>
                        <a:pt x="1249" y="209"/>
                        <a:pt x="1239" y="216"/>
                        <a:pt x="1228" y="223"/>
                      </a:cubicBezTo>
                      <a:lnTo>
                        <a:pt x="1228" y="223"/>
                      </a:lnTo>
                      <a:cubicBezTo>
                        <a:pt x="1212" y="233"/>
                        <a:pt x="1195" y="244"/>
                        <a:pt x="1179" y="255"/>
                      </a:cubicBezTo>
                      <a:lnTo>
                        <a:pt x="1179" y="255"/>
                      </a:lnTo>
                      <a:cubicBezTo>
                        <a:pt x="1180" y="254"/>
                        <a:pt x="1182" y="253"/>
                        <a:pt x="1184" y="252"/>
                      </a:cubicBezTo>
                      <a:lnTo>
                        <a:pt x="1184" y="252"/>
                      </a:lnTo>
                      <a:cubicBezTo>
                        <a:pt x="1164" y="263"/>
                        <a:pt x="1145" y="275"/>
                        <a:pt x="1126" y="286"/>
                      </a:cubicBezTo>
                      <a:lnTo>
                        <a:pt x="1126" y="286"/>
                      </a:lnTo>
                      <a:cubicBezTo>
                        <a:pt x="1112" y="294"/>
                        <a:pt x="1099" y="302"/>
                        <a:pt x="1085" y="309"/>
                      </a:cubicBezTo>
                      <a:lnTo>
                        <a:pt x="1085" y="309"/>
                      </a:lnTo>
                      <a:cubicBezTo>
                        <a:pt x="1064" y="321"/>
                        <a:pt x="1042" y="333"/>
                        <a:pt x="1020" y="344"/>
                      </a:cubicBezTo>
                      <a:lnTo>
                        <a:pt x="1020" y="344"/>
                      </a:lnTo>
                      <a:cubicBezTo>
                        <a:pt x="1015" y="347"/>
                        <a:pt x="1010" y="349"/>
                        <a:pt x="1005" y="352"/>
                      </a:cubicBezTo>
                      <a:lnTo>
                        <a:pt x="1005" y="352"/>
                      </a:lnTo>
                      <a:cubicBezTo>
                        <a:pt x="991" y="359"/>
                        <a:pt x="978" y="365"/>
                        <a:pt x="964" y="372"/>
                      </a:cubicBezTo>
                      <a:lnTo>
                        <a:pt x="964" y="372"/>
                      </a:lnTo>
                      <a:cubicBezTo>
                        <a:pt x="895" y="406"/>
                        <a:pt x="826" y="442"/>
                        <a:pt x="757" y="476"/>
                      </a:cubicBezTo>
                      <a:lnTo>
                        <a:pt x="757" y="476"/>
                      </a:lnTo>
                      <a:cubicBezTo>
                        <a:pt x="734" y="488"/>
                        <a:pt x="711" y="499"/>
                        <a:pt x="688" y="510"/>
                      </a:cubicBezTo>
                      <a:lnTo>
                        <a:pt x="688" y="510"/>
                      </a:lnTo>
                      <a:cubicBezTo>
                        <a:pt x="671" y="518"/>
                        <a:pt x="653" y="526"/>
                        <a:pt x="636" y="534"/>
                      </a:cubicBezTo>
                      <a:lnTo>
                        <a:pt x="636" y="534"/>
                      </a:lnTo>
                      <a:cubicBezTo>
                        <a:pt x="628" y="538"/>
                        <a:pt x="621" y="541"/>
                        <a:pt x="613" y="544"/>
                      </a:cubicBezTo>
                      <a:lnTo>
                        <a:pt x="613" y="544"/>
                      </a:lnTo>
                      <a:cubicBezTo>
                        <a:pt x="596" y="551"/>
                        <a:pt x="579" y="557"/>
                        <a:pt x="562" y="564"/>
                      </a:cubicBezTo>
                      <a:lnTo>
                        <a:pt x="562" y="564"/>
                      </a:lnTo>
                      <a:cubicBezTo>
                        <a:pt x="554" y="567"/>
                        <a:pt x="545" y="571"/>
                        <a:pt x="537" y="574"/>
                      </a:cubicBezTo>
                      <a:lnTo>
                        <a:pt x="537" y="574"/>
                      </a:lnTo>
                      <a:cubicBezTo>
                        <a:pt x="499" y="587"/>
                        <a:pt x="460" y="600"/>
                        <a:pt x="422" y="613"/>
                      </a:cubicBezTo>
                      <a:lnTo>
                        <a:pt x="422" y="613"/>
                      </a:lnTo>
                      <a:cubicBezTo>
                        <a:pt x="390" y="623"/>
                        <a:pt x="357" y="632"/>
                        <a:pt x="323" y="638"/>
                      </a:cubicBezTo>
                      <a:lnTo>
                        <a:pt x="323" y="638"/>
                      </a:lnTo>
                      <a:cubicBezTo>
                        <a:pt x="287" y="644"/>
                        <a:pt x="251" y="648"/>
                        <a:pt x="215" y="650"/>
                      </a:cubicBezTo>
                      <a:lnTo>
                        <a:pt x="215" y="650"/>
                      </a:lnTo>
                      <a:lnTo>
                        <a:pt x="215" y="650"/>
                      </a:lnTo>
                      <a:lnTo>
                        <a:pt x="215" y="650"/>
                      </a:lnTo>
                      <a:cubicBezTo>
                        <a:pt x="184" y="651"/>
                        <a:pt x="153" y="651"/>
                        <a:pt x="122" y="650"/>
                      </a:cubicBezTo>
                      <a:lnTo>
                        <a:pt x="122" y="650"/>
                      </a:lnTo>
                      <a:cubicBezTo>
                        <a:pt x="105" y="649"/>
                        <a:pt x="88" y="648"/>
                        <a:pt x="71" y="648"/>
                      </a:cubicBezTo>
                      <a:lnTo>
                        <a:pt x="71" y="648"/>
                      </a:lnTo>
                      <a:cubicBezTo>
                        <a:pt x="54" y="646"/>
                        <a:pt x="38" y="645"/>
                        <a:pt x="21" y="643"/>
                      </a:cubicBezTo>
                      <a:lnTo>
                        <a:pt x="21" y="643"/>
                      </a:lnTo>
                      <a:cubicBezTo>
                        <a:pt x="11" y="642"/>
                        <a:pt x="2" y="650"/>
                        <a:pt x="1" y="660"/>
                      </a:cubicBezTo>
                      <a:lnTo>
                        <a:pt x="1" y="660"/>
                      </a:lnTo>
                      <a:cubicBezTo>
                        <a:pt x="0" y="670"/>
                        <a:pt x="8" y="679"/>
                        <a:pt x="18" y="680"/>
                      </a:cubicBezTo>
                      <a:lnTo>
                        <a:pt x="18" y="680"/>
                      </a:lnTo>
                      <a:cubicBezTo>
                        <a:pt x="32" y="682"/>
                        <a:pt x="47" y="683"/>
                        <a:pt x="61" y="684"/>
                      </a:cubicBezTo>
                      <a:lnTo>
                        <a:pt x="61" y="684"/>
                      </a:lnTo>
                      <a:cubicBezTo>
                        <a:pt x="76" y="685"/>
                        <a:pt x="90" y="686"/>
                        <a:pt x="104" y="686"/>
                      </a:cubicBezTo>
                      <a:lnTo>
                        <a:pt x="104" y="686"/>
                      </a:lnTo>
                      <a:cubicBezTo>
                        <a:pt x="136" y="688"/>
                        <a:pt x="167" y="688"/>
                        <a:pt x="198" y="688"/>
                      </a:cubicBezTo>
                      <a:lnTo>
                        <a:pt x="198" y="688"/>
                      </a:lnTo>
                      <a:cubicBezTo>
                        <a:pt x="256" y="686"/>
                        <a:pt x="315" y="679"/>
                        <a:pt x="371" y="665"/>
                      </a:cubicBezTo>
                      <a:lnTo>
                        <a:pt x="371" y="665"/>
                      </a:lnTo>
                      <a:cubicBezTo>
                        <a:pt x="414" y="655"/>
                        <a:pt x="455" y="641"/>
                        <a:pt x="495" y="627"/>
                      </a:cubicBezTo>
                      <a:lnTo>
                        <a:pt x="495" y="627"/>
                      </a:lnTo>
                      <a:cubicBezTo>
                        <a:pt x="517" y="619"/>
                        <a:pt x="538" y="612"/>
                        <a:pt x="559" y="605"/>
                      </a:cubicBezTo>
                      <a:lnTo>
                        <a:pt x="559" y="605"/>
                      </a:lnTo>
                      <a:cubicBezTo>
                        <a:pt x="567" y="602"/>
                        <a:pt x="574" y="599"/>
                        <a:pt x="581" y="596"/>
                      </a:cubicBezTo>
                      <a:lnTo>
                        <a:pt x="581" y="596"/>
                      </a:lnTo>
                      <a:cubicBezTo>
                        <a:pt x="596" y="590"/>
                        <a:pt x="610" y="585"/>
                        <a:pt x="624" y="579"/>
                      </a:cubicBezTo>
                      <a:lnTo>
                        <a:pt x="624" y="579"/>
                      </a:lnTo>
                      <a:cubicBezTo>
                        <a:pt x="630" y="578"/>
                        <a:pt x="635" y="575"/>
                        <a:pt x="641" y="573"/>
                      </a:cubicBezTo>
                      <a:lnTo>
                        <a:pt x="641" y="573"/>
                      </a:lnTo>
                      <a:cubicBezTo>
                        <a:pt x="650" y="568"/>
                        <a:pt x="660" y="564"/>
                        <a:pt x="670" y="559"/>
                      </a:cubicBezTo>
                      <a:lnTo>
                        <a:pt x="670" y="559"/>
                      </a:lnTo>
                      <a:cubicBezTo>
                        <a:pt x="687" y="551"/>
                        <a:pt x="705" y="543"/>
                        <a:pt x="723" y="535"/>
                      </a:cubicBezTo>
                      <a:lnTo>
                        <a:pt x="723" y="535"/>
                      </a:lnTo>
                      <a:cubicBezTo>
                        <a:pt x="745" y="524"/>
                        <a:pt x="768" y="513"/>
                        <a:pt x="790" y="501"/>
                      </a:cubicBezTo>
                      <a:lnTo>
                        <a:pt x="790" y="501"/>
                      </a:lnTo>
                      <a:cubicBezTo>
                        <a:pt x="822" y="485"/>
                        <a:pt x="853" y="469"/>
                        <a:pt x="885" y="453"/>
                      </a:cubicBezTo>
                      <a:lnTo>
                        <a:pt x="885" y="453"/>
                      </a:lnTo>
                      <a:cubicBezTo>
                        <a:pt x="923" y="434"/>
                        <a:pt x="962" y="415"/>
                        <a:pt x="1000" y="396"/>
                      </a:cubicBezTo>
                      <a:lnTo>
                        <a:pt x="1000" y="396"/>
                      </a:lnTo>
                      <a:cubicBezTo>
                        <a:pt x="1015" y="388"/>
                        <a:pt x="1031" y="381"/>
                        <a:pt x="1045" y="373"/>
                      </a:cubicBezTo>
                      <a:lnTo>
                        <a:pt x="1045" y="373"/>
                      </a:lnTo>
                      <a:cubicBezTo>
                        <a:pt x="1068" y="361"/>
                        <a:pt x="1089" y="349"/>
                        <a:pt x="1112" y="337"/>
                      </a:cubicBezTo>
                      <a:lnTo>
                        <a:pt x="1112" y="337"/>
                      </a:lnTo>
                      <a:cubicBezTo>
                        <a:pt x="1116" y="335"/>
                        <a:pt x="1120" y="333"/>
                        <a:pt x="1124" y="330"/>
                      </a:cubicBezTo>
                      <a:lnTo>
                        <a:pt x="1124" y="330"/>
                      </a:lnTo>
                      <a:cubicBezTo>
                        <a:pt x="1136" y="323"/>
                        <a:pt x="1149" y="316"/>
                        <a:pt x="1161" y="308"/>
                      </a:cubicBezTo>
                      <a:lnTo>
                        <a:pt x="1161" y="308"/>
                      </a:lnTo>
                      <a:cubicBezTo>
                        <a:pt x="1176" y="299"/>
                        <a:pt x="1192" y="291"/>
                        <a:pt x="1207" y="281"/>
                      </a:cubicBezTo>
                      <a:lnTo>
                        <a:pt x="1207" y="281"/>
                      </a:lnTo>
                      <a:cubicBezTo>
                        <a:pt x="1225" y="269"/>
                        <a:pt x="1242" y="258"/>
                        <a:pt x="1260" y="246"/>
                      </a:cubicBezTo>
                      <a:lnTo>
                        <a:pt x="1260" y="246"/>
                      </a:lnTo>
                      <a:cubicBezTo>
                        <a:pt x="1270" y="239"/>
                        <a:pt x="1280" y="232"/>
                        <a:pt x="1291" y="224"/>
                      </a:cubicBezTo>
                      <a:lnTo>
                        <a:pt x="1291" y="224"/>
                      </a:lnTo>
                      <a:cubicBezTo>
                        <a:pt x="1306" y="213"/>
                        <a:pt x="1322" y="201"/>
                        <a:pt x="1337" y="190"/>
                      </a:cubicBezTo>
                      <a:lnTo>
                        <a:pt x="1337" y="190"/>
                      </a:lnTo>
                      <a:cubicBezTo>
                        <a:pt x="1350" y="180"/>
                        <a:pt x="1363" y="170"/>
                        <a:pt x="1376" y="161"/>
                      </a:cubicBezTo>
                      <a:lnTo>
                        <a:pt x="1376" y="161"/>
                      </a:lnTo>
                      <a:cubicBezTo>
                        <a:pt x="1429" y="119"/>
                        <a:pt x="1484" y="75"/>
                        <a:pt x="1538" y="33"/>
                      </a:cubicBezTo>
                      <a:lnTo>
                        <a:pt x="1538" y="33"/>
                      </a:lnTo>
                      <a:cubicBezTo>
                        <a:pt x="1546" y="27"/>
                        <a:pt x="1546" y="14"/>
                        <a:pt x="1540" y="7"/>
                      </a:cubicBezTo>
                      <a:lnTo>
                        <a:pt x="1540" y="7"/>
                      </a:lnTo>
                      <a:cubicBezTo>
                        <a:pt x="1536" y="3"/>
                        <a:pt x="1531" y="0"/>
                        <a:pt x="1526" y="0"/>
                      </a:cubicBezTo>
                      <a:lnTo>
                        <a:pt x="1526" y="0"/>
                      </a:lnTo>
                      <a:cubicBezTo>
                        <a:pt x="1522" y="0"/>
                        <a:pt x="1518" y="2"/>
                        <a:pt x="151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E737E55E-EBE9-6245-879E-16D4252C18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62475" y="4956175"/>
                  <a:ext cx="74613" cy="200025"/>
                </a:xfrm>
                <a:custGeom>
                  <a:avLst/>
                  <a:gdLst>
                    <a:gd name="T0" fmla="*/ 164 w 208"/>
                    <a:gd name="T1" fmla="*/ 70 h 557"/>
                    <a:gd name="T2" fmla="*/ 162 w 208"/>
                    <a:gd name="T3" fmla="*/ 72 h 557"/>
                    <a:gd name="T4" fmla="*/ 176 w 208"/>
                    <a:gd name="T5" fmla="*/ 4 h 557"/>
                    <a:gd name="T6" fmla="*/ 148 w 208"/>
                    <a:gd name="T7" fmla="*/ 33 h 557"/>
                    <a:gd name="T8" fmla="*/ 111 w 208"/>
                    <a:gd name="T9" fmla="*/ 77 h 557"/>
                    <a:gd name="T10" fmla="*/ 102 w 208"/>
                    <a:gd name="T11" fmla="*/ 92 h 557"/>
                    <a:gd name="T12" fmla="*/ 95 w 208"/>
                    <a:gd name="T13" fmla="*/ 104 h 557"/>
                    <a:gd name="T14" fmla="*/ 80 w 208"/>
                    <a:gd name="T15" fmla="*/ 135 h 557"/>
                    <a:gd name="T16" fmla="*/ 38 w 208"/>
                    <a:gd name="T17" fmla="*/ 245 h 557"/>
                    <a:gd name="T18" fmla="*/ 31 w 208"/>
                    <a:gd name="T19" fmla="*/ 270 h 557"/>
                    <a:gd name="T20" fmla="*/ 23 w 208"/>
                    <a:gd name="T21" fmla="*/ 300 h 557"/>
                    <a:gd name="T22" fmla="*/ 15 w 208"/>
                    <a:gd name="T23" fmla="*/ 334 h 557"/>
                    <a:gd name="T24" fmla="*/ 8 w 208"/>
                    <a:gd name="T25" fmla="*/ 367 h 557"/>
                    <a:gd name="T26" fmla="*/ 1 w 208"/>
                    <a:gd name="T27" fmla="*/ 424 h 557"/>
                    <a:gd name="T28" fmla="*/ 1 w 208"/>
                    <a:gd name="T29" fmla="*/ 480 h 557"/>
                    <a:gd name="T30" fmla="*/ 3 w 208"/>
                    <a:gd name="T31" fmla="*/ 508 h 557"/>
                    <a:gd name="T32" fmla="*/ 10 w 208"/>
                    <a:gd name="T33" fmla="*/ 540 h 557"/>
                    <a:gd name="T34" fmla="*/ 31 w 208"/>
                    <a:gd name="T35" fmla="*/ 554 h 557"/>
                    <a:gd name="T36" fmla="*/ 46 w 208"/>
                    <a:gd name="T37" fmla="*/ 533 h 557"/>
                    <a:gd name="T38" fmla="*/ 41 w 208"/>
                    <a:gd name="T39" fmla="*/ 510 h 557"/>
                    <a:gd name="T40" fmla="*/ 38 w 208"/>
                    <a:gd name="T41" fmla="*/ 487 h 557"/>
                    <a:gd name="T42" fmla="*/ 37 w 208"/>
                    <a:gd name="T43" fmla="*/ 474 h 557"/>
                    <a:gd name="T44" fmla="*/ 37 w 208"/>
                    <a:gd name="T45" fmla="*/ 454 h 557"/>
                    <a:gd name="T46" fmla="*/ 40 w 208"/>
                    <a:gd name="T47" fmla="*/ 418 h 557"/>
                    <a:gd name="T48" fmla="*/ 44 w 208"/>
                    <a:gd name="T49" fmla="*/ 378 h 557"/>
                    <a:gd name="T50" fmla="*/ 51 w 208"/>
                    <a:gd name="T51" fmla="*/ 343 h 557"/>
                    <a:gd name="T52" fmla="*/ 49 w 208"/>
                    <a:gd name="T53" fmla="*/ 348 h 557"/>
                    <a:gd name="T54" fmla="*/ 64 w 208"/>
                    <a:gd name="T55" fmla="*/ 289 h 557"/>
                    <a:gd name="T56" fmla="*/ 81 w 208"/>
                    <a:gd name="T57" fmla="*/ 233 h 557"/>
                    <a:gd name="T58" fmla="*/ 89 w 208"/>
                    <a:gd name="T59" fmla="*/ 209 h 557"/>
                    <a:gd name="T60" fmla="*/ 99 w 208"/>
                    <a:gd name="T61" fmla="*/ 185 h 557"/>
                    <a:gd name="T62" fmla="*/ 111 w 208"/>
                    <a:gd name="T63" fmla="*/ 157 h 557"/>
                    <a:gd name="T64" fmla="*/ 124 w 208"/>
                    <a:gd name="T65" fmla="*/ 130 h 557"/>
                    <a:gd name="T66" fmla="*/ 135 w 208"/>
                    <a:gd name="T67" fmla="*/ 110 h 557"/>
                    <a:gd name="T68" fmla="*/ 164 w 208"/>
                    <a:gd name="T69" fmla="*/ 70 h 557"/>
                    <a:gd name="T70" fmla="*/ 200 w 208"/>
                    <a:gd name="T71" fmla="*/ 33 h 557"/>
                    <a:gd name="T72" fmla="*/ 207 w 208"/>
                    <a:gd name="T73" fmla="*/ 20 h 557"/>
                    <a:gd name="T74" fmla="*/ 203 w 208"/>
                    <a:gd name="T75" fmla="*/ 6 h 557"/>
                    <a:gd name="T76" fmla="*/ 188 w 208"/>
                    <a:gd name="T77" fmla="*/ 0 h 557"/>
                    <a:gd name="T78" fmla="*/ 176 w 208"/>
                    <a:gd name="T79" fmla="*/ 4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08" h="557">
                      <a:moveTo>
                        <a:pt x="164" y="70"/>
                      </a:moveTo>
                      <a:lnTo>
                        <a:pt x="164" y="70"/>
                      </a:lnTo>
                      <a:cubicBezTo>
                        <a:pt x="163" y="71"/>
                        <a:pt x="162" y="71"/>
                        <a:pt x="162" y="72"/>
                      </a:cubicBezTo>
                      <a:lnTo>
                        <a:pt x="162" y="72"/>
                      </a:lnTo>
                      <a:cubicBezTo>
                        <a:pt x="162" y="71"/>
                        <a:pt x="163" y="71"/>
                        <a:pt x="164" y="70"/>
                      </a:cubicBezTo>
                      <a:close/>
                      <a:moveTo>
                        <a:pt x="176" y="4"/>
                      </a:moveTo>
                      <a:lnTo>
                        <a:pt x="176" y="4"/>
                      </a:lnTo>
                      <a:cubicBezTo>
                        <a:pt x="167" y="14"/>
                        <a:pt x="157" y="23"/>
                        <a:pt x="148" y="33"/>
                      </a:cubicBezTo>
                      <a:lnTo>
                        <a:pt x="148" y="33"/>
                      </a:lnTo>
                      <a:cubicBezTo>
                        <a:pt x="134" y="47"/>
                        <a:pt x="122" y="61"/>
                        <a:pt x="111" y="77"/>
                      </a:cubicBezTo>
                      <a:lnTo>
                        <a:pt x="111" y="77"/>
                      </a:lnTo>
                      <a:cubicBezTo>
                        <a:pt x="108" y="83"/>
                        <a:pt x="105" y="87"/>
                        <a:pt x="102" y="92"/>
                      </a:cubicBezTo>
                      <a:lnTo>
                        <a:pt x="102" y="92"/>
                      </a:lnTo>
                      <a:cubicBezTo>
                        <a:pt x="99" y="96"/>
                        <a:pt x="98" y="100"/>
                        <a:pt x="95" y="104"/>
                      </a:cubicBezTo>
                      <a:lnTo>
                        <a:pt x="95" y="104"/>
                      </a:lnTo>
                      <a:cubicBezTo>
                        <a:pt x="90" y="114"/>
                        <a:pt x="85" y="125"/>
                        <a:pt x="80" y="135"/>
                      </a:cubicBezTo>
                      <a:lnTo>
                        <a:pt x="80" y="135"/>
                      </a:lnTo>
                      <a:cubicBezTo>
                        <a:pt x="63" y="171"/>
                        <a:pt x="50" y="208"/>
                        <a:pt x="38" y="245"/>
                      </a:cubicBezTo>
                      <a:lnTo>
                        <a:pt x="38" y="245"/>
                      </a:lnTo>
                      <a:cubicBezTo>
                        <a:pt x="35" y="253"/>
                        <a:pt x="33" y="262"/>
                        <a:pt x="31" y="270"/>
                      </a:cubicBezTo>
                      <a:lnTo>
                        <a:pt x="31" y="270"/>
                      </a:lnTo>
                      <a:cubicBezTo>
                        <a:pt x="28" y="280"/>
                        <a:pt x="25" y="290"/>
                        <a:pt x="23" y="300"/>
                      </a:cubicBezTo>
                      <a:lnTo>
                        <a:pt x="23" y="300"/>
                      </a:lnTo>
                      <a:cubicBezTo>
                        <a:pt x="20" y="311"/>
                        <a:pt x="17" y="323"/>
                        <a:pt x="15" y="334"/>
                      </a:cubicBezTo>
                      <a:lnTo>
                        <a:pt x="15" y="334"/>
                      </a:lnTo>
                      <a:cubicBezTo>
                        <a:pt x="13" y="344"/>
                        <a:pt x="11" y="356"/>
                        <a:pt x="8" y="367"/>
                      </a:cubicBezTo>
                      <a:lnTo>
                        <a:pt x="8" y="367"/>
                      </a:lnTo>
                      <a:cubicBezTo>
                        <a:pt x="5" y="386"/>
                        <a:pt x="3" y="404"/>
                        <a:pt x="1" y="424"/>
                      </a:cubicBezTo>
                      <a:lnTo>
                        <a:pt x="1" y="424"/>
                      </a:lnTo>
                      <a:cubicBezTo>
                        <a:pt x="0" y="443"/>
                        <a:pt x="0" y="462"/>
                        <a:pt x="1" y="480"/>
                      </a:cubicBezTo>
                      <a:lnTo>
                        <a:pt x="1" y="480"/>
                      </a:lnTo>
                      <a:cubicBezTo>
                        <a:pt x="1" y="489"/>
                        <a:pt x="1" y="498"/>
                        <a:pt x="3" y="508"/>
                      </a:cubicBezTo>
                      <a:lnTo>
                        <a:pt x="3" y="508"/>
                      </a:lnTo>
                      <a:cubicBezTo>
                        <a:pt x="5" y="518"/>
                        <a:pt x="7" y="529"/>
                        <a:pt x="10" y="540"/>
                      </a:cubicBezTo>
                      <a:lnTo>
                        <a:pt x="10" y="540"/>
                      </a:lnTo>
                      <a:cubicBezTo>
                        <a:pt x="12" y="550"/>
                        <a:pt x="21" y="556"/>
                        <a:pt x="31" y="554"/>
                      </a:cubicBezTo>
                      <a:lnTo>
                        <a:pt x="31" y="554"/>
                      </a:lnTo>
                      <a:cubicBezTo>
                        <a:pt x="41" y="553"/>
                        <a:pt x="48" y="543"/>
                        <a:pt x="46" y="533"/>
                      </a:cubicBezTo>
                      <a:lnTo>
                        <a:pt x="46" y="533"/>
                      </a:lnTo>
                      <a:cubicBezTo>
                        <a:pt x="44" y="525"/>
                        <a:pt x="43" y="517"/>
                        <a:pt x="41" y="510"/>
                      </a:cubicBezTo>
                      <a:lnTo>
                        <a:pt x="41" y="510"/>
                      </a:lnTo>
                      <a:cubicBezTo>
                        <a:pt x="40" y="502"/>
                        <a:pt x="39" y="495"/>
                        <a:pt x="38" y="487"/>
                      </a:cubicBezTo>
                      <a:lnTo>
                        <a:pt x="38" y="487"/>
                      </a:lnTo>
                      <a:cubicBezTo>
                        <a:pt x="38" y="483"/>
                        <a:pt x="37" y="478"/>
                        <a:pt x="37" y="474"/>
                      </a:cubicBezTo>
                      <a:lnTo>
                        <a:pt x="37" y="474"/>
                      </a:lnTo>
                      <a:cubicBezTo>
                        <a:pt x="37" y="467"/>
                        <a:pt x="37" y="460"/>
                        <a:pt x="37" y="454"/>
                      </a:cubicBezTo>
                      <a:lnTo>
                        <a:pt x="37" y="454"/>
                      </a:lnTo>
                      <a:cubicBezTo>
                        <a:pt x="38" y="442"/>
                        <a:pt x="38" y="430"/>
                        <a:pt x="40" y="418"/>
                      </a:cubicBezTo>
                      <a:lnTo>
                        <a:pt x="40" y="418"/>
                      </a:lnTo>
                      <a:cubicBezTo>
                        <a:pt x="40" y="404"/>
                        <a:pt x="42" y="392"/>
                        <a:pt x="44" y="378"/>
                      </a:cubicBezTo>
                      <a:lnTo>
                        <a:pt x="44" y="378"/>
                      </a:lnTo>
                      <a:cubicBezTo>
                        <a:pt x="45" y="367"/>
                        <a:pt x="48" y="355"/>
                        <a:pt x="51" y="343"/>
                      </a:cubicBezTo>
                      <a:lnTo>
                        <a:pt x="51" y="343"/>
                      </a:lnTo>
                      <a:cubicBezTo>
                        <a:pt x="50" y="345"/>
                        <a:pt x="49" y="347"/>
                        <a:pt x="49" y="348"/>
                      </a:cubicBezTo>
                      <a:lnTo>
                        <a:pt x="49" y="348"/>
                      </a:lnTo>
                      <a:cubicBezTo>
                        <a:pt x="54" y="329"/>
                        <a:pt x="59" y="309"/>
                        <a:pt x="64" y="289"/>
                      </a:cubicBezTo>
                      <a:lnTo>
                        <a:pt x="64" y="289"/>
                      </a:lnTo>
                      <a:cubicBezTo>
                        <a:pt x="69" y="270"/>
                        <a:pt x="75" y="252"/>
                        <a:pt x="81" y="233"/>
                      </a:cubicBezTo>
                      <a:lnTo>
                        <a:pt x="81" y="233"/>
                      </a:lnTo>
                      <a:cubicBezTo>
                        <a:pt x="84" y="225"/>
                        <a:pt x="86" y="217"/>
                        <a:pt x="89" y="209"/>
                      </a:cubicBezTo>
                      <a:lnTo>
                        <a:pt x="89" y="209"/>
                      </a:lnTo>
                      <a:cubicBezTo>
                        <a:pt x="93" y="201"/>
                        <a:pt x="95" y="193"/>
                        <a:pt x="99" y="185"/>
                      </a:cubicBezTo>
                      <a:lnTo>
                        <a:pt x="99" y="185"/>
                      </a:lnTo>
                      <a:cubicBezTo>
                        <a:pt x="103" y="176"/>
                        <a:pt x="107" y="166"/>
                        <a:pt x="111" y="157"/>
                      </a:cubicBezTo>
                      <a:lnTo>
                        <a:pt x="111" y="157"/>
                      </a:lnTo>
                      <a:cubicBezTo>
                        <a:pt x="115" y="148"/>
                        <a:pt x="119" y="139"/>
                        <a:pt x="124" y="130"/>
                      </a:cubicBezTo>
                      <a:lnTo>
                        <a:pt x="124" y="130"/>
                      </a:lnTo>
                      <a:cubicBezTo>
                        <a:pt x="127" y="124"/>
                        <a:pt x="131" y="117"/>
                        <a:pt x="135" y="110"/>
                      </a:cubicBezTo>
                      <a:lnTo>
                        <a:pt x="135" y="110"/>
                      </a:lnTo>
                      <a:cubicBezTo>
                        <a:pt x="144" y="96"/>
                        <a:pt x="152" y="83"/>
                        <a:pt x="164" y="70"/>
                      </a:cubicBezTo>
                      <a:lnTo>
                        <a:pt x="164" y="70"/>
                      </a:lnTo>
                      <a:cubicBezTo>
                        <a:pt x="176" y="57"/>
                        <a:pt x="188" y="45"/>
                        <a:pt x="200" y="33"/>
                      </a:cubicBezTo>
                      <a:lnTo>
                        <a:pt x="200" y="33"/>
                      </a:lnTo>
                      <a:cubicBezTo>
                        <a:pt x="204" y="29"/>
                        <a:pt x="206" y="25"/>
                        <a:pt x="207" y="20"/>
                      </a:cubicBezTo>
                      <a:lnTo>
                        <a:pt x="207" y="20"/>
                      </a:lnTo>
                      <a:cubicBezTo>
                        <a:pt x="207" y="15"/>
                        <a:pt x="206" y="10"/>
                        <a:pt x="203" y="6"/>
                      </a:cubicBezTo>
                      <a:lnTo>
                        <a:pt x="203" y="6"/>
                      </a:lnTo>
                      <a:cubicBezTo>
                        <a:pt x="199" y="2"/>
                        <a:pt x="194" y="0"/>
                        <a:pt x="188" y="0"/>
                      </a:cubicBezTo>
                      <a:lnTo>
                        <a:pt x="188" y="0"/>
                      </a:lnTo>
                      <a:cubicBezTo>
                        <a:pt x="184" y="0"/>
                        <a:pt x="179" y="1"/>
                        <a:pt x="17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F2E27D1C-2675-B246-9DAC-A08790CCD9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6925" y="4948238"/>
                  <a:ext cx="61913" cy="100012"/>
                </a:xfrm>
                <a:custGeom>
                  <a:avLst/>
                  <a:gdLst>
                    <a:gd name="T0" fmla="*/ 137 w 174"/>
                    <a:gd name="T1" fmla="*/ 8 h 276"/>
                    <a:gd name="T2" fmla="*/ 137 w 174"/>
                    <a:gd name="T3" fmla="*/ 8 h 276"/>
                    <a:gd name="T4" fmla="*/ 94 w 174"/>
                    <a:gd name="T5" fmla="*/ 67 h 276"/>
                    <a:gd name="T6" fmla="*/ 94 w 174"/>
                    <a:gd name="T7" fmla="*/ 67 h 276"/>
                    <a:gd name="T8" fmla="*/ 60 w 174"/>
                    <a:gd name="T9" fmla="*/ 120 h 276"/>
                    <a:gd name="T10" fmla="*/ 60 w 174"/>
                    <a:gd name="T11" fmla="*/ 120 h 276"/>
                    <a:gd name="T12" fmla="*/ 30 w 174"/>
                    <a:gd name="T13" fmla="*/ 178 h 276"/>
                    <a:gd name="T14" fmla="*/ 30 w 174"/>
                    <a:gd name="T15" fmla="*/ 178 h 276"/>
                    <a:gd name="T16" fmla="*/ 3 w 174"/>
                    <a:gd name="T17" fmla="*/ 248 h 276"/>
                    <a:gd name="T18" fmla="*/ 3 w 174"/>
                    <a:gd name="T19" fmla="*/ 248 h 276"/>
                    <a:gd name="T20" fmla="*/ 14 w 174"/>
                    <a:gd name="T21" fmla="*/ 272 h 276"/>
                    <a:gd name="T22" fmla="*/ 14 w 174"/>
                    <a:gd name="T23" fmla="*/ 272 h 276"/>
                    <a:gd name="T24" fmla="*/ 38 w 174"/>
                    <a:gd name="T25" fmla="*/ 261 h 276"/>
                    <a:gd name="T26" fmla="*/ 38 w 174"/>
                    <a:gd name="T27" fmla="*/ 261 h 276"/>
                    <a:gd name="T28" fmla="*/ 60 w 174"/>
                    <a:gd name="T29" fmla="*/ 204 h 276"/>
                    <a:gd name="T30" fmla="*/ 60 w 174"/>
                    <a:gd name="T31" fmla="*/ 204 h 276"/>
                    <a:gd name="T32" fmla="*/ 80 w 174"/>
                    <a:gd name="T33" fmla="*/ 161 h 276"/>
                    <a:gd name="T34" fmla="*/ 80 w 174"/>
                    <a:gd name="T35" fmla="*/ 161 h 276"/>
                    <a:gd name="T36" fmla="*/ 95 w 174"/>
                    <a:gd name="T37" fmla="*/ 134 h 276"/>
                    <a:gd name="T38" fmla="*/ 95 w 174"/>
                    <a:gd name="T39" fmla="*/ 134 h 276"/>
                    <a:gd name="T40" fmla="*/ 105 w 174"/>
                    <a:gd name="T41" fmla="*/ 116 h 276"/>
                    <a:gd name="T42" fmla="*/ 105 w 174"/>
                    <a:gd name="T43" fmla="*/ 116 h 276"/>
                    <a:gd name="T44" fmla="*/ 117 w 174"/>
                    <a:gd name="T45" fmla="*/ 100 h 276"/>
                    <a:gd name="T46" fmla="*/ 117 w 174"/>
                    <a:gd name="T47" fmla="*/ 100 h 276"/>
                    <a:gd name="T48" fmla="*/ 167 w 174"/>
                    <a:gd name="T49" fmla="*/ 30 h 276"/>
                    <a:gd name="T50" fmla="*/ 167 w 174"/>
                    <a:gd name="T51" fmla="*/ 30 h 276"/>
                    <a:gd name="T52" fmla="*/ 163 w 174"/>
                    <a:gd name="T53" fmla="*/ 4 h 276"/>
                    <a:gd name="T54" fmla="*/ 163 w 174"/>
                    <a:gd name="T55" fmla="*/ 4 h 276"/>
                    <a:gd name="T56" fmla="*/ 152 w 174"/>
                    <a:gd name="T57" fmla="*/ 0 h 276"/>
                    <a:gd name="T58" fmla="*/ 152 w 174"/>
                    <a:gd name="T59" fmla="*/ 0 h 276"/>
                    <a:gd name="T60" fmla="*/ 137 w 174"/>
                    <a:gd name="T61" fmla="*/ 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4" h="276">
                      <a:moveTo>
                        <a:pt x="137" y="8"/>
                      </a:moveTo>
                      <a:lnTo>
                        <a:pt x="137" y="8"/>
                      </a:lnTo>
                      <a:cubicBezTo>
                        <a:pt x="123" y="27"/>
                        <a:pt x="108" y="47"/>
                        <a:pt x="94" y="67"/>
                      </a:cubicBezTo>
                      <a:lnTo>
                        <a:pt x="94" y="67"/>
                      </a:lnTo>
                      <a:cubicBezTo>
                        <a:pt x="83" y="84"/>
                        <a:pt x="70" y="102"/>
                        <a:pt x="60" y="120"/>
                      </a:cubicBezTo>
                      <a:lnTo>
                        <a:pt x="60" y="120"/>
                      </a:lnTo>
                      <a:cubicBezTo>
                        <a:pt x="49" y="140"/>
                        <a:pt x="38" y="158"/>
                        <a:pt x="30" y="178"/>
                      </a:cubicBezTo>
                      <a:lnTo>
                        <a:pt x="30" y="178"/>
                      </a:lnTo>
                      <a:cubicBezTo>
                        <a:pt x="20" y="201"/>
                        <a:pt x="12" y="225"/>
                        <a:pt x="3" y="248"/>
                      </a:cubicBezTo>
                      <a:lnTo>
                        <a:pt x="3" y="248"/>
                      </a:lnTo>
                      <a:cubicBezTo>
                        <a:pt x="0" y="258"/>
                        <a:pt x="4" y="269"/>
                        <a:pt x="14" y="272"/>
                      </a:cubicBezTo>
                      <a:lnTo>
                        <a:pt x="14" y="272"/>
                      </a:lnTo>
                      <a:cubicBezTo>
                        <a:pt x="24" y="275"/>
                        <a:pt x="34" y="271"/>
                        <a:pt x="38" y="261"/>
                      </a:cubicBezTo>
                      <a:lnTo>
                        <a:pt x="38" y="261"/>
                      </a:lnTo>
                      <a:cubicBezTo>
                        <a:pt x="45" y="242"/>
                        <a:pt x="52" y="223"/>
                        <a:pt x="60" y="204"/>
                      </a:cubicBezTo>
                      <a:lnTo>
                        <a:pt x="60" y="204"/>
                      </a:lnTo>
                      <a:cubicBezTo>
                        <a:pt x="65" y="190"/>
                        <a:pt x="73" y="175"/>
                        <a:pt x="80" y="161"/>
                      </a:cubicBezTo>
                      <a:lnTo>
                        <a:pt x="80" y="161"/>
                      </a:lnTo>
                      <a:cubicBezTo>
                        <a:pt x="85" y="152"/>
                        <a:pt x="90" y="142"/>
                        <a:pt x="95" y="134"/>
                      </a:cubicBezTo>
                      <a:lnTo>
                        <a:pt x="95" y="134"/>
                      </a:lnTo>
                      <a:cubicBezTo>
                        <a:pt x="99" y="128"/>
                        <a:pt x="102" y="122"/>
                        <a:pt x="105" y="116"/>
                      </a:cubicBezTo>
                      <a:lnTo>
                        <a:pt x="105" y="116"/>
                      </a:lnTo>
                      <a:cubicBezTo>
                        <a:pt x="109" y="110"/>
                        <a:pt x="113" y="106"/>
                        <a:pt x="117" y="100"/>
                      </a:cubicBezTo>
                      <a:lnTo>
                        <a:pt x="117" y="100"/>
                      </a:lnTo>
                      <a:cubicBezTo>
                        <a:pt x="133" y="76"/>
                        <a:pt x="150" y="53"/>
                        <a:pt x="167" y="30"/>
                      </a:cubicBezTo>
                      <a:lnTo>
                        <a:pt x="167" y="30"/>
                      </a:lnTo>
                      <a:cubicBezTo>
                        <a:pt x="173" y="21"/>
                        <a:pt x="171" y="9"/>
                        <a:pt x="163" y="4"/>
                      </a:cubicBezTo>
                      <a:lnTo>
                        <a:pt x="163" y="4"/>
                      </a:lnTo>
                      <a:cubicBezTo>
                        <a:pt x="159" y="2"/>
                        <a:pt x="155" y="0"/>
                        <a:pt x="152" y="0"/>
                      </a:cubicBezTo>
                      <a:lnTo>
                        <a:pt x="152" y="0"/>
                      </a:lnTo>
                      <a:cubicBezTo>
                        <a:pt x="146" y="0"/>
                        <a:pt x="140" y="3"/>
                        <a:pt x="137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19E94D4-E707-9B44-8366-32262C324D55}"/>
                  </a:ext>
                </a:extLst>
              </p:cNvPr>
              <p:cNvGrpSpPr/>
              <p:nvPr/>
            </p:nvGrpSpPr>
            <p:grpSpPr>
              <a:xfrm>
                <a:off x="2132700" y="4172996"/>
                <a:ext cx="223518" cy="340897"/>
                <a:chOff x="5032375" y="5740400"/>
                <a:chExt cx="284163" cy="433388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114" name="Freeform 108">
                  <a:extLst>
                    <a:ext uri="{FF2B5EF4-FFF2-40B4-BE49-F238E27FC236}">
                      <a16:creationId xmlns:a16="http://schemas.microsoft.com/office/drawing/2014/main" id="{471BB393-D798-AF41-8BF4-D34DD0B8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5740400"/>
                  <a:ext cx="44450" cy="433388"/>
                </a:xfrm>
                <a:custGeom>
                  <a:avLst/>
                  <a:gdLst>
                    <a:gd name="T0" fmla="*/ 8 w 125"/>
                    <a:gd name="T1" fmla="*/ 1149 h 1205"/>
                    <a:gd name="T2" fmla="*/ 8 w 125"/>
                    <a:gd name="T3" fmla="*/ 1153 h 1205"/>
                    <a:gd name="T4" fmla="*/ 67 w 125"/>
                    <a:gd name="T5" fmla="*/ 26 h 1205"/>
                    <a:gd name="T6" fmla="*/ 48 w 125"/>
                    <a:gd name="T7" fmla="*/ 195 h 1205"/>
                    <a:gd name="T8" fmla="*/ 31 w 125"/>
                    <a:gd name="T9" fmla="*/ 366 h 1205"/>
                    <a:gd name="T10" fmla="*/ 19 w 125"/>
                    <a:gd name="T11" fmla="*/ 490 h 1205"/>
                    <a:gd name="T12" fmla="*/ 18 w 125"/>
                    <a:gd name="T13" fmla="*/ 511 h 1205"/>
                    <a:gd name="T14" fmla="*/ 14 w 125"/>
                    <a:gd name="T15" fmla="*/ 583 h 1205"/>
                    <a:gd name="T16" fmla="*/ 5 w 125"/>
                    <a:gd name="T17" fmla="*/ 744 h 1205"/>
                    <a:gd name="T18" fmla="*/ 2 w 125"/>
                    <a:gd name="T19" fmla="*/ 849 h 1205"/>
                    <a:gd name="T20" fmla="*/ 4 w 125"/>
                    <a:gd name="T21" fmla="*/ 1083 h 1205"/>
                    <a:gd name="T22" fmla="*/ 8 w 125"/>
                    <a:gd name="T23" fmla="*/ 1153 h 1205"/>
                    <a:gd name="T24" fmla="*/ 12 w 125"/>
                    <a:gd name="T25" fmla="*/ 1182 h 1205"/>
                    <a:gd name="T26" fmla="*/ 23 w 125"/>
                    <a:gd name="T27" fmla="*/ 1197 h 1205"/>
                    <a:gd name="T28" fmla="*/ 34 w 125"/>
                    <a:gd name="T29" fmla="*/ 1202 h 1205"/>
                    <a:gd name="T30" fmla="*/ 48 w 125"/>
                    <a:gd name="T31" fmla="*/ 1203 h 1205"/>
                    <a:gd name="T32" fmla="*/ 66 w 125"/>
                    <a:gd name="T33" fmla="*/ 1192 h 1205"/>
                    <a:gd name="T34" fmla="*/ 74 w 125"/>
                    <a:gd name="T35" fmla="*/ 1175 h 1205"/>
                    <a:gd name="T36" fmla="*/ 62 w 125"/>
                    <a:gd name="T37" fmla="*/ 1143 h 1205"/>
                    <a:gd name="T38" fmla="*/ 61 w 125"/>
                    <a:gd name="T39" fmla="*/ 1118 h 1205"/>
                    <a:gd name="T40" fmla="*/ 57 w 125"/>
                    <a:gd name="T41" fmla="*/ 1006 h 1205"/>
                    <a:gd name="T42" fmla="*/ 57 w 125"/>
                    <a:gd name="T43" fmla="*/ 891 h 1205"/>
                    <a:gd name="T44" fmla="*/ 58 w 125"/>
                    <a:gd name="T45" fmla="*/ 807 h 1205"/>
                    <a:gd name="T46" fmla="*/ 59 w 125"/>
                    <a:gd name="T47" fmla="*/ 761 h 1205"/>
                    <a:gd name="T48" fmla="*/ 67 w 125"/>
                    <a:gd name="T49" fmla="*/ 632 h 1205"/>
                    <a:gd name="T50" fmla="*/ 75 w 125"/>
                    <a:gd name="T51" fmla="*/ 499 h 1205"/>
                    <a:gd name="T52" fmla="*/ 77 w 125"/>
                    <a:gd name="T53" fmla="*/ 477 h 1205"/>
                    <a:gd name="T54" fmla="*/ 83 w 125"/>
                    <a:gd name="T55" fmla="*/ 411 h 1205"/>
                    <a:gd name="T56" fmla="*/ 100 w 125"/>
                    <a:gd name="T57" fmla="*/ 235 h 1205"/>
                    <a:gd name="T58" fmla="*/ 112 w 125"/>
                    <a:gd name="T59" fmla="*/ 117 h 1205"/>
                    <a:gd name="T60" fmla="*/ 122 w 125"/>
                    <a:gd name="T61" fmla="*/ 30 h 1205"/>
                    <a:gd name="T62" fmla="*/ 97 w 125"/>
                    <a:gd name="T63" fmla="*/ 0 h 1205"/>
                    <a:gd name="T64" fmla="*/ 95 w 125"/>
                    <a:gd name="T65" fmla="*/ 0 h 1205"/>
                    <a:gd name="T66" fmla="*/ 67 w 125"/>
                    <a:gd name="T67" fmla="*/ 26 h 1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5" h="1205">
                      <a:moveTo>
                        <a:pt x="8" y="1149"/>
                      </a:moveTo>
                      <a:lnTo>
                        <a:pt x="8" y="1149"/>
                      </a:lnTo>
                      <a:cubicBezTo>
                        <a:pt x="8" y="1150"/>
                        <a:pt x="8" y="1151"/>
                        <a:pt x="8" y="1153"/>
                      </a:cubicBezTo>
                      <a:lnTo>
                        <a:pt x="8" y="1153"/>
                      </a:lnTo>
                      <a:cubicBezTo>
                        <a:pt x="8" y="1151"/>
                        <a:pt x="8" y="1150"/>
                        <a:pt x="8" y="1149"/>
                      </a:cubicBezTo>
                      <a:close/>
                      <a:moveTo>
                        <a:pt x="67" y="26"/>
                      </a:moveTo>
                      <a:lnTo>
                        <a:pt x="67" y="26"/>
                      </a:lnTo>
                      <a:cubicBezTo>
                        <a:pt x="60" y="82"/>
                        <a:pt x="53" y="139"/>
                        <a:pt x="48" y="195"/>
                      </a:cubicBezTo>
                      <a:lnTo>
                        <a:pt x="48" y="195"/>
                      </a:lnTo>
                      <a:cubicBezTo>
                        <a:pt x="42" y="252"/>
                        <a:pt x="37" y="309"/>
                        <a:pt x="31" y="366"/>
                      </a:cubicBezTo>
                      <a:lnTo>
                        <a:pt x="31" y="366"/>
                      </a:lnTo>
                      <a:cubicBezTo>
                        <a:pt x="27" y="407"/>
                        <a:pt x="24" y="449"/>
                        <a:pt x="19" y="490"/>
                      </a:cubicBezTo>
                      <a:lnTo>
                        <a:pt x="19" y="490"/>
                      </a:lnTo>
                      <a:cubicBezTo>
                        <a:pt x="19" y="497"/>
                        <a:pt x="19" y="504"/>
                        <a:pt x="18" y="511"/>
                      </a:cubicBezTo>
                      <a:lnTo>
                        <a:pt x="18" y="511"/>
                      </a:lnTo>
                      <a:cubicBezTo>
                        <a:pt x="17" y="535"/>
                        <a:pt x="16" y="559"/>
                        <a:pt x="14" y="583"/>
                      </a:cubicBezTo>
                      <a:lnTo>
                        <a:pt x="14" y="583"/>
                      </a:lnTo>
                      <a:cubicBezTo>
                        <a:pt x="11" y="637"/>
                        <a:pt x="8" y="690"/>
                        <a:pt x="5" y="744"/>
                      </a:cubicBezTo>
                      <a:lnTo>
                        <a:pt x="5" y="744"/>
                      </a:lnTo>
                      <a:cubicBezTo>
                        <a:pt x="3" y="778"/>
                        <a:pt x="3" y="814"/>
                        <a:pt x="2" y="849"/>
                      </a:cubicBezTo>
                      <a:lnTo>
                        <a:pt x="2" y="849"/>
                      </a:lnTo>
                      <a:cubicBezTo>
                        <a:pt x="0" y="927"/>
                        <a:pt x="0" y="1005"/>
                        <a:pt x="4" y="1083"/>
                      </a:cubicBezTo>
                      <a:lnTo>
                        <a:pt x="4" y="1083"/>
                      </a:lnTo>
                      <a:cubicBezTo>
                        <a:pt x="6" y="1107"/>
                        <a:pt x="7" y="1130"/>
                        <a:pt x="8" y="1153"/>
                      </a:cubicBezTo>
                      <a:lnTo>
                        <a:pt x="8" y="1153"/>
                      </a:lnTo>
                      <a:cubicBezTo>
                        <a:pt x="8" y="1163"/>
                        <a:pt x="7" y="1173"/>
                        <a:pt x="12" y="1182"/>
                      </a:cubicBezTo>
                      <a:lnTo>
                        <a:pt x="12" y="1182"/>
                      </a:lnTo>
                      <a:cubicBezTo>
                        <a:pt x="14" y="1187"/>
                        <a:pt x="17" y="1194"/>
                        <a:pt x="23" y="1197"/>
                      </a:cubicBezTo>
                      <a:lnTo>
                        <a:pt x="23" y="1197"/>
                      </a:lnTo>
                      <a:cubicBezTo>
                        <a:pt x="26" y="1198"/>
                        <a:pt x="29" y="1201"/>
                        <a:pt x="34" y="1202"/>
                      </a:cubicBezTo>
                      <a:lnTo>
                        <a:pt x="34" y="1202"/>
                      </a:lnTo>
                      <a:cubicBezTo>
                        <a:pt x="38" y="1204"/>
                        <a:pt x="43" y="1204"/>
                        <a:pt x="48" y="1203"/>
                      </a:cubicBezTo>
                      <a:lnTo>
                        <a:pt x="48" y="1203"/>
                      </a:lnTo>
                      <a:cubicBezTo>
                        <a:pt x="56" y="1201"/>
                        <a:pt x="61" y="1197"/>
                        <a:pt x="66" y="1192"/>
                      </a:cubicBezTo>
                      <a:lnTo>
                        <a:pt x="66" y="1192"/>
                      </a:lnTo>
                      <a:cubicBezTo>
                        <a:pt x="70" y="1187"/>
                        <a:pt x="72" y="1181"/>
                        <a:pt x="74" y="1175"/>
                      </a:cubicBezTo>
                      <a:lnTo>
                        <a:pt x="74" y="1175"/>
                      </a:lnTo>
                      <a:cubicBezTo>
                        <a:pt x="77" y="1162"/>
                        <a:pt x="73" y="1150"/>
                        <a:pt x="62" y="1143"/>
                      </a:cubicBezTo>
                      <a:lnTo>
                        <a:pt x="62" y="1143"/>
                      </a:lnTo>
                      <a:cubicBezTo>
                        <a:pt x="62" y="1134"/>
                        <a:pt x="62" y="1126"/>
                        <a:pt x="61" y="1118"/>
                      </a:cubicBezTo>
                      <a:lnTo>
                        <a:pt x="61" y="1118"/>
                      </a:lnTo>
                      <a:cubicBezTo>
                        <a:pt x="59" y="1081"/>
                        <a:pt x="57" y="1043"/>
                        <a:pt x="57" y="1006"/>
                      </a:cubicBezTo>
                      <a:lnTo>
                        <a:pt x="57" y="1006"/>
                      </a:lnTo>
                      <a:cubicBezTo>
                        <a:pt x="57" y="968"/>
                        <a:pt x="55" y="930"/>
                        <a:pt x="57" y="891"/>
                      </a:cubicBezTo>
                      <a:lnTo>
                        <a:pt x="57" y="891"/>
                      </a:lnTo>
                      <a:cubicBezTo>
                        <a:pt x="57" y="863"/>
                        <a:pt x="58" y="835"/>
                        <a:pt x="58" y="807"/>
                      </a:cubicBezTo>
                      <a:lnTo>
                        <a:pt x="58" y="807"/>
                      </a:lnTo>
                      <a:cubicBezTo>
                        <a:pt x="59" y="791"/>
                        <a:pt x="59" y="777"/>
                        <a:pt x="59" y="761"/>
                      </a:cubicBezTo>
                      <a:lnTo>
                        <a:pt x="59" y="761"/>
                      </a:lnTo>
                      <a:cubicBezTo>
                        <a:pt x="62" y="718"/>
                        <a:pt x="65" y="675"/>
                        <a:pt x="67" y="632"/>
                      </a:cubicBezTo>
                      <a:lnTo>
                        <a:pt x="67" y="632"/>
                      </a:lnTo>
                      <a:cubicBezTo>
                        <a:pt x="69" y="587"/>
                        <a:pt x="72" y="544"/>
                        <a:pt x="75" y="499"/>
                      </a:cubicBezTo>
                      <a:lnTo>
                        <a:pt x="75" y="499"/>
                      </a:lnTo>
                      <a:cubicBezTo>
                        <a:pt x="75" y="492"/>
                        <a:pt x="77" y="484"/>
                        <a:pt x="77" y="477"/>
                      </a:cubicBezTo>
                      <a:lnTo>
                        <a:pt x="77" y="477"/>
                      </a:lnTo>
                      <a:cubicBezTo>
                        <a:pt x="79" y="455"/>
                        <a:pt x="81" y="434"/>
                        <a:pt x="83" y="411"/>
                      </a:cubicBezTo>
                      <a:lnTo>
                        <a:pt x="83" y="411"/>
                      </a:lnTo>
                      <a:cubicBezTo>
                        <a:pt x="89" y="353"/>
                        <a:pt x="94" y="294"/>
                        <a:pt x="100" y="235"/>
                      </a:cubicBezTo>
                      <a:lnTo>
                        <a:pt x="100" y="235"/>
                      </a:lnTo>
                      <a:cubicBezTo>
                        <a:pt x="104" y="195"/>
                        <a:pt x="107" y="156"/>
                        <a:pt x="112" y="117"/>
                      </a:cubicBezTo>
                      <a:lnTo>
                        <a:pt x="112" y="117"/>
                      </a:lnTo>
                      <a:cubicBezTo>
                        <a:pt x="115" y="88"/>
                        <a:pt x="119" y="59"/>
                        <a:pt x="122" y="30"/>
                      </a:cubicBezTo>
                      <a:lnTo>
                        <a:pt x="122" y="30"/>
                      </a:lnTo>
                      <a:cubicBezTo>
                        <a:pt x="124" y="16"/>
                        <a:pt x="112" y="1"/>
                        <a:pt x="97" y="0"/>
                      </a:cubicBezTo>
                      <a:lnTo>
                        <a:pt x="97" y="0"/>
                      </a:lnTo>
                      <a:lnTo>
                        <a:pt x="95" y="0"/>
                      </a:lnTo>
                      <a:lnTo>
                        <a:pt x="95" y="0"/>
                      </a:lnTo>
                      <a:cubicBezTo>
                        <a:pt x="80" y="0"/>
                        <a:pt x="69" y="11"/>
                        <a:pt x="67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109">
                  <a:extLst>
                    <a:ext uri="{FF2B5EF4-FFF2-40B4-BE49-F238E27FC236}">
                      <a16:creationId xmlns:a16="http://schemas.microsoft.com/office/drawing/2014/main" id="{226B7AF0-4660-6047-A008-72A3A23D16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32375" y="5956300"/>
                  <a:ext cx="284163" cy="30163"/>
                </a:xfrm>
                <a:custGeom>
                  <a:avLst/>
                  <a:gdLst>
                    <a:gd name="T0" fmla="*/ 1 w 788"/>
                    <a:gd name="T1" fmla="*/ 26 h 82"/>
                    <a:gd name="T2" fmla="*/ 1 w 788"/>
                    <a:gd name="T3" fmla="*/ 26 h 82"/>
                    <a:gd name="T4" fmla="*/ 27 w 788"/>
                    <a:gd name="T5" fmla="*/ 56 h 82"/>
                    <a:gd name="T6" fmla="*/ 27 w 788"/>
                    <a:gd name="T7" fmla="*/ 56 h 82"/>
                    <a:gd name="T8" fmla="*/ 205 w 788"/>
                    <a:gd name="T9" fmla="*/ 63 h 82"/>
                    <a:gd name="T10" fmla="*/ 205 w 788"/>
                    <a:gd name="T11" fmla="*/ 63 h 82"/>
                    <a:gd name="T12" fmla="*/ 293 w 788"/>
                    <a:gd name="T13" fmla="*/ 66 h 82"/>
                    <a:gd name="T14" fmla="*/ 293 w 788"/>
                    <a:gd name="T15" fmla="*/ 66 h 82"/>
                    <a:gd name="T16" fmla="*/ 333 w 788"/>
                    <a:gd name="T17" fmla="*/ 68 h 82"/>
                    <a:gd name="T18" fmla="*/ 333 w 788"/>
                    <a:gd name="T19" fmla="*/ 68 h 82"/>
                    <a:gd name="T20" fmla="*/ 589 w 788"/>
                    <a:gd name="T21" fmla="*/ 73 h 82"/>
                    <a:gd name="T22" fmla="*/ 589 w 788"/>
                    <a:gd name="T23" fmla="*/ 73 h 82"/>
                    <a:gd name="T24" fmla="*/ 755 w 788"/>
                    <a:gd name="T25" fmla="*/ 79 h 82"/>
                    <a:gd name="T26" fmla="*/ 755 w 788"/>
                    <a:gd name="T27" fmla="*/ 79 h 82"/>
                    <a:gd name="T28" fmla="*/ 785 w 788"/>
                    <a:gd name="T29" fmla="*/ 54 h 82"/>
                    <a:gd name="T30" fmla="*/ 785 w 788"/>
                    <a:gd name="T31" fmla="*/ 54 h 82"/>
                    <a:gd name="T32" fmla="*/ 760 w 788"/>
                    <a:gd name="T33" fmla="*/ 24 h 82"/>
                    <a:gd name="T34" fmla="*/ 760 w 788"/>
                    <a:gd name="T35" fmla="*/ 24 h 82"/>
                    <a:gd name="T36" fmla="*/ 502 w 788"/>
                    <a:gd name="T37" fmla="*/ 16 h 82"/>
                    <a:gd name="T38" fmla="*/ 502 w 788"/>
                    <a:gd name="T39" fmla="*/ 16 h 82"/>
                    <a:gd name="T40" fmla="*/ 367 w 788"/>
                    <a:gd name="T41" fmla="*/ 13 h 82"/>
                    <a:gd name="T42" fmla="*/ 367 w 788"/>
                    <a:gd name="T43" fmla="*/ 13 h 82"/>
                    <a:gd name="T44" fmla="*/ 271 w 788"/>
                    <a:gd name="T45" fmla="*/ 10 h 82"/>
                    <a:gd name="T46" fmla="*/ 271 w 788"/>
                    <a:gd name="T47" fmla="*/ 10 h 82"/>
                    <a:gd name="T48" fmla="*/ 31 w 788"/>
                    <a:gd name="T49" fmla="*/ 0 h 82"/>
                    <a:gd name="T50" fmla="*/ 31 w 788"/>
                    <a:gd name="T51" fmla="*/ 0 h 82"/>
                    <a:gd name="T52" fmla="*/ 30 w 788"/>
                    <a:gd name="T53" fmla="*/ 0 h 82"/>
                    <a:gd name="T54" fmla="*/ 30 w 788"/>
                    <a:gd name="T55" fmla="*/ 0 h 82"/>
                    <a:gd name="T56" fmla="*/ 1 w 788"/>
                    <a:gd name="T57" fmla="*/ 26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88" h="8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0"/>
                        <a:pt x="12" y="54"/>
                        <a:pt x="27" y="56"/>
                      </a:cubicBezTo>
                      <a:lnTo>
                        <a:pt x="27" y="56"/>
                      </a:lnTo>
                      <a:cubicBezTo>
                        <a:pt x="87" y="58"/>
                        <a:pt x="145" y="61"/>
                        <a:pt x="205" y="63"/>
                      </a:cubicBezTo>
                      <a:lnTo>
                        <a:pt x="205" y="63"/>
                      </a:lnTo>
                      <a:cubicBezTo>
                        <a:pt x="234" y="64"/>
                        <a:pt x="263" y="65"/>
                        <a:pt x="293" y="66"/>
                      </a:cubicBezTo>
                      <a:lnTo>
                        <a:pt x="293" y="66"/>
                      </a:lnTo>
                      <a:cubicBezTo>
                        <a:pt x="306" y="67"/>
                        <a:pt x="320" y="67"/>
                        <a:pt x="333" y="68"/>
                      </a:cubicBezTo>
                      <a:lnTo>
                        <a:pt x="333" y="68"/>
                      </a:lnTo>
                      <a:cubicBezTo>
                        <a:pt x="418" y="69"/>
                        <a:pt x="503" y="71"/>
                        <a:pt x="589" y="73"/>
                      </a:cubicBezTo>
                      <a:lnTo>
                        <a:pt x="589" y="73"/>
                      </a:lnTo>
                      <a:cubicBezTo>
                        <a:pt x="644" y="74"/>
                        <a:pt x="700" y="76"/>
                        <a:pt x="755" y="79"/>
                      </a:cubicBezTo>
                      <a:lnTo>
                        <a:pt x="755" y="79"/>
                      </a:lnTo>
                      <a:cubicBezTo>
                        <a:pt x="771" y="81"/>
                        <a:pt x="784" y="69"/>
                        <a:pt x="785" y="54"/>
                      </a:cubicBezTo>
                      <a:lnTo>
                        <a:pt x="785" y="54"/>
                      </a:lnTo>
                      <a:cubicBezTo>
                        <a:pt x="787" y="39"/>
                        <a:pt x="775" y="25"/>
                        <a:pt x="760" y="24"/>
                      </a:cubicBezTo>
                      <a:lnTo>
                        <a:pt x="760" y="24"/>
                      </a:lnTo>
                      <a:cubicBezTo>
                        <a:pt x="674" y="18"/>
                        <a:pt x="588" y="17"/>
                        <a:pt x="502" y="16"/>
                      </a:cubicBezTo>
                      <a:lnTo>
                        <a:pt x="502" y="16"/>
                      </a:lnTo>
                      <a:cubicBezTo>
                        <a:pt x="457" y="14"/>
                        <a:pt x="412" y="14"/>
                        <a:pt x="367" y="13"/>
                      </a:cubicBezTo>
                      <a:lnTo>
                        <a:pt x="367" y="13"/>
                      </a:lnTo>
                      <a:cubicBezTo>
                        <a:pt x="335" y="12"/>
                        <a:pt x="303" y="11"/>
                        <a:pt x="271" y="10"/>
                      </a:cubicBezTo>
                      <a:lnTo>
                        <a:pt x="271" y="10"/>
                      </a:lnTo>
                      <a:cubicBezTo>
                        <a:pt x="191" y="7"/>
                        <a:pt x="111" y="4"/>
                        <a:pt x="31" y="0"/>
                      </a:cubicBezTo>
                      <a:lnTo>
                        <a:pt x="31" y="0"/>
                      </a:lnTo>
                      <a:cubicBezTo>
                        <a:pt x="31" y="0"/>
                        <a:pt x="31" y="0"/>
                        <a:pt x="30" y="0"/>
                      </a:cubicBezTo>
                      <a:lnTo>
                        <a:pt x="30" y="0"/>
                      </a:lnTo>
                      <a:cubicBezTo>
                        <a:pt x="15" y="0"/>
                        <a:pt x="3" y="10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110">
                  <a:extLst>
                    <a:ext uri="{FF2B5EF4-FFF2-40B4-BE49-F238E27FC236}">
                      <a16:creationId xmlns:a16="http://schemas.microsoft.com/office/drawing/2014/main" id="{7B11782E-1CAF-B845-8AB9-913E37B8DE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26038" y="5849938"/>
                  <a:ext cx="188912" cy="269875"/>
                </a:xfrm>
                <a:custGeom>
                  <a:avLst/>
                  <a:gdLst>
                    <a:gd name="T0" fmla="*/ 471 w 525"/>
                    <a:gd name="T1" fmla="*/ 12 h 750"/>
                    <a:gd name="T2" fmla="*/ 471 w 525"/>
                    <a:gd name="T3" fmla="*/ 12 h 750"/>
                    <a:gd name="T4" fmla="*/ 286 w 525"/>
                    <a:gd name="T5" fmla="*/ 293 h 750"/>
                    <a:gd name="T6" fmla="*/ 286 w 525"/>
                    <a:gd name="T7" fmla="*/ 293 h 750"/>
                    <a:gd name="T8" fmla="*/ 163 w 525"/>
                    <a:gd name="T9" fmla="*/ 477 h 750"/>
                    <a:gd name="T10" fmla="*/ 163 w 525"/>
                    <a:gd name="T11" fmla="*/ 477 h 750"/>
                    <a:gd name="T12" fmla="*/ 92 w 525"/>
                    <a:gd name="T13" fmla="*/ 581 h 750"/>
                    <a:gd name="T14" fmla="*/ 92 w 525"/>
                    <a:gd name="T15" fmla="*/ 581 h 750"/>
                    <a:gd name="T16" fmla="*/ 9 w 525"/>
                    <a:gd name="T17" fmla="*/ 702 h 750"/>
                    <a:gd name="T18" fmla="*/ 9 w 525"/>
                    <a:gd name="T19" fmla="*/ 702 h 750"/>
                    <a:gd name="T20" fmla="*/ 16 w 525"/>
                    <a:gd name="T21" fmla="*/ 741 h 750"/>
                    <a:gd name="T22" fmla="*/ 16 w 525"/>
                    <a:gd name="T23" fmla="*/ 741 h 750"/>
                    <a:gd name="T24" fmla="*/ 55 w 525"/>
                    <a:gd name="T25" fmla="*/ 734 h 750"/>
                    <a:gd name="T26" fmla="*/ 55 w 525"/>
                    <a:gd name="T27" fmla="*/ 734 h 750"/>
                    <a:gd name="T28" fmla="*/ 204 w 525"/>
                    <a:gd name="T29" fmla="*/ 515 h 750"/>
                    <a:gd name="T30" fmla="*/ 204 w 525"/>
                    <a:gd name="T31" fmla="*/ 515 h 750"/>
                    <a:gd name="T32" fmla="*/ 269 w 525"/>
                    <a:gd name="T33" fmla="*/ 419 h 750"/>
                    <a:gd name="T34" fmla="*/ 269 w 525"/>
                    <a:gd name="T35" fmla="*/ 419 h 750"/>
                    <a:gd name="T36" fmla="*/ 325 w 525"/>
                    <a:gd name="T37" fmla="*/ 336 h 750"/>
                    <a:gd name="T38" fmla="*/ 325 w 525"/>
                    <a:gd name="T39" fmla="*/ 336 h 750"/>
                    <a:gd name="T40" fmla="*/ 516 w 525"/>
                    <a:gd name="T41" fmla="*/ 44 h 750"/>
                    <a:gd name="T42" fmla="*/ 516 w 525"/>
                    <a:gd name="T43" fmla="*/ 44 h 750"/>
                    <a:gd name="T44" fmla="*/ 510 w 525"/>
                    <a:gd name="T45" fmla="*/ 5 h 750"/>
                    <a:gd name="T46" fmla="*/ 510 w 525"/>
                    <a:gd name="T47" fmla="*/ 5 h 750"/>
                    <a:gd name="T48" fmla="*/ 493 w 525"/>
                    <a:gd name="T49" fmla="*/ 0 h 750"/>
                    <a:gd name="T50" fmla="*/ 493 w 525"/>
                    <a:gd name="T51" fmla="*/ 0 h 750"/>
                    <a:gd name="T52" fmla="*/ 471 w 525"/>
                    <a:gd name="T53" fmla="*/ 12 h 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25" h="750">
                      <a:moveTo>
                        <a:pt x="471" y="12"/>
                      </a:moveTo>
                      <a:lnTo>
                        <a:pt x="471" y="12"/>
                      </a:lnTo>
                      <a:cubicBezTo>
                        <a:pt x="410" y="106"/>
                        <a:pt x="348" y="200"/>
                        <a:pt x="286" y="293"/>
                      </a:cubicBezTo>
                      <a:lnTo>
                        <a:pt x="286" y="293"/>
                      </a:lnTo>
                      <a:cubicBezTo>
                        <a:pt x="246" y="355"/>
                        <a:pt x="204" y="416"/>
                        <a:pt x="163" y="477"/>
                      </a:cubicBezTo>
                      <a:lnTo>
                        <a:pt x="163" y="477"/>
                      </a:lnTo>
                      <a:cubicBezTo>
                        <a:pt x="140" y="512"/>
                        <a:pt x="115" y="546"/>
                        <a:pt x="92" y="581"/>
                      </a:cubicBezTo>
                      <a:lnTo>
                        <a:pt x="92" y="581"/>
                      </a:lnTo>
                      <a:cubicBezTo>
                        <a:pt x="64" y="622"/>
                        <a:pt x="37" y="662"/>
                        <a:pt x="9" y="702"/>
                      </a:cubicBezTo>
                      <a:lnTo>
                        <a:pt x="9" y="702"/>
                      </a:lnTo>
                      <a:cubicBezTo>
                        <a:pt x="0" y="714"/>
                        <a:pt x="4" y="732"/>
                        <a:pt x="16" y="741"/>
                      </a:cubicBezTo>
                      <a:lnTo>
                        <a:pt x="16" y="741"/>
                      </a:lnTo>
                      <a:cubicBezTo>
                        <a:pt x="29" y="749"/>
                        <a:pt x="46" y="746"/>
                        <a:pt x="55" y="734"/>
                      </a:cubicBezTo>
                      <a:lnTo>
                        <a:pt x="55" y="734"/>
                      </a:lnTo>
                      <a:cubicBezTo>
                        <a:pt x="105" y="661"/>
                        <a:pt x="154" y="588"/>
                        <a:pt x="204" y="515"/>
                      </a:cubicBezTo>
                      <a:lnTo>
                        <a:pt x="204" y="515"/>
                      </a:lnTo>
                      <a:cubicBezTo>
                        <a:pt x="226" y="483"/>
                        <a:pt x="248" y="451"/>
                        <a:pt x="269" y="419"/>
                      </a:cubicBezTo>
                      <a:lnTo>
                        <a:pt x="269" y="419"/>
                      </a:lnTo>
                      <a:cubicBezTo>
                        <a:pt x="288" y="391"/>
                        <a:pt x="307" y="364"/>
                        <a:pt x="325" y="336"/>
                      </a:cubicBezTo>
                      <a:lnTo>
                        <a:pt x="325" y="336"/>
                      </a:lnTo>
                      <a:cubicBezTo>
                        <a:pt x="389" y="239"/>
                        <a:pt x="453" y="142"/>
                        <a:pt x="516" y="44"/>
                      </a:cubicBezTo>
                      <a:lnTo>
                        <a:pt x="516" y="44"/>
                      </a:lnTo>
                      <a:cubicBezTo>
                        <a:pt x="524" y="31"/>
                        <a:pt x="522" y="14"/>
                        <a:pt x="510" y="5"/>
                      </a:cubicBezTo>
                      <a:lnTo>
                        <a:pt x="510" y="5"/>
                      </a:lnTo>
                      <a:cubicBezTo>
                        <a:pt x="505" y="2"/>
                        <a:pt x="499" y="0"/>
                        <a:pt x="493" y="0"/>
                      </a:cubicBezTo>
                      <a:lnTo>
                        <a:pt x="493" y="0"/>
                      </a:lnTo>
                      <a:cubicBezTo>
                        <a:pt x="485" y="0"/>
                        <a:pt x="476" y="4"/>
                        <a:pt x="471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111">
                  <a:extLst>
                    <a:ext uri="{FF2B5EF4-FFF2-40B4-BE49-F238E27FC236}">
                      <a16:creationId xmlns:a16="http://schemas.microsoft.com/office/drawing/2014/main" id="{B9874760-EBFA-0445-9257-B3EA863098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06988" y="5883275"/>
                  <a:ext cx="209550" cy="207963"/>
                </a:xfrm>
                <a:custGeom>
                  <a:avLst/>
                  <a:gdLst>
                    <a:gd name="T0" fmla="*/ 10 w 581"/>
                    <a:gd name="T1" fmla="*/ 6 h 579"/>
                    <a:gd name="T2" fmla="*/ 10 w 581"/>
                    <a:gd name="T3" fmla="*/ 6 h 579"/>
                    <a:gd name="T4" fmla="*/ 1 w 581"/>
                    <a:gd name="T5" fmla="*/ 25 h 579"/>
                    <a:gd name="T6" fmla="*/ 1 w 581"/>
                    <a:gd name="T7" fmla="*/ 25 h 579"/>
                    <a:gd name="T8" fmla="*/ 7 w 581"/>
                    <a:gd name="T9" fmla="*/ 45 h 579"/>
                    <a:gd name="T10" fmla="*/ 7 w 581"/>
                    <a:gd name="T11" fmla="*/ 45 h 579"/>
                    <a:gd name="T12" fmla="*/ 84 w 581"/>
                    <a:gd name="T13" fmla="*/ 118 h 579"/>
                    <a:gd name="T14" fmla="*/ 84 w 581"/>
                    <a:gd name="T15" fmla="*/ 118 h 579"/>
                    <a:gd name="T16" fmla="*/ 136 w 581"/>
                    <a:gd name="T17" fmla="*/ 168 h 579"/>
                    <a:gd name="T18" fmla="*/ 136 w 581"/>
                    <a:gd name="T19" fmla="*/ 168 h 579"/>
                    <a:gd name="T20" fmla="*/ 229 w 581"/>
                    <a:gd name="T21" fmla="*/ 260 h 579"/>
                    <a:gd name="T22" fmla="*/ 229 w 581"/>
                    <a:gd name="T23" fmla="*/ 260 h 579"/>
                    <a:gd name="T24" fmla="*/ 265 w 581"/>
                    <a:gd name="T25" fmla="*/ 297 h 579"/>
                    <a:gd name="T26" fmla="*/ 265 w 581"/>
                    <a:gd name="T27" fmla="*/ 297 h 579"/>
                    <a:gd name="T28" fmla="*/ 325 w 581"/>
                    <a:gd name="T29" fmla="*/ 360 h 579"/>
                    <a:gd name="T30" fmla="*/ 325 w 581"/>
                    <a:gd name="T31" fmla="*/ 360 h 579"/>
                    <a:gd name="T32" fmla="*/ 407 w 581"/>
                    <a:gd name="T33" fmla="*/ 444 h 579"/>
                    <a:gd name="T34" fmla="*/ 407 w 581"/>
                    <a:gd name="T35" fmla="*/ 444 h 579"/>
                    <a:gd name="T36" fmla="*/ 527 w 581"/>
                    <a:gd name="T37" fmla="*/ 565 h 579"/>
                    <a:gd name="T38" fmla="*/ 527 w 581"/>
                    <a:gd name="T39" fmla="*/ 565 h 579"/>
                    <a:gd name="T40" fmla="*/ 566 w 581"/>
                    <a:gd name="T41" fmla="*/ 568 h 579"/>
                    <a:gd name="T42" fmla="*/ 566 w 581"/>
                    <a:gd name="T43" fmla="*/ 568 h 579"/>
                    <a:gd name="T44" fmla="*/ 569 w 581"/>
                    <a:gd name="T45" fmla="*/ 528 h 579"/>
                    <a:gd name="T46" fmla="*/ 569 w 581"/>
                    <a:gd name="T47" fmla="*/ 528 h 579"/>
                    <a:gd name="T48" fmla="*/ 473 w 581"/>
                    <a:gd name="T49" fmla="*/ 432 h 579"/>
                    <a:gd name="T50" fmla="*/ 473 w 581"/>
                    <a:gd name="T51" fmla="*/ 432 h 579"/>
                    <a:gd name="T52" fmla="*/ 386 w 581"/>
                    <a:gd name="T53" fmla="*/ 343 h 579"/>
                    <a:gd name="T54" fmla="*/ 386 w 581"/>
                    <a:gd name="T55" fmla="*/ 343 h 579"/>
                    <a:gd name="T56" fmla="*/ 294 w 581"/>
                    <a:gd name="T57" fmla="*/ 247 h 579"/>
                    <a:gd name="T58" fmla="*/ 294 w 581"/>
                    <a:gd name="T59" fmla="*/ 247 h 579"/>
                    <a:gd name="T60" fmla="*/ 227 w 581"/>
                    <a:gd name="T61" fmla="*/ 180 h 579"/>
                    <a:gd name="T62" fmla="*/ 227 w 581"/>
                    <a:gd name="T63" fmla="*/ 180 h 579"/>
                    <a:gd name="T64" fmla="*/ 143 w 581"/>
                    <a:gd name="T65" fmla="*/ 98 h 579"/>
                    <a:gd name="T66" fmla="*/ 143 w 581"/>
                    <a:gd name="T67" fmla="*/ 98 h 579"/>
                    <a:gd name="T68" fmla="*/ 49 w 581"/>
                    <a:gd name="T69" fmla="*/ 10 h 579"/>
                    <a:gd name="T70" fmla="*/ 49 w 581"/>
                    <a:gd name="T71" fmla="*/ 10 h 579"/>
                    <a:gd name="T72" fmla="*/ 31 w 581"/>
                    <a:gd name="T73" fmla="*/ 0 h 579"/>
                    <a:gd name="T74" fmla="*/ 31 w 581"/>
                    <a:gd name="T75" fmla="*/ 0 h 579"/>
                    <a:gd name="T76" fmla="*/ 28 w 581"/>
                    <a:gd name="T77" fmla="*/ 0 h 579"/>
                    <a:gd name="T78" fmla="*/ 28 w 581"/>
                    <a:gd name="T79" fmla="*/ 0 h 579"/>
                    <a:gd name="T80" fmla="*/ 10 w 581"/>
                    <a:gd name="T81" fmla="*/ 6 h 5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81" h="579">
                      <a:moveTo>
                        <a:pt x="10" y="6"/>
                      </a:moveTo>
                      <a:lnTo>
                        <a:pt x="10" y="6"/>
                      </a:lnTo>
                      <a:cubicBezTo>
                        <a:pt x="5" y="11"/>
                        <a:pt x="1" y="18"/>
                        <a:pt x="1" y="25"/>
                      </a:cubicBezTo>
                      <a:lnTo>
                        <a:pt x="1" y="25"/>
                      </a:lnTo>
                      <a:cubicBezTo>
                        <a:pt x="0" y="32"/>
                        <a:pt x="2" y="41"/>
                        <a:pt x="7" y="45"/>
                      </a:cubicBezTo>
                      <a:lnTo>
                        <a:pt x="7" y="45"/>
                      </a:lnTo>
                      <a:cubicBezTo>
                        <a:pt x="33" y="69"/>
                        <a:pt x="59" y="94"/>
                        <a:pt x="84" y="118"/>
                      </a:cubicBezTo>
                      <a:lnTo>
                        <a:pt x="84" y="118"/>
                      </a:lnTo>
                      <a:cubicBezTo>
                        <a:pt x="102" y="135"/>
                        <a:pt x="119" y="152"/>
                        <a:pt x="136" y="168"/>
                      </a:cubicBezTo>
                      <a:lnTo>
                        <a:pt x="136" y="168"/>
                      </a:lnTo>
                      <a:cubicBezTo>
                        <a:pt x="167" y="199"/>
                        <a:pt x="198" y="229"/>
                        <a:pt x="229" y="260"/>
                      </a:cubicBezTo>
                      <a:lnTo>
                        <a:pt x="229" y="260"/>
                      </a:lnTo>
                      <a:cubicBezTo>
                        <a:pt x="241" y="271"/>
                        <a:pt x="253" y="285"/>
                        <a:pt x="265" y="297"/>
                      </a:cubicBezTo>
                      <a:lnTo>
                        <a:pt x="265" y="297"/>
                      </a:lnTo>
                      <a:cubicBezTo>
                        <a:pt x="285" y="318"/>
                        <a:pt x="305" y="339"/>
                        <a:pt x="325" y="360"/>
                      </a:cubicBezTo>
                      <a:lnTo>
                        <a:pt x="325" y="360"/>
                      </a:lnTo>
                      <a:cubicBezTo>
                        <a:pt x="352" y="388"/>
                        <a:pt x="379" y="416"/>
                        <a:pt x="407" y="444"/>
                      </a:cubicBezTo>
                      <a:lnTo>
                        <a:pt x="407" y="444"/>
                      </a:lnTo>
                      <a:cubicBezTo>
                        <a:pt x="446" y="484"/>
                        <a:pt x="488" y="523"/>
                        <a:pt x="527" y="565"/>
                      </a:cubicBezTo>
                      <a:lnTo>
                        <a:pt x="527" y="565"/>
                      </a:lnTo>
                      <a:cubicBezTo>
                        <a:pt x="538" y="575"/>
                        <a:pt x="554" y="578"/>
                        <a:pt x="566" y="568"/>
                      </a:cubicBezTo>
                      <a:lnTo>
                        <a:pt x="566" y="568"/>
                      </a:lnTo>
                      <a:cubicBezTo>
                        <a:pt x="577" y="558"/>
                        <a:pt x="580" y="540"/>
                        <a:pt x="569" y="528"/>
                      </a:cubicBezTo>
                      <a:lnTo>
                        <a:pt x="569" y="528"/>
                      </a:lnTo>
                      <a:cubicBezTo>
                        <a:pt x="539" y="495"/>
                        <a:pt x="506" y="464"/>
                        <a:pt x="473" y="432"/>
                      </a:cubicBezTo>
                      <a:lnTo>
                        <a:pt x="473" y="432"/>
                      </a:lnTo>
                      <a:cubicBezTo>
                        <a:pt x="444" y="403"/>
                        <a:pt x="415" y="373"/>
                        <a:pt x="386" y="343"/>
                      </a:cubicBezTo>
                      <a:lnTo>
                        <a:pt x="386" y="343"/>
                      </a:lnTo>
                      <a:cubicBezTo>
                        <a:pt x="355" y="311"/>
                        <a:pt x="325" y="279"/>
                        <a:pt x="294" y="247"/>
                      </a:cubicBezTo>
                      <a:lnTo>
                        <a:pt x="294" y="247"/>
                      </a:lnTo>
                      <a:cubicBezTo>
                        <a:pt x="272" y="224"/>
                        <a:pt x="249" y="202"/>
                        <a:pt x="227" y="180"/>
                      </a:cubicBezTo>
                      <a:lnTo>
                        <a:pt x="227" y="180"/>
                      </a:lnTo>
                      <a:cubicBezTo>
                        <a:pt x="199" y="153"/>
                        <a:pt x="171" y="125"/>
                        <a:pt x="143" y="98"/>
                      </a:cubicBezTo>
                      <a:lnTo>
                        <a:pt x="143" y="98"/>
                      </a:lnTo>
                      <a:cubicBezTo>
                        <a:pt x="112" y="68"/>
                        <a:pt x="81" y="39"/>
                        <a:pt x="49" y="10"/>
                      </a:cubicBezTo>
                      <a:lnTo>
                        <a:pt x="49" y="10"/>
                      </a:lnTo>
                      <a:cubicBezTo>
                        <a:pt x="43" y="4"/>
                        <a:pt x="39" y="0"/>
                        <a:pt x="31" y="0"/>
                      </a:cubicBezTo>
                      <a:lnTo>
                        <a:pt x="31" y="0"/>
                      </a:lnTo>
                      <a:cubicBezTo>
                        <a:pt x="30" y="0"/>
                        <a:pt x="29" y="0"/>
                        <a:pt x="28" y="0"/>
                      </a:cubicBezTo>
                      <a:lnTo>
                        <a:pt x="28" y="0"/>
                      </a:lnTo>
                      <a:cubicBezTo>
                        <a:pt x="22" y="0"/>
                        <a:pt x="15" y="2"/>
                        <a:pt x="10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6055EFBF-C294-D04B-BAB6-98594EFF8EA4}"/>
                  </a:ext>
                </a:extLst>
              </p:cNvPr>
              <p:cNvGrpSpPr/>
              <p:nvPr/>
            </p:nvGrpSpPr>
            <p:grpSpPr>
              <a:xfrm rot="10587327">
                <a:off x="3889625" y="3203153"/>
                <a:ext cx="511968" cy="630596"/>
                <a:chOff x="7450138" y="1968500"/>
                <a:chExt cx="650875" cy="80168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94" name="Freeform 137">
                  <a:extLst>
                    <a:ext uri="{FF2B5EF4-FFF2-40B4-BE49-F238E27FC236}">
                      <a16:creationId xmlns:a16="http://schemas.microsoft.com/office/drawing/2014/main" id="{31404F68-B337-7146-89C1-4261F251F0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138" y="1968500"/>
                  <a:ext cx="650875" cy="801688"/>
                </a:xfrm>
                <a:custGeom>
                  <a:avLst/>
                  <a:gdLst>
                    <a:gd name="T0" fmla="*/ 794 w 1806"/>
                    <a:gd name="T1" fmla="*/ 1529 h 2225"/>
                    <a:gd name="T2" fmla="*/ 629 w 1806"/>
                    <a:gd name="T3" fmla="*/ 1689 h 2225"/>
                    <a:gd name="T4" fmla="*/ 295 w 1806"/>
                    <a:gd name="T5" fmla="*/ 250 h 2225"/>
                    <a:gd name="T6" fmla="*/ 901 w 1806"/>
                    <a:gd name="T7" fmla="*/ 58 h 2225"/>
                    <a:gd name="T8" fmla="*/ 1176 w 1806"/>
                    <a:gd name="T9" fmla="*/ 154 h 2225"/>
                    <a:gd name="T10" fmla="*/ 1428 w 1806"/>
                    <a:gd name="T11" fmla="*/ 331 h 2225"/>
                    <a:gd name="T12" fmla="*/ 1656 w 1806"/>
                    <a:gd name="T13" fmla="*/ 633 h 2225"/>
                    <a:gd name="T14" fmla="*/ 1731 w 1806"/>
                    <a:gd name="T15" fmla="*/ 949 h 2225"/>
                    <a:gd name="T16" fmla="*/ 1747 w 1806"/>
                    <a:gd name="T17" fmla="*/ 1116 h 2225"/>
                    <a:gd name="T18" fmla="*/ 1735 w 1806"/>
                    <a:gd name="T19" fmla="*/ 1370 h 2225"/>
                    <a:gd name="T20" fmla="*/ 1677 w 1806"/>
                    <a:gd name="T21" fmla="*/ 1613 h 2225"/>
                    <a:gd name="T22" fmla="*/ 1588 w 1806"/>
                    <a:gd name="T23" fmla="*/ 1787 h 2225"/>
                    <a:gd name="T24" fmla="*/ 1520 w 1806"/>
                    <a:gd name="T25" fmla="*/ 1868 h 2225"/>
                    <a:gd name="T26" fmla="*/ 1392 w 1806"/>
                    <a:gd name="T27" fmla="*/ 1978 h 2225"/>
                    <a:gd name="T28" fmla="*/ 1184 w 1806"/>
                    <a:gd name="T29" fmla="*/ 2082 h 2225"/>
                    <a:gd name="T30" fmla="*/ 902 w 1806"/>
                    <a:gd name="T31" fmla="*/ 2160 h 2225"/>
                    <a:gd name="T32" fmla="*/ 699 w 1806"/>
                    <a:gd name="T33" fmla="*/ 2168 h 2225"/>
                    <a:gd name="T34" fmla="*/ 390 w 1806"/>
                    <a:gd name="T35" fmla="*/ 2111 h 2225"/>
                    <a:gd name="T36" fmla="*/ 72 w 1806"/>
                    <a:gd name="T37" fmla="*/ 1995 h 2225"/>
                    <a:gd name="T38" fmla="*/ 220 w 1806"/>
                    <a:gd name="T39" fmla="*/ 1957 h 2225"/>
                    <a:gd name="T40" fmla="*/ 602 w 1806"/>
                    <a:gd name="T41" fmla="*/ 1778 h 2225"/>
                    <a:gd name="T42" fmla="*/ 901 w 1806"/>
                    <a:gd name="T43" fmla="*/ 1458 h 2225"/>
                    <a:gd name="T44" fmla="*/ 1001 w 1806"/>
                    <a:gd name="T45" fmla="*/ 1031 h 2225"/>
                    <a:gd name="T46" fmla="*/ 999 w 1806"/>
                    <a:gd name="T47" fmla="*/ 764 h 2225"/>
                    <a:gd name="T48" fmla="*/ 882 w 1806"/>
                    <a:gd name="T49" fmla="*/ 438 h 2225"/>
                    <a:gd name="T50" fmla="*/ 410 w 1806"/>
                    <a:gd name="T51" fmla="*/ 175 h 2225"/>
                    <a:gd name="T52" fmla="*/ 624 w 1806"/>
                    <a:gd name="T53" fmla="*/ 91 h 2225"/>
                    <a:gd name="T54" fmla="*/ 806 w 1806"/>
                    <a:gd name="T55" fmla="*/ 2 h 2225"/>
                    <a:gd name="T56" fmla="*/ 482 w 1806"/>
                    <a:gd name="T57" fmla="*/ 71 h 2225"/>
                    <a:gd name="T58" fmla="*/ 278 w 1806"/>
                    <a:gd name="T59" fmla="*/ 196 h 2225"/>
                    <a:gd name="T60" fmla="*/ 212 w 1806"/>
                    <a:gd name="T61" fmla="*/ 287 h 2225"/>
                    <a:gd name="T62" fmla="*/ 291 w 1806"/>
                    <a:gd name="T63" fmla="*/ 254 h 2225"/>
                    <a:gd name="T64" fmla="*/ 449 w 1806"/>
                    <a:gd name="T65" fmla="*/ 232 h 2225"/>
                    <a:gd name="T66" fmla="*/ 586 w 1806"/>
                    <a:gd name="T67" fmla="*/ 262 h 2225"/>
                    <a:gd name="T68" fmla="*/ 884 w 1806"/>
                    <a:gd name="T69" fmla="*/ 560 h 2225"/>
                    <a:gd name="T70" fmla="*/ 948 w 1806"/>
                    <a:gd name="T71" fmla="*/ 983 h 2225"/>
                    <a:gd name="T72" fmla="*/ 915 w 1806"/>
                    <a:gd name="T73" fmla="*/ 1232 h 2225"/>
                    <a:gd name="T74" fmla="*/ 794 w 1806"/>
                    <a:gd name="T75" fmla="*/ 1529 h 2225"/>
                    <a:gd name="T76" fmla="*/ 630 w 1806"/>
                    <a:gd name="T77" fmla="*/ 1688 h 2225"/>
                    <a:gd name="T78" fmla="*/ 629 w 1806"/>
                    <a:gd name="T79" fmla="*/ 1689 h 2225"/>
                    <a:gd name="T80" fmla="*/ 316 w 1806"/>
                    <a:gd name="T81" fmla="*/ 1860 h 2225"/>
                    <a:gd name="T82" fmla="*/ 152 w 1806"/>
                    <a:gd name="T83" fmla="*/ 1918 h 2225"/>
                    <a:gd name="T84" fmla="*/ 6 w 1806"/>
                    <a:gd name="T85" fmla="*/ 1971 h 2225"/>
                    <a:gd name="T86" fmla="*/ 185 w 1806"/>
                    <a:gd name="T87" fmla="*/ 2110 h 2225"/>
                    <a:gd name="T88" fmla="*/ 523 w 1806"/>
                    <a:gd name="T89" fmla="*/ 2201 h 2225"/>
                    <a:gd name="T90" fmla="*/ 853 w 1806"/>
                    <a:gd name="T91" fmla="*/ 2220 h 2225"/>
                    <a:gd name="T92" fmla="*/ 1154 w 1806"/>
                    <a:gd name="T93" fmla="*/ 2155 h 2225"/>
                    <a:gd name="T94" fmla="*/ 1408 w 1806"/>
                    <a:gd name="T95" fmla="*/ 2034 h 2225"/>
                    <a:gd name="T96" fmla="*/ 1661 w 1806"/>
                    <a:gd name="T97" fmla="*/ 1777 h 2225"/>
                    <a:gd name="T98" fmla="*/ 1750 w 1806"/>
                    <a:gd name="T99" fmla="*/ 1557 h 2225"/>
                    <a:gd name="T100" fmla="*/ 1800 w 1806"/>
                    <a:gd name="T101" fmla="*/ 1308 h 2225"/>
                    <a:gd name="T102" fmla="*/ 1794 w 1806"/>
                    <a:gd name="T103" fmla="*/ 1002 h 2225"/>
                    <a:gd name="T104" fmla="*/ 1762 w 1806"/>
                    <a:gd name="T105" fmla="*/ 816 h 2225"/>
                    <a:gd name="T106" fmla="*/ 1588 w 1806"/>
                    <a:gd name="T107" fmla="*/ 397 h 2225"/>
                    <a:gd name="T108" fmla="*/ 1341 w 1806"/>
                    <a:gd name="T109" fmla="*/ 188 h 2225"/>
                    <a:gd name="T110" fmla="*/ 1209 w 1806"/>
                    <a:gd name="T111" fmla="*/ 109 h 2225"/>
                    <a:gd name="T112" fmla="*/ 866 w 1806"/>
                    <a:gd name="T113" fmla="*/ 0 h 2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6" h="2225">
                      <a:moveTo>
                        <a:pt x="452" y="233"/>
                      </a:moveTo>
                      <a:lnTo>
                        <a:pt x="452" y="233"/>
                      </a:lnTo>
                      <a:cubicBezTo>
                        <a:pt x="451" y="233"/>
                        <a:pt x="451" y="233"/>
                        <a:pt x="450" y="233"/>
                      </a:cubicBezTo>
                      <a:lnTo>
                        <a:pt x="450" y="233"/>
                      </a:lnTo>
                      <a:cubicBezTo>
                        <a:pt x="450" y="233"/>
                        <a:pt x="449" y="233"/>
                        <a:pt x="449" y="232"/>
                      </a:cubicBezTo>
                      <a:lnTo>
                        <a:pt x="449" y="232"/>
                      </a:lnTo>
                      <a:cubicBezTo>
                        <a:pt x="450" y="233"/>
                        <a:pt x="450" y="233"/>
                        <a:pt x="452" y="233"/>
                      </a:cubicBezTo>
                      <a:close/>
                      <a:moveTo>
                        <a:pt x="794" y="1529"/>
                      </a:moveTo>
                      <a:lnTo>
                        <a:pt x="794" y="1529"/>
                      </a:lnTo>
                      <a:close/>
                      <a:moveTo>
                        <a:pt x="629" y="1689"/>
                      </a:moveTo>
                      <a:lnTo>
                        <a:pt x="629" y="1689"/>
                      </a:lnTo>
                      <a:cubicBezTo>
                        <a:pt x="629" y="1689"/>
                        <a:pt x="630" y="1689"/>
                        <a:pt x="630" y="1688"/>
                      </a:cubicBezTo>
                      <a:lnTo>
                        <a:pt x="630" y="1688"/>
                      </a:lnTo>
                      <a:lnTo>
                        <a:pt x="630" y="1688"/>
                      </a:lnTo>
                      <a:lnTo>
                        <a:pt x="630" y="1688"/>
                      </a:lnTo>
                      <a:cubicBezTo>
                        <a:pt x="630" y="1688"/>
                        <a:pt x="630" y="1689"/>
                        <a:pt x="629" y="1689"/>
                      </a:cubicBezTo>
                      <a:close/>
                      <a:moveTo>
                        <a:pt x="1585" y="1791"/>
                      </a:moveTo>
                      <a:lnTo>
                        <a:pt x="1585" y="1791"/>
                      </a:lnTo>
                      <a:close/>
                      <a:moveTo>
                        <a:pt x="942" y="1076"/>
                      </a:moveTo>
                      <a:lnTo>
                        <a:pt x="942" y="1076"/>
                      </a:lnTo>
                      <a:cubicBezTo>
                        <a:pt x="942" y="1077"/>
                        <a:pt x="942" y="1077"/>
                        <a:pt x="942" y="1078"/>
                      </a:cubicBezTo>
                      <a:lnTo>
                        <a:pt x="942" y="1078"/>
                      </a:lnTo>
                      <a:cubicBezTo>
                        <a:pt x="942" y="1077"/>
                        <a:pt x="942" y="1077"/>
                        <a:pt x="942" y="1076"/>
                      </a:cubicBezTo>
                      <a:close/>
                      <a:moveTo>
                        <a:pt x="295" y="250"/>
                      </a:moveTo>
                      <a:lnTo>
                        <a:pt x="295" y="250"/>
                      </a:lnTo>
                      <a:cubicBezTo>
                        <a:pt x="294" y="251"/>
                        <a:pt x="293" y="252"/>
                        <a:pt x="292" y="253"/>
                      </a:cubicBezTo>
                      <a:lnTo>
                        <a:pt x="292" y="253"/>
                      </a:lnTo>
                      <a:cubicBezTo>
                        <a:pt x="293" y="252"/>
                        <a:pt x="294" y="251"/>
                        <a:pt x="295" y="250"/>
                      </a:cubicBezTo>
                      <a:close/>
                      <a:moveTo>
                        <a:pt x="833" y="56"/>
                      </a:moveTo>
                      <a:lnTo>
                        <a:pt x="833" y="56"/>
                      </a:lnTo>
                      <a:cubicBezTo>
                        <a:pt x="856" y="55"/>
                        <a:pt x="878" y="56"/>
                        <a:pt x="901" y="58"/>
                      </a:cubicBezTo>
                      <a:lnTo>
                        <a:pt x="901" y="58"/>
                      </a:lnTo>
                      <a:cubicBezTo>
                        <a:pt x="924" y="61"/>
                        <a:pt x="947" y="64"/>
                        <a:pt x="970" y="70"/>
                      </a:cubicBezTo>
                      <a:lnTo>
                        <a:pt x="970" y="70"/>
                      </a:lnTo>
                      <a:cubicBezTo>
                        <a:pt x="993" y="76"/>
                        <a:pt x="1015" y="84"/>
                        <a:pt x="1038" y="92"/>
                      </a:cubicBezTo>
                      <a:lnTo>
                        <a:pt x="1038" y="92"/>
                      </a:lnTo>
                      <a:cubicBezTo>
                        <a:pt x="1061" y="101"/>
                        <a:pt x="1084" y="111"/>
                        <a:pt x="1108" y="121"/>
                      </a:cubicBezTo>
                      <a:lnTo>
                        <a:pt x="1108" y="121"/>
                      </a:lnTo>
                      <a:cubicBezTo>
                        <a:pt x="1131" y="131"/>
                        <a:pt x="1154" y="142"/>
                        <a:pt x="1176" y="154"/>
                      </a:cubicBezTo>
                      <a:lnTo>
                        <a:pt x="1176" y="154"/>
                      </a:lnTo>
                      <a:cubicBezTo>
                        <a:pt x="1200" y="167"/>
                        <a:pt x="1225" y="180"/>
                        <a:pt x="1249" y="194"/>
                      </a:cubicBezTo>
                      <a:lnTo>
                        <a:pt x="1249" y="194"/>
                      </a:lnTo>
                      <a:cubicBezTo>
                        <a:pt x="1271" y="207"/>
                        <a:pt x="1293" y="222"/>
                        <a:pt x="1314" y="237"/>
                      </a:cubicBezTo>
                      <a:lnTo>
                        <a:pt x="1314" y="237"/>
                      </a:lnTo>
                      <a:cubicBezTo>
                        <a:pt x="1332" y="251"/>
                        <a:pt x="1351" y="266"/>
                        <a:pt x="1369" y="280"/>
                      </a:cubicBezTo>
                      <a:lnTo>
                        <a:pt x="1369" y="280"/>
                      </a:lnTo>
                      <a:cubicBezTo>
                        <a:pt x="1389" y="297"/>
                        <a:pt x="1408" y="314"/>
                        <a:pt x="1428" y="331"/>
                      </a:cubicBezTo>
                      <a:lnTo>
                        <a:pt x="1428" y="331"/>
                      </a:lnTo>
                      <a:cubicBezTo>
                        <a:pt x="1446" y="347"/>
                        <a:pt x="1464" y="363"/>
                        <a:pt x="1483" y="379"/>
                      </a:cubicBezTo>
                      <a:lnTo>
                        <a:pt x="1483" y="379"/>
                      </a:lnTo>
                      <a:cubicBezTo>
                        <a:pt x="1509" y="401"/>
                        <a:pt x="1537" y="422"/>
                        <a:pt x="1559" y="448"/>
                      </a:cubicBezTo>
                      <a:lnTo>
                        <a:pt x="1559" y="448"/>
                      </a:lnTo>
                      <a:cubicBezTo>
                        <a:pt x="1586" y="483"/>
                        <a:pt x="1603" y="523"/>
                        <a:pt x="1622" y="562"/>
                      </a:cubicBezTo>
                      <a:lnTo>
                        <a:pt x="1622" y="562"/>
                      </a:lnTo>
                      <a:cubicBezTo>
                        <a:pt x="1633" y="586"/>
                        <a:pt x="1644" y="609"/>
                        <a:pt x="1656" y="633"/>
                      </a:cubicBezTo>
                      <a:lnTo>
                        <a:pt x="1656" y="633"/>
                      </a:lnTo>
                      <a:cubicBezTo>
                        <a:pt x="1666" y="658"/>
                        <a:pt x="1675" y="684"/>
                        <a:pt x="1682" y="710"/>
                      </a:cubicBezTo>
                      <a:lnTo>
                        <a:pt x="1682" y="710"/>
                      </a:lnTo>
                      <a:cubicBezTo>
                        <a:pt x="1685" y="724"/>
                        <a:pt x="1689" y="737"/>
                        <a:pt x="1691" y="750"/>
                      </a:cubicBezTo>
                      <a:lnTo>
                        <a:pt x="1691" y="750"/>
                      </a:lnTo>
                      <a:cubicBezTo>
                        <a:pt x="1697" y="773"/>
                        <a:pt x="1701" y="797"/>
                        <a:pt x="1707" y="820"/>
                      </a:cubicBezTo>
                      <a:lnTo>
                        <a:pt x="1707" y="820"/>
                      </a:lnTo>
                      <a:cubicBezTo>
                        <a:pt x="1715" y="863"/>
                        <a:pt x="1723" y="906"/>
                        <a:pt x="1731" y="949"/>
                      </a:cubicBezTo>
                      <a:lnTo>
                        <a:pt x="1731" y="949"/>
                      </a:lnTo>
                      <a:cubicBezTo>
                        <a:pt x="1730" y="947"/>
                        <a:pt x="1730" y="944"/>
                        <a:pt x="1730" y="942"/>
                      </a:cubicBezTo>
                      <a:lnTo>
                        <a:pt x="1730" y="942"/>
                      </a:lnTo>
                      <a:cubicBezTo>
                        <a:pt x="1733" y="968"/>
                        <a:pt x="1737" y="994"/>
                        <a:pt x="1740" y="1020"/>
                      </a:cubicBezTo>
                      <a:lnTo>
                        <a:pt x="1740" y="1020"/>
                      </a:lnTo>
                      <a:cubicBezTo>
                        <a:pt x="1741" y="1037"/>
                        <a:pt x="1743" y="1054"/>
                        <a:pt x="1744" y="1071"/>
                      </a:cubicBezTo>
                      <a:lnTo>
                        <a:pt x="1744" y="1071"/>
                      </a:lnTo>
                      <a:cubicBezTo>
                        <a:pt x="1745" y="1086"/>
                        <a:pt x="1746" y="1101"/>
                        <a:pt x="1747" y="1116"/>
                      </a:cubicBezTo>
                      <a:lnTo>
                        <a:pt x="1747" y="1116"/>
                      </a:lnTo>
                      <a:cubicBezTo>
                        <a:pt x="1748" y="1145"/>
                        <a:pt x="1748" y="1175"/>
                        <a:pt x="1749" y="1205"/>
                      </a:cubicBezTo>
                      <a:lnTo>
                        <a:pt x="1749" y="1205"/>
                      </a:lnTo>
                      <a:cubicBezTo>
                        <a:pt x="1750" y="1232"/>
                        <a:pt x="1748" y="1258"/>
                        <a:pt x="1747" y="1285"/>
                      </a:cubicBezTo>
                      <a:lnTo>
                        <a:pt x="1747" y="1285"/>
                      </a:lnTo>
                      <a:cubicBezTo>
                        <a:pt x="1745" y="1300"/>
                        <a:pt x="1743" y="1315"/>
                        <a:pt x="1741" y="1330"/>
                      </a:cubicBezTo>
                      <a:lnTo>
                        <a:pt x="1741" y="1330"/>
                      </a:lnTo>
                      <a:cubicBezTo>
                        <a:pt x="1740" y="1344"/>
                        <a:pt x="1738" y="1357"/>
                        <a:pt x="1735" y="1370"/>
                      </a:cubicBezTo>
                      <a:lnTo>
                        <a:pt x="1735" y="1370"/>
                      </a:lnTo>
                      <a:cubicBezTo>
                        <a:pt x="1733" y="1386"/>
                        <a:pt x="1730" y="1401"/>
                        <a:pt x="1727" y="1416"/>
                      </a:cubicBezTo>
                      <a:lnTo>
                        <a:pt x="1727" y="1416"/>
                      </a:lnTo>
                      <a:cubicBezTo>
                        <a:pt x="1723" y="1436"/>
                        <a:pt x="1718" y="1456"/>
                        <a:pt x="1714" y="1475"/>
                      </a:cubicBezTo>
                      <a:lnTo>
                        <a:pt x="1714" y="1475"/>
                      </a:lnTo>
                      <a:cubicBezTo>
                        <a:pt x="1707" y="1502"/>
                        <a:pt x="1700" y="1529"/>
                        <a:pt x="1693" y="1555"/>
                      </a:cubicBezTo>
                      <a:lnTo>
                        <a:pt x="1693" y="1555"/>
                      </a:lnTo>
                      <a:cubicBezTo>
                        <a:pt x="1687" y="1575"/>
                        <a:pt x="1682" y="1594"/>
                        <a:pt x="1677" y="1613"/>
                      </a:cubicBezTo>
                      <a:lnTo>
                        <a:pt x="1677" y="1613"/>
                      </a:lnTo>
                      <a:cubicBezTo>
                        <a:pt x="1673" y="1626"/>
                        <a:pt x="1669" y="1638"/>
                        <a:pt x="1664" y="1649"/>
                      </a:cubicBezTo>
                      <a:lnTo>
                        <a:pt x="1664" y="1649"/>
                      </a:lnTo>
                      <a:cubicBezTo>
                        <a:pt x="1654" y="1675"/>
                        <a:pt x="1642" y="1698"/>
                        <a:pt x="1629" y="1722"/>
                      </a:cubicBezTo>
                      <a:lnTo>
                        <a:pt x="1629" y="1722"/>
                      </a:lnTo>
                      <a:cubicBezTo>
                        <a:pt x="1616" y="1746"/>
                        <a:pt x="1600" y="1769"/>
                        <a:pt x="1585" y="1791"/>
                      </a:cubicBezTo>
                      <a:lnTo>
                        <a:pt x="1585" y="1791"/>
                      </a:lnTo>
                      <a:cubicBezTo>
                        <a:pt x="1586" y="1790"/>
                        <a:pt x="1587" y="1789"/>
                        <a:pt x="1588" y="1787"/>
                      </a:cubicBezTo>
                      <a:lnTo>
                        <a:pt x="1588" y="1787"/>
                      </a:lnTo>
                      <a:cubicBezTo>
                        <a:pt x="1587" y="1789"/>
                        <a:pt x="1586" y="1790"/>
                        <a:pt x="1585" y="1791"/>
                      </a:cubicBezTo>
                      <a:lnTo>
                        <a:pt x="1583" y="1793"/>
                      </a:lnTo>
                      <a:lnTo>
                        <a:pt x="1583" y="1793"/>
                      </a:lnTo>
                      <a:cubicBezTo>
                        <a:pt x="1584" y="1793"/>
                        <a:pt x="1584" y="1792"/>
                        <a:pt x="1585" y="1791"/>
                      </a:cubicBezTo>
                      <a:lnTo>
                        <a:pt x="1585" y="1791"/>
                      </a:lnTo>
                      <a:cubicBezTo>
                        <a:pt x="1576" y="1803"/>
                        <a:pt x="1566" y="1816"/>
                        <a:pt x="1556" y="1828"/>
                      </a:cubicBezTo>
                      <a:lnTo>
                        <a:pt x="1556" y="1828"/>
                      </a:lnTo>
                      <a:cubicBezTo>
                        <a:pt x="1545" y="1842"/>
                        <a:pt x="1532" y="1855"/>
                        <a:pt x="1520" y="1868"/>
                      </a:cubicBezTo>
                      <a:lnTo>
                        <a:pt x="1520" y="1868"/>
                      </a:lnTo>
                      <a:cubicBezTo>
                        <a:pt x="1509" y="1881"/>
                        <a:pt x="1497" y="1893"/>
                        <a:pt x="1485" y="1904"/>
                      </a:cubicBezTo>
                      <a:lnTo>
                        <a:pt x="1485" y="1904"/>
                      </a:lnTo>
                      <a:cubicBezTo>
                        <a:pt x="1472" y="1917"/>
                        <a:pt x="1458" y="1928"/>
                        <a:pt x="1445" y="1939"/>
                      </a:cubicBezTo>
                      <a:lnTo>
                        <a:pt x="1445" y="1939"/>
                      </a:lnTo>
                      <a:cubicBezTo>
                        <a:pt x="1445" y="1939"/>
                        <a:pt x="1445" y="1939"/>
                        <a:pt x="1446" y="1939"/>
                      </a:cubicBezTo>
                      <a:lnTo>
                        <a:pt x="1446" y="1939"/>
                      </a:lnTo>
                      <a:cubicBezTo>
                        <a:pt x="1428" y="1953"/>
                        <a:pt x="1411" y="1967"/>
                        <a:pt x="1392" y="1978"/>
                      </a:cubicBezTo>
                      <a:lnTo>
                        <a:pt x="1392" y="1978"/>
                      </a:lnTo>
                      <a:cubicBezTo>
                        <a:pt x="1381" y="1985"/>
                        <a:pt x="1369" y="1992"/>
                        <a:pt x="1357" y="1998"/>
                      </a:cubicBezTo>
                      <a:lnTo>
                        <a:pt x="1357" y="1998"/>
                      </a:lnTo>
                      <a:cubicBezTo>
                        <a:pt x="1345" y="2004"/>
                        <a:pt x="1333" y="2010"/>
                        <a:pt x="1321" y="2016"/>
                      </a:cubicBezTo>
                      <a:lnTo>
                        <a:pt x="1321" y="2016"/>
                      </a:lnTo>
                      <a:cubicBezTo>
                        <a:pt x="1276" y="2038"/>
                        <a:pt x="1229" y="2060"/>
                        <a:pt x="1183" y="2082"/>
                      </a:cubicBezTo>
                      <a:lnTo>
                        <a:pt x="1183" y="2082"/>
                      </a:lnTo>
                      <a:lnTo>
                        <a:pt x="1184" y="2082"/>
                      </a:lnTo>
                      <a:lnTo>
                        <a:pt x="1184" y="2082"/>
                      </a:lnTo>
                      <a:cubicBezTo>
                        <a:pt x="1150" y="2096"/>
                        <a:pt x="1118" y="2110"/>
                        <a:pt x="1084" y="2121"/>
                      </a:cubicBezTo>
                      <a:lnTo>
                        <a:pt x="1084" y="2121"/>
                      </a:lnTo>
                      <a:cubicBezTo>
                        <a:pt x="1046" y="2134"/>
                        <a:pt x="1008" y="2143"/>
                        <a:pt x="970" y="2150"/>
                      </a:cubicBezTo>
                      <a:lnTo>
                        <a:pt x="970" y="2150"/>
                      </a:lnTo>
                      <a:cubicBezTo>
                        <a:pt x="960" y="2151"/>
                        <a:pt x="949" y="2153"/>
                        <a:pt x="939" y="2155"/>
                      </a:cubicBezTo>
                      <a:lnTo>
                        <a:pt x="939" y="2155"/>
                      </a:lnTo>
                      <a:cubicBezTo>
                        <a:pt x="927" y="2156"/>
                        <a:pt x="914" y="2159"/>
                        <a:pt x="902" y="2160"/>
                      </a:cubicBezTo>
                      <a:lnTo>
                        <a:pt x="902" y="2160"/>
                      </a:lnTo>
                      <a:cubicBezTo>
                        <a:pt x="887" y="2161"/>
                        <a:pt x="873" y="2162"/>
                        <a:pt x="858" y="2164"/>
                      </a:cubicBezTo>
                      <a:lnTo>
                        <a:pt x="858" y="2164"/>
                      </a:lnTo>
                      <a:cubicBezTo>
                        <a:pt x="848" y="2164"/>
                        <a:pt x="839" y="2166"/>
                        <a:pt x="829" y="2166"/>
                      </a:cubicBezTo>
                      <a:lnTo>
                        <a:pt x="829" y="2166"/>
                      </a:lnTo>
                      <a:cubicBezTo>
                        <a:pt x="803" y="2167"/>
                        <a:pt x="778" y="2169"/>
                        <a:pt x="752" y="2168"/>
                      </a:cubicBezTo>
                      <a:lnTo>
                        <a:pt x="752" y="2168"/>
                      </a:lnTo>
                      <a:cubicBezTo>
                        <a:pt x="735" y="2168"/>
                        <a:pt x="717" y="2168"/>
                        <a:pt x="699" y="2168"/>
                      </a:cubicBezTo>
                      <a:lnTo>
                        <a:pt x="699" y="2168"/>
                      </a:lnTo>
                      <a:cubicBezTo>
                        <a:pt x="680" y="2168"/>
                        <a:pt x="661" y="2166"/>
                        <a:pt x="641" y="2164"/>
                      </a:cubicBezTo>
                      <a:lnTo>
                        <a:pt x="641" y="2164"/>
                      </a:lnTo>
                      <a:cubicBezTo>
                        <a:pt x="607" y="2161"/>
                        <a:pt x="572" y="2155"/>
                        <a:pt x="538" y="2148"/>
                      </a:cubicBezTo>
                      <a:lnTo>
                        <a:pt x="538" y="2148"/>
                      </a:lnTo>
                      <a:cubicBezTo>
                        <a:pt x="517" y="2143"/>
                        <a:pt x="496" y="2138"/>
                        <a:pt x="476" y="2133"/>
                      </a:cubicBezTo>
                      <a:lnTo>
                        <a:pt x="476" y="2133"/>
                      </a:lnTo>
                      <a:cubicBezTo>
                        <a:pt x="447" y="2126"/>
                        <a:pt x="418" y="2119"/>
                        <a:pt x="390" y="2111"/>
                      </a:cubicBezTo>
                      <a:lnTo>
                        <a:pt x="390" y="2111"/>
                      </a:lnTo>
                      <a:cubicBezTo>
                        <a:pt x="356" y="2103"/>
                        <a:pt x="322" y="2094"/>
                        <a:pt x="288" y="2085"/>
                      </a:cubicBezTo>
                      <a:lnTo>
                        <a:pt x="288" y="2085"/>
                      </a:lnTo>
                      <a:cubicBezTo>
                        <a:pt x="258" y="2076"/>
                        <a:pt x="227" y="2066"/>
                        <a:pt x="197" y="2056"/>
                      </a:cubicBezTo>
                      <a:lnTo>
                        <a:pt x="197" y="2056"/>
                      </a:lnTo>
                      <a:cubicBezTo>
                        <a:pt x="154" y="2039"/>
                        <a:pt x="112" y="2023"/>
                        <a:pt x="74" y="1997"/>
                      </a:cubicBezTo>
                      <a:lnTo>
                        <a:pt x="74" y="1997"/>
                      </a:lnTo>
                      <a:cubicBezTo>
                        <a:pt x="74" y="1996"/>
                        <a:pt x="73" y="1995"/>
                        <a:pt x="72" y="1995"/>
                      </a:cubicBezTo>
                      <a:lnTo>
                        <a:pt x="72" y="1995"/>
                      </a:lnTo>
                      <a:cubicBezTo>
                        <a:pt x="83" y="1992"/>
                        <a:pt x="94" y="1990"/>
                        <a:pt x="105" y="1987"/>
                      </a:cubicBezTo>
                      <a:lnTo>
                        <a:pt x="105" y="1987"/>
                      </a:lnTo>
                      <a:cubicBezTo>
                        <a:pt x="126" y="1982"/>
                        <a:pt x="147" y="1977"/>
                        <a:pt x="168" y="1972"/>
                      </a:cubicBezTo>
                      <a:lnTo>
                        <a:pt x="168" y="1972"/>
                      </a:lnTo>
                      <a:cubicBezTo>
                        <a:pt x="177" y="1969"/>
                        <a:pt x="187" y="1967"/>
                        <a:pt x="196" y="1964"/>
                      </a:cubicBezTo>
                      <a:lnTo>
                        <a:pt x="196" y="1964"/>
                      </a:lnTo>
                      <a:cubicBezTo>
                        <a:pt x="204" y="1962"/>
                        <a:pt x="212" y="1959"/>
                        <a:pt x="220" y="1957"/>
                      </a:cubicBezTo>
                      <a:lnTo>
                        <a:pt x="220" y="1957"/>
                      </a:lnTo>
                      <a:cubicBezTo>
                        <a:pt x="239" y="1950"/>
                        <a:pt x="258" y="1944"/>
                        <a:pt x="277" y="1937"/>
                      </a:cubicBezTo>
                      <a:lnTo>
                        <a:pt x="277" y="1937"/>
                      </a:lnTo>
                      <a:cubicBezTo>
                        <a:pt x="315" y="1921"/>
                        <a:pt x="352" y="1905"/>
                        <a:pt x="389" y="1889"/>
                      </a:cubicBezTo>
                      <a:lnTo>
                        <a:pt x="389" y="1889"/>
                      </a:lnTo>
                      <a:cubicBezTo>
                        <a:pt x="410" y="1880"/>
                        <a:pt x="430" y="1870"/>
                        <a:pt x="451" y="1861"/>
                      </a:cubicBezTo>
                      <a:lnTo>
                        <a:pt x="451" y="1861"/>
                      </a:lnTo>
                      <a:cubicBezTo>
                        <a:pt x="504" y="1837"/>
                        <a:pt x="555" y="1810"/>
                        <a:pt x="602" y="1778"/>
                      </a:cubicBezTo>
                      <a:lnTo>
                        <a:pt x="602" y="1778"/>
                      </a:lnTo>
                      <a:cubicBezTo>
                        <a:pt x="632" y="1757"/>
                        <a:pt x="660" y="1735"/>
                        <a:pt x="688" y="1712"/>
                      </a:cubicBezTo>
                      <a:lnTo>
                        <a:pt x="688" y="1712"/>
                      </a:lnTo>
                      <a:cubicBezTo>
                        <a:pt x="709" y="1694"/>
                        <a:pt x="731" y="1676"/>
                        <a:pt x="751" y="1658"/>
                      </a:cubicBezTo>
                      <a:lnTo>
                        <a:pt x="751" y="1658"/>
                      </a:lnTo>
                      <a:cubicBezTo>
                        <a:pt x="793" y="1620"/>
                        <a:pt x="829" y="1578"/>
                        <a:pt x="860" y="1531"/>
                      </a:cubicBezTo>
                      <a:lnTo>
                        <a:pt x="860" y="1531"/>
                      </a:lnTo>
                      <a:cubicBezTo>
                        <a:pt x="875" y="1508"/>
                        <a:pt x="889" y="1483"/>
                        <a:pt x="901" y="1458"/>
                      </a:cubicBezTo>
                      <a:lnTo>
                        <a:pt x="901" y="1458"/>
                      </a:lnTo>
                      <a:cubicBezTo>
                        <a:pt x="914" y="1431"/>
                        <a:pt x="924" y="1403"/>
                        <a:pt x="934" y="1375"/>
                      </a:cubicBezTo>
                      <a:lnTo>
                        <a:pt x="934" y="1375"/>
                      </a:lnTo>
                      <a:cubicBezTo>
                        <a:pt x="953" y="1319"/>
                        <a:pt x="967" y="1261"/>
                        <a:pt x="979" y="1204"/>
                      </a:cubicBezTo>
                      <a:lnTo>
                        <a:pt x="979" y="1204"/>
                      </a:lnTo>
                      <a:cubicBezTo>
                        <a:pt x="988" y="1160"/>
                        <a:pt x="994" y="1116"/>
                        <a:pt x="998" y="1072"/>
                      </a:cubicBezTo>
                      <a:lnTo>
                        <a:pt x="998" y="1072"/>
                      </a:lnTo>
                      <a:cubicBezTo>
                        <a:pt x="999" y="1058"/>
                        <a:pt x="1000" y="1044"/>
                        <a:pt x="1001" y="1031"/>
                      </a:cubicBezTo>
                      <a:lnTo>
                        <a:pt x="1001" y="1031"/>
                      </a:lnTo>
                      <a:cubicBezTo>
                        <a:pt x="1002" y="1023"/>
                        <a:pt x="1003" y="1014"/>
                        <a:pt x="1003" y="1006"/>
                      </a:cubicBezTo>
                      <a:lnTo>
                        <a:pt x="1003" y="1006"/>
                      </a:lnTo>
                      <a:cubicBezTo>
                        <a:pt x="1004" y="982"/>
                        <a:pt x="1005" y="959"/>
                        <a:pt x="1006" y="935"/>
                      </a:cubicBezTo>
                      <a:lnTo>
                        <a:pt x="1006" y="935"/>
                      </a:lnTo>
                      <a:cubicBezTo>
                        <a:pt x="1006" y="916"/>
                        <a:pt x="1006" y="897"/>
                        <a:pt x="1006" y="878"/>
                      </a:cubicBezTo>
                      <a:lnTo>
                        <a:pt x="1006" y="878"/>
                      </a:lnTo>
                      <a:cubicBezTo>
                        <a:pt x="1005" y="840"/>
                        <a:pt x="1004" y="802"/>
                        <a:pt x="999" y="764"/>
                      </a:cubicBezTo>
                      <a:lnTo>
                        <a:pt x="999" y="764"/>
                      </a:lnTo>
                      <a:cubicBezTo>
                        <a:pt x="995" y="737"/>
                        <a:pt x="991" y="710"/>
                        <a:pt x="985" y="683"/>
                      </a:cubicBezTo>
                      <a:lnTo>
                        <a:pt x="985" y="683"/>
                      </a:lnTo>
                      <a:cubicBezTo>
                        <a:pt x="979" y="654"/>
                        <a:pt x="970" y="625"/>
                        <a:pt x="960" y="598"/>
                      </a:cubicBezTo>
                      <a:lnTo>
                        <a:pt x="960" y="598"/>
                      </a:lnTo>
                      <a:cubicBezTo>
                        <a:pt x="950" y="570"/>
                        <a:pt x="938" y="545"/>
                        <a:pt x="926" y="519"/>
                      </a:cubicBezTo>
                      <a:lnTo>
                        <a:pt x="926" y="519"/>
                      </a:lnTo>
                      <a:cubicBezTo>
                        <a:pt x="913" y="491"/>
                        <a:pt x="898" y="465"/>
                        <a:pt x="882" y="438"/>
                      </a:cubicBezTo>
                      <a:lnTo>
                        <a:pt x="882" y="438"/>
                      </a:lnTo>
                      <a:cubicBezTo>
                        <a:pt x="851" y="389"/>
                        <a:pt x="812" y="347"/>
                        <a:pt x="769" y="310"/>
                      </a:cubicBezTo>
                      <a:lnTo>
                        <a:pt x="769" y="310"/>
                      </a:lnTo>
                      <a:cubicBezTo>
                        <a:pt x="727" y="273"/>
                        <a:pt x="679" y="243"/>
                        <a:pt x="628" y="220"/>
                      </a:cubicBezTo>
                      <a:lnTo>
                        <a:pt x="628" y="220"/>
                      </a:lnTo>
                      <a:cubicBezTo>
                        <a:pt x="574" y="196"/>
                        <a:pt x="516" y="183"/>
                        <a:pt x="458" y="177"/>
                      </a:cubicBezTo>
                      <a:lnTo>
                        <a:pt x="458" y="177"/>
                      </a:lnTo>
                      <a:cubicBezTo>
                        <a:pt x="442" y="176"/>
                        <a:pt x="426" y="175"/>
                        <a:pt x="410" y="175"/>
                      </a:cubicBezTo>
                      <a:lnTo>
                        <a:pt x="410" y="175"/>
                      </a:lnTo>
                      <a:cubicBezTo>
                        <a:pt x="418" y="169"/>
                        <a:pt x="426" y="163"/>
                        <a:pt x="434" y="158"/>
                      </a:cubicBezTo>
                      <a:lnTo>
                        <a:pt x="434" y="158"/>
                      </a:lnTo>
                      <a:cubicBezTo>
                        <a:pt x="450" y="148"/>
                        <a:pt x="467" y="139"/>
                        <a:pt x="484" y="131"/>
                      </a:cubicBezTo>
                      <a:lnTo>
                        <a:pt x="484" y="131"/>
                      </a:lnTo>
                      <a:cubicBezTo>
                        <a:pt x="505" y="122"/>
                        <a:pt x="527" y="113"/>
                        <a:pt x="549" y="108"/>
                      </a:cubicBezTo>
                      <a:lnTo>
                        <a:pt x="549" y="108"/>
                      </a:lnTo>
                      <a:cubicBezTo>
                        <a:pt x="574" y="101"/>
                        <a:pt x="598" y="95"/>
                        <a:pt x="624" y="91"/>
                      </a:cubicBezTo>
                      <a:lnTo>
                        <a:pt x="624" y="91"/>
                      </a:lnTo>
                      <a:cubicBezTo>
                        <a:pt x="674" y="82"/>
                        <a:pt x="723" y="70"/>
                        <a:pt x="772" y="62"/>
                      </a:cubicBezTo>
                      <a:lnTo>
                        <a:pt x="772" y="62"/>
                      </a:lnTo>
                      <a:cubicBezTo>
                        <a:pt x="770" y="62"/>
                        <a:pt x="768" y="62"/>
                        <a:pt x="765" y="63"/>
                      </a:cubicBezTo>
                      <a:lnTo>
                        <a:pt x="765" y="63"/>
                      </a:lnTo>
                      <a:cubicBezTo>
                        <a:pt x="788" y="60"/>
                        <a:pt x="810" y="57"/>
                        <a:pt x="833" y="56"/>
                      </a:cubicBezTo>
                      <a:lnTo>
                        <a:pt x="806" y="2"/>
                      </a:lnTo>
                      <a:lnTo>
                        <a:pt x="806" y="2"/>
                      </a:lnTo>
                      <a:cubicBezTo>
                        <a:pt x="764" y="6"/>
                        <a:pt x="723" y="14"/>
                        <a:pt x="682" y="22"/>
                      </a:cubicBezTo>
                      <a:lnTo>
                        <a:pt x="682" y="22"/>
                      </a:lnTo>
                      <a:cubicBezTo>
                        <a:pt x="662" y="27"/>
                        <a:pt x="643" y="31"/>
                        <a:pt x="623" y="34"/>
                      </a:cubicBezTo>
                      <a:lnTo>
                        <a:pt x="623" y="34"/>
                      </a:lnTo>
                      <a:cubicBezTo>
                        <a:pt x="605" y="38"/>
                        <a:pt x="587" y="41"/>
                        <a:pt x="570" y="45"/>
                      </a:cubicBezTo>
                      <a:lnTo>
                        <a:pt x="570" y="45"/>
                      </a:lnTo>
                      <a:cubicBezTo>
                        <a:pt x="540" y="52"/>
                        <a:pt x="511" y="61"/>
                        <a:pt x="482" y="71"/>
                      </a:cubicBezTo>
                      <a:lnTo>
                        <a:pt x="482" y="71"/>
                      </a:lnTo>
                      <a:cubicBezTo>
                        <a:pt x="452" y="82"/>
                        <a:pt x="425" y="98"/>
                        <a:pt x="398" y="115"/>
                      </a:cubicBezTo>
                      <a:lnTo>
                        <a:pt x="398" y="115"/>
                      </a:lnTo>
                      <a:cubicBezTo>
                        <a:pt x="375" y="131"/>
                        <a:pt x="353" y="146"/>
                        <a:pt x="330" y="162"/>
                      </a:cubicBezTo>
                      <a:lnTo>
                        <a:pt x="330" y="162"/>
                      </a:lnTo>
                      <a:cubicBezTo>
                        <a:pt x="318" y="170"/>
                        <a:pt x="306" y="177"/>
                        <a:pt x="294" y="185"/>
                      </a:cubicBezTo>
                      <a:lnTo>
                        <a:pt x="294" y="185"/>
                      </a:lnTo>
                      <a:cubicBezTo>
                        <a:pt x="288" y="189"/>
                        <a:pt x="283" y="192"/>
                        <a:pt x="278" y="196"/>
                      </a:cubicBezTo>
                      <a:lnTo>
                        <a:pt x="278" y="196"/>
                      </a:lnTo>
                      <a:cubicBezTo>
                        <a:pt x="277" y="196"/>
                        <a:pt x="275" y="197"/>
                        <a:pt x="274" y="198"/>
                      </a:cubicBezTo>
                      <a:lnTo>
                        <a:pt x="274" y="198"/>
                      </a:lnTo>
                      <a:cubicBezTo>
                        <a:pt x="265" y="203"/>
                        <a:pt x="256" y="209"/>
                        <a:pt x="247" y="215"/>
                      </a:cubicBezTo>
                      <a:lnTo>
                        <a:pt x="247" y="215"/>
                      </a:lnTo>
                      <a:cubicBezTo>
                        <a:pt x="234" y="225"/>
                        <a:pt x="222" y="236"/>
                        <a:pt x="211" y="248"/>
                      </a:cubicBezTo>
                      <a:lnTo>
                        <a:pt x="211" y="248"/>
                      </a:lnTo>
                      <a:cubicBezTo>
                        <a:pt x="200" y="258"/>
                        <a:pt x="201" y="277"/>
                        <a:pt x="212" y="287"/>
                      </a:cubicBezTo>
                      <a:lnTo>
                        <a:pt x="212" y="287"/>
                      </a:lnTo>
                      <a:cubicBezTo>
                        <a:pt x="223" y="298"/>
                        <a:pt x="240" y="297"/>
                        <a:pt x="251" y="286"/>
                      </a:cubicBezTo>
                      <a:lnTo>
                        <a:pt x="251" y="286"/>
                      </a:lnTo>
                      <a:cubicBezTo>
                        <a:pt x="258" y="279"/>
                        <a:pt x="265" y="272"/>
                        <a:pt x="273" y="266"/>
                      </a:cubicBezTo>
                      <a:lnTo>
                        <a:pt x="273" y="266"/>
                      </a:lnTo>
                      <a:cubicBezTo>
                        <a:pt x="279" y="264"/>
                        <a:pt x="285" y="262"/>
                        <a:pt x="288" y="257"/>
                      </a:cubicBezTo>
                      <a:lnTo>
                        <a:pt x="288" y="257"/>
                      </a:lnTo>
                      <a:cubicBezTo>
                        <a:pt x="289" y="256"/>
                        <a:pt x="290" y="255"/>
                        <a:pt x="291" y="254"/>
                      </a:cubicBezTo>
                      <a:lnTo>
                        <a:pt x="291" y="254"/>
                      </a:lnTo>
                      <a:cubicBezTo>
                        <a:pt x="295" y="251"/>
                        <a:pt x="299" y="249"/>
                        <a:pt x="303" y="246"/>
                      </a:cubicBezTo>
                      <a:lnTo>
                        <a:pt x="303" y="246"/>
                      </a:lnTo>
                      <a:cubicBezTo>
                        <a:pt x="304" y="246"/>
                        <a:pt x="305" y="245"/>
                        <a:pt x="305" y="244"/>
                      </a:cubicBezTo>
                      <a:lnTo>
                        <a:pt x="305" y="244"/>
                      </a:lnTo>
                      <a:cubicBezTo>
                        <a:pt x="318" y="239"/>
                        <a:pt x="331" y="235"/>
                        <a:pt x="345" y="232"/>
                      </a:cubicBezTo>
                      <a:lnTo>
                        <a:pt x="345" y="232"/>
                      </a:lnTo>
                      <a:cubicBezTo>
                        <a:pt x="379" y="227"/>
                        <a:pt x="414" y="229"/>
                        <a:pt x="449" y="232"/>
                      </a:cubicBezTo>
                      <a:lnTo>
                        <a:pt x="449" y="232"/>
                      </a:lnTo>
                      <a:cubicBezTo>
                        <a:pt x="447" y="232"/>
                        <a:pt x="446" y="232"/>
                        <a:pt x="445" y="232"/>
                      </a:cubicBezTo>
                      <a:lnTo>
                        <a:pt x="445" y="232"/>
                      </a:lnTo>
                      <a:cubicBezTo>
                        <a:pt x="447" y="232"/>
                        <a:pt x="449" y="232"/>
                        <a:pt x="450" y="233"/>
                      </a:cubicBezTo>
                      <a:lnTo>
                        <a:pt x="453" y="233"/>
                      </a:lnTo>
                      <a:lnTo>
                        <a:pt x="453" y="233"/>
                      </a:lnTo>
                      <a:cubicBezTo>
                        <a:pt x="452" y="233"/>
                        <a:pt x="452" y="233"/>
                        <a:pt x="452" y="233"/>
                      </a:cubicBezTo>
                      <a:lnTo>
                        <a:pt x="452" y="233"/>
                      </a:lnTo>
                      <a:cubicBezTo>
                        <a:pt x="497" y="237"/>
                        <a:pt x="542" y="246"/>
                        <a:pt x="586" y="262"/>
                      </a:cubicBezTo>
                      <a:lnTo>
                        <a:pt x="586" y="262"/>
                      </a:lnTo>
                      <a:cubicBezTo>
                        <a:pt x="627" y="278"/>
                        <a:pt x="664" y="300"/>
                        <a:pt x="700" y="326"/>
                      </a:cubicBezTo>
                      <a:lnTo>
                        <a:pt x="700" y="326"/>
                      </a:lnTo>
                      <a:cubicBezTo>
                        <a:pt x="737" y="354"/>
                        <a:pt x="771" y="385"/>
                        <a:pt x="801" y="420"/>
                      </a:cubicBezTo>
                      <a:lnTo>
                        <a:pt x="801" y="420"/>
                      </a:lnTo>
                      <a:cubicBezTo>
                        <a:pt x="834" y="464"/>
                        <a:pt x="862" y="511"/>
                        <a:pt x="884" y="562"/>
                      </a:cubicBezTo>
                      <a:lnTo>
                        <a:pt x="884" y="562"/>
                      </a:lnTo>
                      <a:cubicBezTo>
                        <a:pt x="884" y="561"/>
                        <a:pt x="884" y="561"/>
                        <a:pt x="884" y="560"/>
                      </a:cubicBezTo>
                      <a:lnTo>
                        <a:pt x="884" y="560"/>
                      </a:lnTo>
                      <a:cubicBezTo>
                        <a:pt x="909" y="616"/>
                        <a:pt x="928" y="673"/>
                        <a:pt x="939" y="732"/>
                      </a:cubicBezTo>
                      <a:lnTo>
                        <a:pt x="939" y="732"/>
                      </a:lnTo>
                      <a:cubicBezTo>
                        <a:pt x="945" y="778"/>
                        <a:pt x="950" y="824"/>
                        <a:pt x="950" y="871"/>
                      </a:cubicBezTo>
                      <a:lnTo>
                        <a:pt x="950" y="871"/>
                      </a:lnTo>
                      <a:cubicBezTo>
                        <a:pt x="950" y="892"/>
                        <a:pt x="951" y="915"/>
                        <a:pt x="950" y="937"/>
                      </a:cubicBezTo>
                      <a:lnTo>
                        <a:pt x="950" y="937"/>
                      </a:lnTo>
                      <a:cubicBezTo>
                        <a:pt x="950" y="952"/>
                        <a:pt x="949" y="967"/>
                        <a:pt x="948" y="983"/>
                      </a:cubicBezTo>
                      <a:lnTo>
                        <a:pt x="948" y="983"/>
                      </a:lnTo>
                      <a:cubicBezTo>
                        <a:pt x="948" y="992"/>
                        <a:pt x="948" y="1000"/>
                        <a:pt x="947" y="1009"/>
                      </a:cubicBezTo>
                      <a:lnTo>
                        <a:pt x="947" y="1009"/>
                      </a:lnTo>
                      <a:cubicBezTo>
                        <a:pt x="945" y="1033"/>
                        <a:pt x="943" y="1057"/>
                        <a:pt x="942" y="1081"/>
                      </a:cubicBezTo>
                      <a:lnTo>
                        <a:pt x="942" y="1081"/>
                      </a:lnTo>
                      <a:cubicBezTo>
                        <a:pt x="939" y="1104"/>
                        <a:pt x="937" y="1127"/>
                        <a:pt x="933" y="1149"/>
                      </a:cubicBezTo>
                      <a:lnTo>
                        <a:pt x="933" y="1149"/>
                      </a:lnTo>
                      <a:cubicBezTo>
                        <a:pt x="929" y="1177"/>
                        <a:pt x="922" y="1205"/>
                        <a:pt x="915" y="1232"/>
                      </a:cubicBezTo>
                      <a:lnTo>
                        <a:pt x="915" y="1232"/>
                      </a:lnTo>
                      <a:cubicBezTo>
                        <a:pt x="903" y="1285"/>
                        <a:pt x="889" y="1338"/>
                        <a:pt x="870" y="1389"/>
                      </a:cubicBezTo>
                      <a:lnTo>
                        <a:pt x="870" y="1389"/>
                      </a:lnTo>
                      <a:cubicBezTo>
                        <a:pt x="851" y="1438"/>
                        <a:pt x="826" y="1485"/>
                        <a:pt x="794" y="1529"/>
                      </a:cubicBezTo>
                      <a:lnTo>
                        <a:pt x="794" y="1529"/>
                      </a:lnTo>
                      <a:cubicBezTo>
                        <a:pt x="795" y="1528"/>
                        <a:pt x="795" y="1528"/>
                        <a:pt x="796" y="1527"/>
                      </a:cubicBezTo>
                      <a:lnTo>
                        <a:pt x="796" y="1527"/>
                      </a:lnTo>
                      <a:cubicBezTo>
                        <a:pt x="795" y="1528"/>
                        <a:pt x="795" y="1528"/>
                        <a:pt x="794" y="1529"/>
                      </a:cubicBezTo>
                      <a:lnTo>
                        <a:pt x="794" y="1529"/>
                      </a:lnTo>
                      <a:cubicBezTo>
                        <a:pt x="793" y="1530"/>
                        <a:pt x="792" y="1531"/>
                        <a:pt x="791" y="1533"/>
                      </a:cubicBezTo>
                      <a:lnTo>
                        <a:pt x="791" y="1533"/>
                      </a:lnTo>
                      <a:cubicBezTo>
                        <a:pt x="792" y="1532"/>
                        <a:pt x="793" y="1530"/>
                        <a:pt x="794" y="1529"/>
                      </a:cubicBezTo>
                      <a:lnTo>
                        <a:pt x="794" y="1529"/>
                      </a:lnTo>
                      <a:cubicBezTo>
                        <a:pt x="763" y="1570"/>
                        <a:pt x="727" y="1607"/>
                        <a:pt x="687" y="1641"/>
                      </a:cubicBezTo>
                      <a:lnTo>
                        <a:pt x="687" y="1641"/>
                      </a:lnTo>
                      <a:cubicBezTo>
                        <a:pt x="668" y="1656"/>
                        <a:pt x="649" y="1672"/>
                        <a:pt x="630" y="1688"/>
                      </a:cubicBezTo>
                      <a:lnTo>
                        <a:pt x="630" y="1688"/>
                      </a:lnTo>
                      <a:cubicBezTo>
                        <a:pt x="631" y="1688"/>
                        <a:pt x="631" y="1687"/>
                        <a:pt x="632" y="1686"/>
                      </a:cubicBezTo>
                      <a:lnTo>
                        <a:pt x="632" y="1686"/>
                      </a:lnTo>
                      <a:cubicBezTo>
                        <a:pt x="631" y="1687"/>
                        <a:pt x="631" y="1688"/>
                        <a:pt x="630" y="1688"/>
                      </a:cubicBezTo>
                      <a:lnTo>
                        <a:pt x="630" y="1688"/>
                      </a:lnTo>
                      <a:cubicBezTo>
                        <a:pt x="628" y="1689"/>
                        <a:pt x="628" y="1690"/>
                        <a:pt x="627" y="1691"/>
                      </a:cubicBezTo>
                      <a:lnTo>
                        <a:pt x="627" y="1691"/>
                      </a:lnTo>
                      <a:cubicBezTo>
                        <a:pt x="628" y="1690"/>
                        <a:pt x="628" y="1689"/>
                        <a:pt x="629" y="1689"/>
                      </a:cubicBezTo>
                      <a:lnTo>
                        <a:pt x="629" y="1689"/>
                      </a:lnTo>
                      <a:cubicBezTo>
                        <a:pt x="600" y="1712"/>
                        <a:pt x="571" y="1733"/>
                        <a:pt x="540" y="1752"/>
                      </a:cubicBezTo>
                      <a:lnTo>
                        <a:pt x="540" y="1752"/>
                      </a:lnTo>
                      <a:cubicBezTo>
                        <a:pt x="505" y="1774"/>
                        <a:pt x="467" y="1792"/>
                        <a:pt x="430" y="1810"/>
                      </a:cubicBezTo>
                      <a:lnTo>
                        <a:pt x="430" y="1810"/>
                      </a:lnTo>
                      <a:cubicBezTo>
                        <a:pt x="432" y="1809"/>
                        <a:pt x="433" y="1808"/>
                        <a:pt x="435" y="1808"/>
                      </a:cubicBezTo>
                      <a:lnTo>
                        <a:pt x="435" y="1808"/>
                      </a:lnTo>
                      <a:cubicBezTo>
                        <a:pt x="395" y="1826"/>
                        <a:pt x="356" y="1843"/>
                        <a:pt x="316" y="1860"/>
                      </a:cubicBezTo>
                      <a:lnTo>
                        <a:pt x="316" y="1860"/>
                      </a:lnTo>
                      <a:cubicBezTo>
                        <a:pt x="298" y="1868"/>
                        <a:pt x="279" y="1876"/>
                        <a:pt x="261" y="1883"/>
                      </a:cubicBezTo>
                      <a:lnTo>
                        <a:pt x="261" y="1883"/>
                      </a:lnTo>
                      <a:cubicBezTo>
                        <a:pt x="242" y="1891"/>
                        <a:pt x="223" y="1897"/>
                        <a:pt x="204" y="1903"/>
                      </a:cubicBezTo>
                      <a:lnTo>
                        <a:pt x="204" y="1903"/>
                      </a:lnTo>
                      <a:cubicBezTo>
                        <a:pt x="197" y="1905"/>
                        <a:pt x="190" y="1908"/>
                        <a:pt x="183" y="1909"/>
                      </a:cubicBezTo>
                      <a:lnTo>
                        <a:pt x="183" y="1909"/>
                      </a:lnTo>
                      <a:cubicBezTo>
                        <a:pt x="173" y="1913"/>
                        <a:pt x="162" y="1915"/>
                        <a:pt x="152" y="1918"/>
                      </a:cubicBezTo>
                      <a:lnTo>
                        <a:pt x="152" y="1918"/>
                      </a:lnTo>
                      <a:cubicBezTo>
                        <a:pt x="131" y="1924"/>
                        <a:pt x="110" y="1929"/>
                        <a:pt x="89" y="1934"/>
                      </a:cubicBezTo>
                      <a:lnTo>
                        <a:pt x="89" y="1934"/>
                      </a:lnTo>
                      <a:cubicBezTo>
                        <a:pt x="69" y="1939"/>
                        <a:pt x="49" y="1943"/>
                        <a:pt x="30" y="1950"/>
                      </a:cubicBezTo>
                      <a:lnTo>
                        <a:pt x="30" y="1950"/>
                      </a:lnTo>
                      <a:cubicBezTo>
                        <a:pt x="25" y="1952"/>
                        <a:pt x="21" y="1954"/>
                        <a:pt x="17" y="1957"/>
                      </a:cubicBezTo>
                      <a:lnTo>
                        <a:pt x="17" y="1957"/>
                      </a:lnTo>
                      <a:cubicBezTo>
                        <a:pt x="12" y="1961"/>
                        <a:pt x="9" y="1965"/>
                        <a:pt x="6" y="1971"/>
                      </a:cubicBezTo>
                      <a:lnTo>
                        <a:pt x="6" y="1971"/>
                      </a:lnTo>
                      <a:cubicBezTo>
                        <a:pt x="0" y="1982"/>
                        <a:pt x="1" y="1996"/>
                        <a:pt x="8" y="2007"/>
                      </a:cubicBezTo>
                      <a:lnTo>
                        <a:pt x="8" y="2007"/>
                      </a:lnTo>
                      <a:cubicBezTo>
                        <a:pt x="22" y="2029"/>
                        <a:pt x="44" y="2045"/>
                        <a:pt x="66" y="2058"/>
                      </a:cubicBezTo>
                      <a:lnTo>
                        <a:pt x="66" y="2058"/>
                      </a:lnTo>
                      <a:cubicBezTo>
                        <a:pt x="97" y="2076"/>
                        <a:pt x="129" y="2089"/>
                        <a:pt x="162" y="2102"/>
                      </a:cubicBezTo>
                      <a:lnTo>
                        <a:pt x="162" y="2102"/>
                      </a:lnTo>
                      <a:cubicBezTo>
                        <a:pt x="169" y="2105"/>
                        <a:pt x="177" y="2108"/>
                        <a:pt x="185" y="2110"/>
                      </a:cubicBezTo>
                      <a:lnTo>
                        <a:pt x="185" y="2110"/>
                      </a:lnTo>
                      <a:cubicBezTo>
                        <a:pt x="197" y="2115"/>
                        <a:pt x="209" y="2119"/>
                        <a:pt x="221" y="2122"/>
                      </a:cubicBezTo>
                      <a:lnTo>
                        <a:pt x="221" y="2122"/>
                      </a:lnTo>
                      <a:cubicBezTo>
                        <a:pt x="258" y="2134"/>
                        <a:pt x="295" y="2145"/>
                        <a:pt x="332" y="2154"/>
                      </a:cubicBezTo>
                      <a:lnTo>
                        <a:pt x="332" y="2154"/>
                      </a:lnTo>
                      <a:cubicBezTo>
                        <a:pt x="372" y="2164"/>
                        <a:pt x="413" y="2176"/>
                        <a:pt x="453" y="2185"/>
                      </a:cubicBezTo>
                      <a:lnTo>
                        <a:pt x="453" y="2185"/>
                      </a:lnTo>
                      <a:cubicBezTo>
                        <a:pt x="477" y="2190"/>
                        <a:pt x="500" y="2196"/>
                        <a:pt x="523" y="2201"/>
                      </a:cubicBezTo>
                      <a:lnTo>
                        <a:pt x="523" y="2201"/>
                      </a:lnTo>
                      <a:cubicBezTo>
                        <a:pt x="568" y="2211"/>
                        <a:pt x="613" y="2218"/>
                        <a:pt x="659" y="2221"/>
                      </a:cubicBezTo>
                      <a:lnTo>
                        <a:pt x="659" y="2221"/>
                      </a:lnTo>
                      <a:cubicBezTo>
                        <a:pt x="687" y="2224"/>
                        <a:pt x="715" y="2223"/>
                        <a:pt x="743" y="2224"/>
                      </a:cubicBezTo>
                      <a:lnTo>
                        <a:pt x="743" y="2224"/>
                      </a:lnTo>
                      <a:cubicBezTo>
                        <a:pt x="762" y="2224"/>
                        <a:pt x="780" y="2223"/>
                        <a:pt x="798" y="2222"/>
                      </a:cubicBezTo>
                      <a:lnTo>
                        <a:pt x="798" y="2222"/>
                      </a:lnTo>
                      <a:cubicBezTo>
                        <a:pt x="816" y="2222"/>
                        <a:pt x="835" y="2221"/>
                        <a:pt x="853" y="2220"/>
                      </a:cubicBezTo>
                      <a:lnTo>
                        <a:pt x="853" y="2220"/>
                      </a:lnTo>
                      <a:cubicBezTo>
                        <a:pt x="873" y="2219"/>
                        <a:pt x="892" y="2217"/>
                        <a:pt x="912" y="2214"/>
                      </a:cubicBezTo>
                      <a:lnTo>
                        <a:pt x="912" y="2214"/>
                      </a:lnTo>
                      <a:cubicBezTo>
                        <a:pt x="936" y="2211"/>
                        <a:pt x="960" y="2208"/>
                        <a:pt x="984" y="2203"/>
                      </a:cubicBezTo>
                      <a:lnTo>
                        <a:pt x="984" y="2203"/>
                      </a:lnTo>
                      <a:cubicBezTo>
                        <a:pt x="1013" y="2198"/>
                        <a:pt x="1040" y="2193"/>
                        <a:pt x="1066" y="2185"/>
                      </a:cubicBezTo>
                      <a:lnTo>
                        <a:pt x="1066" y="2185"/>
                      </a:lnTo>
                      <a:cubicBezTo>
                        <a:pt x="1096" y="2177"/>
                        <a:pt x="1125" y="2167"/>
                        <a:pt x="1154" y="2155"/>
                      </a:cubicBezTo>
                      <a:lnTo>
                        <a:pt x="1154" y="2155"/>
                      </a:lnTo>
                      <a:cubicBezTo>
                        <a:pt x="1185" y="2142"/>
                        <a:pt x="1216" y="2128"/>
                        <a:pt x="1247" y="2113"/>
                      </a:cubicBezTo>
                      <a:lnTo>
                        <a:pt x="1247" y="2113"/>
                      </a:lnTo>
                      <a:cubicBezTo>
                        <a:pt x="1265" y="2105"/>
                        <a:pt x="1281" y="2096"/>
                        <a:pt x="1298" y="2089"/>
                      </a:cubicBezTo>
                      <a:lnTo>
                        <a:pt x="1298" y="2089"/>
                      </a:lnTo>
                      <a:cubicBezTo>
                        <a:pt x="1318" y="2079"/>
                        <a:pt x="1337" y="2070"/>
                        <a:pt x="1357" y="2060"/>
                      </a:cubicBezTo>
                      <a:lnTo>
                        <a:pt x="1357" y="2060"/>
                      </a:lnTo>
                      <a:cubicBezTo>
                        <a:pt x="1374" y="2052"/>
                        <a:pt x="1391" y="2044"/>
                        <a:pt x="1408" y="2034"/>
                      </a:cubicBezTo>
                      <a:lnTo>
                        <a:pt x="1408" y="2034"/>
                      </a:lnTo>
                      <a:cubicBezTo>
                        <a:pt x="1425" y="2024"/>
                        <a:pt x="1441" y="2013"/>
                        <a:pt x="1457" y="2001"/>
                      </a:cubicBezTo>
                      <a:lnTo>
                        <a:pt x="1457" y="2001"/>
                      </a:lnTo>
                      <a:cubicBezTo>
                        <a:pt x="1473" y="1988"/>
                        <a:pt x="1491" y="1975"/>
                        <a:pt x="1506" y="1960"/>
                      </a:cubicBezTo>
                      <a:lnTo>
                        <a:pt x="1506" y="1960"/>
                      </a:lnTo>
                      <a:cubicBezTo>
                        <a:pt x="1535" y="1933"/>
                        <a:pt x="1563" y="1905"/>
                        <a:pt x="1590" y="1874"/>
                      </a:cubicBezTo>
                      <a:lnTo>
                        <a:pt x="1590" y="1874"/>
                      </a:lnTo>
                      <a:cubicBezTo>
                        <a:pt x="1616" y="1844"/>
                        <a:pt x="1639" y="1811"/>
                        <a:pt x="1661" y="1777"/>
                      </a:cubicBezTo>
                      <a:lnTo>
                        <a:pt x="1661" y="1777"/>
                      </a:lnTo>
                      <a:cubicBezTo>
                        <a:pt x="1672" y="1760"/>
                        <a:pt x="1682" y="1742"/>
                        <a:pt x="1691" y="1723"/>
                      </a:cubicBezTo>
                      <a:lnTo>
                        <a:pt x="1691" y="1723"/>
                      </a:lnTo>
                      <a:cubicBezTo>
                        <a:pt x="1701" y="1705"/>
                        <a:pt x="1711" y="1686"/>
                        <a:pt x="1717" y="1666"/>
                      </a:cubicBezTo>
                      <a:lnTo>
                        <a:pt x="1717" y="1666"/>
                      </a:lnTo>
                      <a:cubicBezTo>
                        <a:pt x="1723" y="1649"/>
                        <a:pt x="1729" y="1632"/>
                        <a:pt x="1734" y="1615"/>
                      </a:cubicBezTo>
                      <a:lnTo>
                        <a:pt x="1734" y="1615"/>
                      </a:lnTo>
                      <a:cubicBezTo>
                        <a:pt x="1740" y="1595"/>
                        <a:pt x="1745" y="1577"/>
                        <a:pt x="1750" y="1557"/>
                      </a:cubicBezTo>
                      <a:lnTo>
                        <a:pt x="1750" y="1557"/>
                      </a:lnTo>
                      <a:cubicBezTo>
                        <a:pt x="1755" y="1537"/>
                        <a:pt x="1761" y="1516"/>
                        <a:pt x="1766" y="1495"/>
                      </a:cubicBezTo>
                      <a:lnTo>
                        <a:pt x="1766" y="1495"/>
                      </a:lnTo>
                      <a:cubicBezTo>
                        <a:pt x="1771" y="1473"/>
                        <a:pt x="1776" y="1451"/>
                        <a:pt x="1781" y="1429"/>
                      </a:cubicBezTo>
                      <a:lnTo>
                        <a:pt x="1781" y="1429"/>
                      </a:lnTo>
                      <a:cubicBezTo>
                        <a:pt x="1786" y="1409"/>
                        <a:pt x="1788" y="1388"/>
                        <a:pt x="1792" y="1368"/>
                      </a:cubicBezTo>
                      <a:lnTo>
                        <a:pt x="1792" y="1368"/>
                      </a:lnTo>
                      <a:cubicBezTo>
                        <a:pt x="1796" y="1348"/>
                        <a:pt x="1798" y="1328"/>
                        <a:pt x="1800" y="1308"/>
                      </a:cubicBezTo>
                      <a:lnTo>
                        <a:pt x="1800" y="1308"/>
                      </a:lnTo>
                      <a:cubicBezTo>
                        <a:pt x="1804" y="1269"/>
                        <a:pt x="1805" y="1229"/>
                        <a:pt x="1804" y="1190"/>
                      </a:cubicBezTo>
                      <a:lnTo>
                        <a:pt x="1804" y="1190"/>
                      </a:lnTo>
                      <a:cubicBezTo>
                        <a:pt x="1804" y="1171"/>
                        <a:pt x="1804" y="1152"/>
                        <a:pt x="1803" y="1133"/>
                      </a:cubicBezTo>
                      <a:lnTo>
                        <a:pt x="1803" y="1133"/>
                      </a:lnTo>
                      <a:cubicBezTo>
                        <a:pt x="1802" y="1111"/>
                        <a:pt x="1802" y="1090"/>
                        <a:pt x="1800" y="1068"/>
                      </a:cubicBezTo>
                      <a:lnTo>
                        <a:pt x="1800" y="1068"/>
                      </a:lnTo>
                      <a:cubicBezTo>
                        <a:pt x="1798" y="1046"/>
                        <a:pt x="1796" y="1024"/>
                        <a:pt x="1794" y="1002"/>
                      </a:cubicBezTo>
                      <a:lnTo>
                        <a:pt x="1794" y="1002"/>
                      </a:lnTo>
                      <a:cubicBezTo>
                        <a:pt x="1793" y="994"/>
                        <a:pt x="1791" y="986"/>
                        <a:pt x="1791" y="978"/>
                      </a:cubicBezTo>
                      <a:lnTo>
                        <a:pt x="1791" y="978"/>
                      </a:lnTo>
                      <a:cubicBezTo>
                        <a:pt x="1789" y="966"/>
                        <a:pt x="1787" y="953"/>
                        <a:pt x="1785" y="941"/>
                      </a:cubicBezTo>
                      <a:lnTo>
                        <a:pt x="1785" y="941"/>
                      </a:lnTo>
                      <a:cubicBezTo>
                        <a:pt x="1782" y="919"/>
                        <a:pt x="1778" y="897"/>
                        <a:pt x="1774" y="875"/>
                      </a:cubicBezTo>
                      <a:lnTo>
                        <a:pt x="1774" y="875"/>
                      </a:lnTo>
                      <a:cubicBezTo>
                        <a:pt x="1770" y="855"/>
                        <a:pt x="1766" y="835"/>
                        <a:pt x="1762" y="816"/>
                      </a:cubicBezTo>
                      <a:lnTo>
                        <a:pt x="1762" y="816"/>
                      </a:lnTo>
                      <a:cubicBezTo>
                        <a:pt x="1754" y="777"/>
                        <a:pt x="1745" y="737"/>
                        <a:pt x="1736" y="699"/>
                      </a:cubicBezTo>
                      <a:lnTo>
                        <a:pt x="1736" y="699"/>
                      </a:lnTo>
                      <a:cubicBezTo>
                        <a:pt x="1723" y="640"/>
                        <a:pt x="1696" y="588"/>
                        <a:pt x="1670" y="534"/>
                      </a:cubicBezTo>
                      <a:lnTo>
                        <a:pt x="1670" y="534"/>
                      </a:lnTo>
                      <a:cubicBezTo>
                        <a:pt x="1659" y="510"/>
                        <a:pt x="1647" y="485"/>
                        <a:pt x="1634" y="462"/>
                      </a:cubicBezTo>
                      <a:lnTo>
                        <a:pt x="1634" y="462"/>
                      </a:lnTo>
                      <a:cubicBezTo>
                        <a:pt x="1622" y="438"/>
                        <a:pt x="1606" y="416"/>
                        <a:pt x="1588" y="397"/>
                      </a:cubicBezTo>
                      <a:lnTo>
                        <a:pt x="1588" y="397"/>
                      </a:lnTo>
                      <a:cubicBezTo>
                        <a:pt x="1576" y="384"/>
                        <a:pt x="1563" y="374"/>
                        <a:pt x="1550" y="363"/>
                      </a:cubicBezTo>
                      <a:lnTo>
                        <a:pt x="1550" y="363"/>
                      </a:lnTo>
                      <a:cubicBezTo>
                        <a:pt x="1519" y="337"/>
                        <a:pt x="1489" y="311"/>
                        <a:pt x="1459" y="284"/>
                      </a:cubicBezTo>
                      <a:lnTo>
                        <a:pt x="1459" y="284"/>
                      </a:lnTo>
                      <a:cubicBezTo>
                        <a:pt x="1428" y="258"/>
                        <a:pt x="1398" y="232"/>
                        <a:pt x="1366" y="207"/>
                      </a:cubicBezTo>
                      <a:lnTo>
                        <a:pt x="1366" y="207"/>
                      </a:lnTo>
                      <a:cubicBezTo>
                        <a:pt x="1358" y="201"/>
                        <a:pt x="1350" y="195"/>
                        <a:pt x="1341" y="188"/>
                      </a:cubicBezTo>
                      <a:lnTo>
                        <a:pt x="1341" y="188"/>
                      </a:lnTo>
                      <a:cubicBezTo>
                        <a:pt x="1333" y="182"/>
                        <a:pt x="1324" y="175"/>
                        <a:pt x="1314" y="169"/>
                      </a:cubicBezTo>
                      <a:lnTo>
                        <a:pt x="1314" y="169"/>
                      </a:lnTo>
                      <a:cubicBezTo>
                        <a:pt x="1306" y="163"/>
                        <a:pt x="1297" y="157"/>
                        <a:pt x="1288" y="152"/>
                      </a:cubicBezTo>
                      <a:lnTo>
                        <a:pt x="1288" y="152"/>
                      </a:lnTo>
                      <a:cubicBezTo>
                        <a:pt x="1279" y="146"/>
                        <a:pt x="1269" y="141"/>
                        <a:pt x="1260" y="136"/>
                      </a:cubicBezTo>
                      <a:lnTo>
                        <a:pt x="1260" y="136"/>
                      </a:lnTo>
                      <a:cubicBezTo>
                        <a:pt x="1243" y="126"/>
                        <a:pt x="1226" y="118"/>
                        <a:pt x="1209" y="109"/>
                      </a:cubicBezTo>
                      <a:lnTo>
                        <a:pt x="1209" y="109"/>
                      </a:lnTo>
                      <a:cubicBezTo>
                        <a:pt x="1193" y="100"/>
                        <a:pt x="1176" y="92"/>
                        <a:pt x="1160" y="84"/>
                      </a:cubicBezTo>
                      <a:lnTo>
                        <a:pt x="1160" y="84"/>
                      </a:lnTo>
                      <a:cubicBezTo>
                        <a:pt x="1122" y="66"/>
                        <a:pt x="1085" y="50"/>
                        <a:pt x="1046" y="36"/>
                      </a:cubicBezTo>
                      <a:lnTo>
                        <a:pt x="1046" y="36"/>
                      </a:lnTo>
                      <a:cubicBezTo>
                        <a:pt x="1009" y="22"/>
                        <a:pt x="971" y="11"/>
                        <a:pt x="932" y="6"/>
                      </a:cubicBezTo>
                      <a:lnTo>
                        <a:pt x="932" y="6"/>
                      </a:lnTo>
                      <a:cubicBezTo>
                        <a:pt x="910" y="4"/>
                        <a:pt x="888" y="1"/>
                        <a:pt x="866" y="0"/>
                      </a:cubicBezTo>
                      <a:lnTo>
                        <a:pt x="866" y="0"/>
                      </a:lnTo>
                      <a:cubicBezTo>
                        <a:pt x="862" y="0"/>
                        <a:pt x="858" y="0"/>
                        <a:pt x="853" y="0"/>
                      </a:cubicBezTo>
                      <a:lnTo>
                        <a:pt x="853" y="0"/>
                      </a:lnTo>
                      <a:cubicBezTo>
                        <a:pt x="838" y="0"/>
                        <a:pt x="822" y="1"/>
                        <a:pt x="806" y="2"/>
                      </a:cubicBezTo>
                      <a:lnTo>
                        <a:pt x="833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138">
                  <a:extLst>
                    <a:ext uri="{FF2B5EF4-FFF2-40B4-BE49-F238E27FC236}">
                      <a16:creationId xmlns:a16="http://schemas.microsoft.com/office/drawing/2014/main" id="{A075123D-762E-4548-BC19-CF989BF314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8100" y="2593975"/>
                  <a:ext cx="77788" cy="60325"/>
                </a:xfrm>
                <a:custGeom>
                  <a:avLst/>
                  <a:gdLst>
                    <a:gd name="T0" fmla="*/ 189 w 218"/>
                    <a:gd name="T1" fmla="*/ 3 h 168"/>
                    <a:gd name="T2" fmla="*/ 189 w 218"/>
                    <a:gd name="T3" fmla="*/ 3 h 168"/>
                    <a:gd name="T4" fmla="*/ 12 w 218"/>
                    <a:gd name="T5" fmla="*/ 129 h 168"/>
                    <a:gd name="T6" fmla="*/ 12 w 218"/>
                    <a:gd name="T7" fmla="*/ 129 h 168"/>
                    <a:gd name="T8" fmla="*/ 5 w 218"/>
                    <a:gd name="T9" fmla="*/ 155 h 168"/>
                    <a:gd name="T10" fmla="*/ 5 w 218"/>
                    <a:gd name="T11" fmla="*/ 155 h 168"/>
                    <a:gd name="T12" fmla="*/ 31 w 218"/>
                    <a:gd name="T13" fmla="*/ 161 h 168"/>
                    <a:gd name="T14" fmla="*/ 31 w 218"/>
                    <a:gd name="T15" fmla="*/ 161 h 168"/>
                    <a:gd name="T16" fmla="*/ 208 w 218"/>
                    <a:gd name="T17" fmla="*/ 35 h 168"/>
                    <a:gd name="T18" fmla="*/ 208 w 218"/>
                    <a:gd name="T19" fmla="*/ 35 h 168"/>
                    <a:gd name="T20" fmla="*/ 216 w 218"/>
                    <a:gd name="T21" fmla="*/ 23 h 168"/>
                    <a:gd name="T22" fmla="*/ 216 w 218"/>
                    <a:gd name="T23" fmla="*/ 23 h 168"/>
                    <a:gd name="T24" fmla="*/ 214 w 218"/>
                    <a:gd name="T25" fmla="*/ 9 h 168"/>
                    <a:gd name="T26" fmla="*/ 214 w 218"/>
                    <a:gd name="T27" fmla="*/ 9 h 168"/>
                    <a:gd name="T28" fmla="*/ 197 w 218"/>
                    <a:gd name="T29" fmla="*/ 0 h 168"/>
                    <a:gd name="T30" fmla="*/ 197 w 218"/>
                    <a:gd name="T31" fmla="*/ 0 h 168"/>
                    <a:gd name="T32" fmla="*/ 189 w 218"/>
                    <a:gd name="T33" fmla="*/ 3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8" h="168">
                      <a:moveTo>
                        <a:pt x="189" y="3"/>
                      </a:moveTo>
                      <a:lnTo>
                        <a:pt x="189" y="3"/>
                      </a:lnTo>
                      <a:cubicBezTo>
                        <a:pt x="130" y="46"/>
                        <a:pt x="71" y="88"/>
                        <a:pt x="12" y="129"/>
                      </a:cubicBezTo>
                      <a:lnTo>
                        <a:pt x="12" y="129"/>
                      </a:lnTo>
                      <a:cubicBezTo>
                        <a:pt x="3" y="135"/>
                        <a:pt x="0" y="146"/>
                        <a:pt x="5" y="155"/>
                      </a:cubicBezTo>
                      <a:lnTo>
                        <a:pt x="5" y="155"/>
                      </a:lnTo>
                      <a:cubicBezTo>
                        <a:pt x="11" y="163"/>
                        <a:pt x="23" y="167"/>
                        <a:pt x="31" y="161"/>
                      </a:cubicBezTo>
                      <a:lnTo>
                        <a:pt x="31" y="161"/>
                      </a:lnTo>
                      <a:cubicBezTo>
                        <a:pt x="91" y="119"/>
                        <a:pt x="150" y="78"/>
                        <a:pt x="208" y="35"/>
                      </a:cubicBezTo>
                      <a:lnTo>
                        <a:pt x="208" y="35"/>
                      </a:lnTo>
                      <a:cubicBezTo>
                        <a:pt x="212" y="32"/>
                        <a:pt x="215" y="28"/>
                        <a:pt x="216" y="23"/>
                      </a:cubicBezTo>
                      <a:lnTo>
                        <a:pt x="216" y="23"/>
                      </a:lnTo>
                      <a:cubicBezTo>
                        <a:pt x="217" y="18"/>
                        <a:pt x="217" y="14"/>
                        <a:pt x="214" y="9"/>
                      </a:cubicBezTo>
                      <a:lnTo>
                        <a:pt x="214" y="9"/>
                      </a:lnTo>
                      <a:cubicBezTo>
                        <a:pt x="210" y="4"/>
                        <a:pt x="204" y="0"/>
                        <a:pt x="197" y="0"/>
                      </a:cubicBezTo>
                      <a:lnTo>
                        <a:pt x="197" y="0"/>
                      </a:lnTo>
                      <a:cubicBezTo>
                        <a:pt x="194" y="0"/>
                        <a:pt x="191" y="1"/>
                        <a:pt x="18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139">
                  <a:extLst>
                    <a:ext uri="{FF2B5EF4-FFF2-40B4-BE49-F238E27FC236}">
                      <a16:creationId xmlns:a16="http://schemas.microsoft.com/office/drawing/2014/main" id="{323EF97E-0C48-934D-B61B-78E4E0277A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7788" y="2374900"/>
                  <a:ext cx="163512" cy="284163"/>
                </a:xfrm>
                <a:custGeom>
                  <a:avLst/>
                  <a:gdLst>
                    <a:gd name="T0" fmla="*/ 348 w 455"/>
                    <a:gd name="T1" fmla="*/ 291 h 791"/>
                    <a:gd name="T2" fmla="*/ 347 w 455"/>
                    <a:gd name="T3" fmla="*/ 293 h 791"/>
                    <a:gd name="T4" fmla="*/ 425 w 455"/>
                    <a:gd name="T5" fmla="*/ 3 h 791"/>
                    <a:gd name="T6" fmla="*/ 417 w 455"/>
                    <a:gd name="T7" fmla="*/ 15 h 791"/>
                    <a:gd name="T8" fmla="*/ 407 w 455"/>
                    <a:gd name="T9" fmla="*/ 91 h 791"/>
                    <a:gd name="T10" fmla="*/ 404 w 455"/>
                    <a:gd name="T11" fmla="*/ 108 h 791"/>
                    <a:gd name="T12" fmla="*/ 401 w 455"/>
                    <a:gd name="T13" fmla="*/ 122 h 791"/>
                    <a:gd name="T14" fmla="*/ 392 w 455"/>
                    <a:gd name="T15" fmla="*/ 157 h 791"/>
                    <a:gd name="T16" fmla="*/ 372 w 455"/>
                    <a:gd name="T17" fmla="*/ 223 h 791"/>
                    <a:gd name="T18" fmla="*/ 348 w 455"/>
                    <a:gd name="T19" fmla="*/ 290 h 791"/>
                    <a:gd name="T20" fmla="*/ 326 w 455"/>
                    <a:gd name="T21" fmla="*/ 345 h 791"/>
                    <a:gd name="T22" fmla="*/ 315 w 455"/>
                    <a:gd name="T23" fmla="*/ 370 h 791"/>
                    <a:gd name="T24" fmla="*/ 301 w 455"/>
                    <a:gd name="T25" fmla="*/ 400 h 791"/>
                    <a:gd name="T26" fmla="*/ 284 w 455"/>
                    <a:gd name="T27" fmla="*/ 433 h 791"/>
                    <a:gd name="T28" fmla="*/ 270 w 455"/>
                    <a:gd name="T29" fmla="*/ 457 h 791"/>
                    <a:gd name="T30" fmla="*/ 256 w 455"/>
                    <a:gd name="T31" fmla="*/ 479 h 791"/>
                    <a:gd name="T32" fmla="*/ 237 w 455"/>
                    <a:gd name="T33" fmla="*/ 508 h 791"/>
                    <a:gd name="T34" fmla="*/ 240 w 455"/>
                    <a:gd name="T35" fmla="*/ 504 h 791"/>
                    <a:gd name="T36" fmla="*/ 214 w 455"/>
                    <a:gd name="T37" fmla="*/ 538 h 791"/>
                    <a:gd name="T38" fmla="*/ 187 w 455"/>
                    <a:gd name="T39" fmla="*/ 571 h 791"/>
                    <a:gd name="T40" fmla="*/ 136 w 455"/>
                    <a:gd name="T41" fmla="*/ 631 h 791"/>
                    <a:gd name="T42" fmla="*/ 112 w 455"/>
                    <a:gd name="T43" fmla="*/ 657 h 791"/>
                    <a:gd name="T44" fmla="*/ 77 w 455"/>
                    <a:gd name="T45" fmla="*/ 695 h 791"/>
                    <a:gd name="T46" fmla="*/ 70 w 455"/>
                    <a:gd name="T47" fmla="*/ 700 h 791"/>
                    <a:gd name="T48" fmla="*/ 48 w 455"/>
                    <a:gd name="T49" fmla="*/ 721 h 791"/>
                    <a:gd name="T50" fmla="*/ 5 w 455"/>
                    <a:gd name="T51" fmla="*/ 758 h 791"/>
                    <a:gd name="T52" fmla="*/ 1 w 455"/>
                    <a:gd name="T53" fmla="*/ 772 h 791"/>
                    <a:gd name="T54" fmla="*/ 6 w 455"/>
                    <a:gd name="T55" fmla="*/ 784 h 791"/>
                    <a:gd name="T56" fmla="*/ 20 w 455"/>
                    <a:gd name="T57" fmla="*/ 790 h 791"/>
                    <a:gd name="T58" fmla="*/ 32 w 455"/>
                    <a:gd name="T59" fmla="*/ 784 h 791"/>
                    <a:gd name="T60" fmla="*/ 62 w 455"/>
                    <a:gd name="T61" fmla="*/ 758 h 791"/>
                    <a:gd name="T62" fmla="*/ 95 w 455"/>
                    <a:gd name="T63" fmla="*/ 728 h 791"/>
                    <a:gd name="T64" fmla="*/ 137 w 455"/>
                    <a:gd name="T65" fmla="*/ 685 h 791"/>
                    <a:gd name="T66" fmla="*/ 177 w 455"/>
                    <a:gd name="T67" fmla="*/ 640 h 791"/>
                    <a:gd name="T68" fmla="*/ 211 w 455"/>
                    <a:gd name="T69" fmla="*/ 600 h 791"/>
                    <a:gd name="T70" fmla="*/ 251 w 455"/>
                    <a:gd name="T71" fmla="*/ 551 h 791"/>
                    <a:gd name="T72" fmla="*/ 270 w 455"/>
                    <a:gd name="T73" fmla="*/ 526 h 791"/>
                    <a:gd name="T74" fmla="*/ 290 w 455"/>
                    <a:gd name="T75" fmla="*/ 495 h 791"/>
                    <a:gd name="T76" fmla="*/ 303 w 455"/>
                    <a:gd name="T77" fmla="*/ 475 h 791"/>
                    <a:gd name="T78" fmla="*/ 317 w 455"/>
                    <a:gd name="T79" fmla="*/ 450 h 791"/>
                    <a:gd name="T80" fmla="*/ 333 w 455"/>
                    <a:gd name="T81" fmla="*/ 418 h 791"/>
                    <a:gd name="T82" fmla="*/ 346 w 455"/>
                    <a:gd name="T83" fmla="*/ 391 h 791"/>
                    <a:gd name="T84" fmla="*/ 382 w 455"/>
                    <a:gd name="T85" fmla="*/ 306 h 791"/>
                    <a:gd name="T86" fmla="*/ 398 w 455"/>
                    <a:gd name="T87" fmla="*/ 264 h 791"/>
                    <a:gd name="T88" fmla="*/ 413 w 455"/>
                    <a:gd name="T89" fmla="*/ 218 h 791"/>
                    <a:gd name="T90" fmla="*/ 427 w 455"/>
                    <a:gd name="T91" fmla="*/ 169 h 791"/>
                    <a:gd name="T92" fmla="*/ 432 w 455"/>
                    <a:gd name="T93" fmla="*/ 151 h 791"/>
                    <a:gd name="T94" fmla="*/ 438 w 455"/>
                    <a:gd name="T95" fmla="*/ 128 h 791"/>
                    <a:gd name="T96" fmla="*/ 447 w 455"/>
                    <a:gd name="T97" fmla="*/ 75 h 791"/>
                    <a:gd name="T98" fmla="*/ 454 w 455"/>
                    <a:gd name="T99" fmla="*/ 23 h 791"/>
                    <a:gd name="T100" fmla="*/ 451 w 455"/>
                    <a:gd name="T101" fmla="*/ 9 h 791"/>
                    <a:gd name="T102" fmla="*/ 439 w 455"/>
                    <a:gd name="T103" fmla="*/ 1 h 791"/>
                    <a:gd name="T104" fmla="*/ 435 w 455"/>
                    <a:gd name="T105" fmla="*/ 0 h 791"/>
                    <a:gd name="T106" fmla="*/ 425 w 455"/>
                    <a:gd name="T107" fmla="*/ 3 h 7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55" h="791">
                      <a:moveTo>
                        <a:pt x="348" y="291"/>
                      </a:moveTo>
                      <a:lnTo>
                        <a:pt x="348" y="291"/>
                      </a:lnTo>
                      <a:cubicBezTo>
                        <a:pt x="348" y="292"/>
                        <a:pt x="348" y="292"/>
                        <a:pt x="347" y="293"/>
                      </a:cubicBezTo>
                      <a:lnTo>
                        <a:pt x="347" y="293"/>
                      </a:lnTo>
                      <a:cubicBezTo>
                        <a:pt x="348" y="292"/>
                        <a:pt x="348" y="292"/>
                        <a:pt x="348" y="291"/>
                      </a:cubicBezTo>
                      <a:close/>
                      <a:moveTo>
                        <a:pt x="425" y="3"/>
                      </a:moveTo>
                      <a:lnTo>
                        <a:pt x="425" y="3"/>
                      </a:lnTo>
                      <a:cubicBezTo>
                        <a:pt x="422" y="6"/>
                        <a:pt x="418" y="10"/>
                        <a:pt x="417" y="15"/>
                      </a:cubicBezTo>
                      <a:lnTo>
                        <a:pt x="417" y="15"/>
                      </a:lnTo>
                      <a:cubicBezTo>
                        <a:pt x="415" y="40"/>
                        <a:pt x="411" y="65"/>
                        <a:pt x="407" y="91"/>
                      </a:cubicBezTo>
                      <a:lnTo>
                        <a:pt x="407" y="91"/>
                      </a:lnTo>
                      <a:cubicBezTo>
                        <a:pt x="406" y="97"/>
                        <a:pt x="405" y="102"/>
                        <a:pt x="404" y="108"/>
                      </a:cubicBezTo>
                      <a:lnTo>
                        <a:pt x="404" y="108"/>
                      </a:lnTo>
                      <a:cubicBezTo>
                        <a:pt x="402" y="113"/>
                        <a:pt x="402" y="118"/>
                        <a:pt x="401" y="122"/>
                      </a:cubicBezTo>
                      <a:lnTo>
                        <a:pt x="401" y="122"/>
                      </a:lnTo>
                      <a:cubicBezTo>
                        <a:pt x="398" y="133"/>
                        <a:pt x="396" y="145"/>
                        <a:pt x="392" y="157"/>
                      </a:cubicBezTo>
                      <a:lnTo>
                        <a:pt x="392" y="157"/>
                      </a:lnTo>
                      <a:cubicBezTo>
                        <a:pt x="386" y="179"/>
                        <a:pt x="380" y="201"/>
                        <a:pt x="372" y="223"/>
                      </a:cubicBezTo>
                      <a:lnTo>
                        <a:pt x="372" y="223"/>
                      </a:lnTo>
                      <a:cubicBezTo>
                        <a:pt x="365" y="245"/>
                        <a:pt x="357" y="267"/>
                        <a:pt x="348" y="290"/>
                      </a:cubicBezTo>
                      <a:lnTo>
                        <a:pt x="348" y="290"/>
                      </a:lnTo>
                      <a:cubicBezTo>
                        <a:pt x="341" y="309"/>
                        <a:pt x="334" y="327"/>
                        <a:pt x="326" y="345"/>
                      </a:cubicBezTo>
                      <a:lnTo>
                        <a:pt x="326" y="345"/>
                      </a:lnTo>
                      <a:cubicBezTo>
                        <a:pt x="323" y="354"/>
                        <a:pt x="319" y="362"/>
                        <a:pt x="315" y="370"/>
                      </a:cubicBezTo>
                      <a:lnTo>
                        <a:pt x="315" y="370"/>
                      </a:lnTo>
                      <a:cubicBezTo>
                        <a:pt x="310" y="380"/>
                        <a:pt x="306" y="390"/>
                        <a:pt x="301" y="400"/>
                      </a:cubicBezTo>
                      <a:lnTo>
                        <a:pt x="301" y="400"/>
                      </a:lnTo>
                      <a:cubicBezTo>
                        <a:pt x="296" y="410"/>
                        <a:pt x="290" y="421"/>
                        <a:pt x="284" y="433"/>
                      </a:cubicBezTo>
                      <a:lnTo>
                        <a:pt x="284" y="433"/>
                      </a:lnTo>
                      <a:cubicBezTo>
                        <a:pt x="280" y="441"/>
                        <a:pt x="274" y="449"/>
                        <a:pt x="270" y="457"/>
                      </a:cubicBezTo>
                      <a:lnTo>
                        <a:pt x="270" y="457"/>
                      </a:lnTo>
                      <a:cubicBezTo>
                        <a:pt x="266" y="464"/>
                        <a:pt x="261" y="472"/>
                        <a:pt x="256" y="479"/>
                      </a:cubicBezTo>
                      <a:lnTo>
                        <a:pt x="256" y="479"/>
                      </a:lnTo>
                      <a:cubicBezTo>
                        <a:pt x="250" y="489"/>
                        <a:pt x="243" y="498"/>
                        <a:pt x="237" y="508"/>
                      </a:cubicBezTo>
                      <a:lnTo>
                        <a:pt x="237" y="508"/>
                      </a:lnTo>
                      <a:cubicBezTo>
                        <a:pt x="238" y="507"/>
                        <a:pt x="238" y="506"/>
                        <a:pt x="240" y="504"/>
                      </a:cubicBezTo>
                      <a:lnTo>
                        <a:pt x="240" y="504"/>
                      </a:lnTo>
                      <a:cubicBezTo>
                        <a:pt x="231" y="516"/>
                        <a:pt x="222" y="527"/>
                        <a:pt x="214" y="538"/>
                      </a:cubicBezTo>
                      <a:lnTo>
                        <a:pt x="214" y="538"/>
                      </a:lnTo>
                      <a:cubicBezTo>
                        <a:pt x="205" y="549"/>
                        <a:pt x="196" y="561"/>
                        <a:pt x="187" y="571"/>
                      </a:cubicBezTo>
                      <a:lnTo>
                        <a:pt x="187" y="571"/>
                      </a:lnTo>
                      <a:cubicBezTo>
                        <a:pt x="170" y="591"/>
                        <a:pt x="153" y="611"/>
                        <a:pt x="136" y="631"/>
                      </a:cubicBezTo>
                      <a:lnTo>
                        <a:pt x="136" y="631"/>
                      </a:lnTo>
                      <a:cubicBezTo>
                        <a:pt x="128" y="640"/>
                        <a:pt x="120" y="649"/>
                        <a:pt x="112" y="657"/>
                      </a:cubicBezTo>
                      <a:lnTo>
                        <a:pt x="112" y="657"/>
                      </a:lnTo>
                      <a:cubicBezTo>
                        <a:pt x="101" y="670"/>
                        <a:pt x="89" y="682"/>
                        <a:pt x="77" y="695"/>
                      </a:cubicBezTo>
                      <a:lnTo>
                        <a:pt x="77" y="695"/>
                      </a:lnTo>
                      <a:cubicBezTo>
                        <a:pt x="75" y="696"/>
                        <a:pt x="72" y="699"/>
                        <a:pt x="70" y="700"/>
                      </a:cubicBezTo>
                      <a:lnTo>
                        <a:pt x="70" y="700"/>
                      </a:lnTo>
                      <a:cubicBezTo>
                        <a:pt x="63" y="707"/>
                        <a:pt x="55" y="714"/>
                        <a:pt x="48" y="721"/>
                      </a:cubicBezTo>
                      <a:lnTo>
                        <a:pt x="48" y="721"/>
                      </a:lnTo>
                      <a:cubicBezTo>
                        <a:pt x="34" y="733"/>
                        <a:pt x="20" y="746"/>
                        <a:pt x="5" y="758"/>
                      </a:cubicBezTo>
                      <a:lnTo>
                        <a:pt x="5" y="758"/>
                      </a:lnTo>
                      <a:cubicBezTo>
                        <a:pt x="2" y="761"/>
                        <a:pt x="0" y="767"/>
                        <a:pt x="1" y="772"/>
                      </a:cubicBezTo>
                      <a:lnTo>
                        <a:pt x="1" y="772"/>
                      </a:lnTo>
                      <a:cubicBezTo>
                        <a:pt x="1" y="777"/>
                        <a:pt x="2" y="781"/>
                        <a:pt x="6" y="784"/>
                      </a:cubicBezTo>
                      <a:lnTo>
                        <a:pt x="6" y="784"/>
                      </a:lnTo>
                      <a:cubicBezTo>
                        <a:pt x="10" y="788"/>
                        <a:pt x="15" y="790"/>
                        <a:pt x="20" y="790"/>
                      </a:cubicBezTo>
                      <a:lnTo>
                        <a:pt x="20" y="790"/>
                      </a:lnTo>
                      <a:cubicBezTo>
                        <a:pt x="25" y="790"/>
                        <a:pt x="28" y="787"/>
                        <a:pt x="32" y="784"/>
                      </a:cubicBezTo>
                      <a:lnTo>
                        <a:pt x="32" y="784"/>
                      </a:lnTo>
                      <a:cubicBezTo>
                        <a:pt x="42" y="776"/>
                        <a:pt x="53" y="767"/>
                        <a:pt x="62" y="758"/>
                      </a:cubicBezTo>
                      <a:lnTo>
                        <a:pt x="62" y="758"/>
                      </a:lnTo>
                      <a:cubicBezTo>
                        <a:pt x="74" y="748"/>
                        <a:pt x="84" y="738"/>
                        <a:pt x="95" y="728"/>
                      </a:cubicBezTo>
                      <a:lnTo>
                        <a:pt x="95" y="728"/>
                      </a:lnTo>
                      <a:cubicBezTo>
                        <a:pt x="110" y="715"/>
                        <a:pt x="124" y="700"/>
                        <a:pt x="137" y="685"/>
                      </a:cubicBezTo>
                      <a:lnTo>
                        <a:pt x="137" y="685"/>
                      </a:lnTo>
                      <a:cubicBezTo>
                        <a:pt x="151" y="670"/>
                        <a:pt x="163" y="656"/>
                        <a:pt x="177" y="640"/>
                      </a:cubicBezTo>
                      <a:lnTo>
                        <a:pt x="177" y="640"/>
                      </a:lnTo>
                      <a:cubicBezTo>
                        <a:pt x="189" y="627"/>
                        <a:pt x="200" y="614"/>
                        <a:pt x="211" y="600"/>
                      </a:cubicBezTo>
                      <a:lnTo>
                        <a:pt x="211" y="600"/>
                      </a:lnTo>
                      <a:cubicBezTo>
                        <a:pt x="225" y="584"/>
                        <a:pt x="238" y="568"/>
                        <a:pt x="251" y="551"/>
                      </a:cubicBezTo>
                      <a:lnTo>
                        <a:pt x="251" y="551"/>
                      </a:lnTo>
                      <a:cubicBezTo>
                        <a:pt x="257" y="542"/>
                        <a:pt x="264" y="534"/>
                        <a:pt x="270" y="526"/>
                      </a:cubicBezTo>
                      <a:lnTo>
                        <a:pt x="270" y="526"/>
                      </a:lnTo>
                      <a:cubicBezTo>
                        <a:pt x="277" y="515"/>
                        <a:pt x="284" y="505"/>
                        <a:pt x="290" y="495"/>
                      </a:cubicBezTo>
                      <a:lnTo>
                        <a:pt x="290" y="495"/>
                      </a:lnTo>
                      <a:cubicBezTo>
                        <a:pt x="295" y="488"/>
                        <a:pt x="298" y="481"/>
                        <a:pt x="303" y="475"/>
                      </a:cubicBezTo>
                      <a:lnTo>
                        <a:pt x="303" y="475"/>
                      </a:lnTo>
                      <a:cubicBezTo>
                        <a:pt x="307" y="467"/>
                        <a:pt x="312" y="458"/>
                        <a:pt x="317" y="450"/>
                      </a:cubicBezTo>
                      <a:lnTo>
                        <a:pt x="317" y="450"/>
                      </a:lnTo>
                      <a:cubicBezTo>
                        <a:pt x="323" y="440"/>
                        <a:pt x="328" y="429"/>
                        <a:pt x="333" y="418"/>
                      </a:cubicBezTo>
                      <a:lnTo>
                        <a:pt x="333" y="418"/>
                      </a:lnTo>
                      <a:cubicBezTo>
                        <a:pt x="338" y="409"/>
                        <a:pt x="342" y="400"/>
                        <a:pt x="346" y="391"/>
                      </a:cubicBezTo>
                      <a:lnTo>
                        <a:pt x="346" y="391"/>
                      </a:lnTo>
                      <a:cubicBezTo>
                        <a:pt x="359" y="363"/>
                        <a:pt x="371" y="335"/>
                        <a:pt x="382" y="306"/>
                      </a:cubicBezTo>
                      <a:lnTo>
                        <a:pt x="382" y="306"/>
                      </a:lnTo>
                      <a:cubicBezTo>
                        <a:pt x="387" y="293"/>
                        <a:pt x="392" y="278"/>
                        <a:pt x="398" y="264"/>
                      </a:cubicBezTo>
                      <a:lnTo>
                        <a:pt x="398" y="264"/>
                      </a:lnTo>
                      <a:cubicBezTo>
                        <a:pt x="403" y="249"/>
                        <a:pt x="408" y="233"/>
                        <a:pt x="413" y="218"/>
                      </a:cubicBezTo>
                      <a:lnTo>
                        <a:pt x="413" y="218"/>
                      </a:lnTo>
                      <a:cubicBezTo>
                        <a:pt x="418" y="202"/>
                        <a:pt x="423" y="186"/>
                        <a:pt x="427" y="169"/>
                      </a:cubicBezTo>
                      <a:lnTo>
                        <a:pt x="427" y="169"/>
                      </a:lnTo>
                      <a:cubicBezTo>
                        <a:pt x="429" y="163"/>
                        <a:pt x="430" y="157"/>
                        <a:pt x="432" y="151"/>
                      </a:cubicBezTo>
                      <a:lnTo>
                        <a:pt x="432" y="151"/>
                      </a:lnTo>
                      <a:cubicBezTo>
                        <a:pt x="434" y="143"/>
                        <a:pt x="436" y="136"/>
                        <a:pt x="438" y="128"/>
                      </a:cubicBezTo>
                      <a:lnTo>
                        <a:pt x="438" y="128"/>
                      </a:lnTo>
                      <a:cubicBezTo>
                        <a:pt x="440" y="111"/>
                        <a:pt x="444" y="93"/>
                        <a:pt x="447" y="75"/>
                      </a:cubicBezTo>
                      <a:lnTo>
                        <a:pt x="447" y="75"/>
                      </a:lnTo>
                      <a:cubicBezTo>
                        <a:pt x="450" y="58"/>
                        <a:pt x="452" y="41"/>
                        <a:pt x="454" y="23"/>
                      </a:cubicBezTo>
                      <a:lnTo>
                        <a:pt x="454" y="23"/>
                      </a:lnTo>
                      <a:cubicBezTo>
                        <a:pt x="454" y="18"/>
                        <a:pt x="454" y="14"/>
                        <a:pt x="451" y="9"/>
                      </a:cubicBezTo>
                      <a:lnTo>
                        <a:pt x="451" y="9"/>
                      </a:lnTo>
                      <a:cubicBezTo>
                        <a:pt x="449" y="5"/>
                        <a:pt x="445" y="2"/>
                        <a:pt x="439" y="1"/>
                      </a:cubicBezTo>
                      <a:lnTo>
                        <a:pt x="439" y="1"/>
                      </a:lnTo>
                      <a:cubicBezTo>
                        <a:pt x="438" y="1"/>
                        <a:pt x="437" y="0"/>
                        <a:pt x="435" y="0"/>
                      </a:cubicBezTo>
                      <a:lnTo>
                        <a:pt x="435" y="0"/>
                      </a:lnTo>
                      <a:cubicBezTo>
                        <a:pt x="432" y="0"/>
                        <a:pt x="429" y="1"/>
                        <a:pt x="42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140">
                  <a:extLst>
                    <a:ext uri="{FF2B5EF4-FFF2-40B4-BE49-F238E27FC236}">
                      <a16:creationId xmlns:a16="http://schemas.microsoft.com/office/drawing/2014/main" id="{641841DA-4AEC-6947-A490-06E775C42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26375" y="2232025"/>
                  <a:ext cx="19050" cy="36513"/>
                </a:xfrm>
                <a:custGeom>
                  <a:avLst/>
                  <a:gdLst>
                    <a:gd name="T0" fmla="*/ 13 w 51"/>
                    <a:gd name="T1" fmla="*/ 0 h 101"/>
                    <a:gd name="T2" fmla="*/ 13 w 51"/>
                    <a:gd name="T3" fmla="*/ 0 h 101"/>
                    <a:gd name="T4" fmla="*/ 2 w 51"/>
                    <a:gd name="T5" fmla="*/ 9 h 101"/>
                    <a:gd name="T6" fmla="*/ 2 w 51"/>
                    <a:gd name="T7" fmla="*/ 9 h 101"/>
                    <a:gd name="T8" fmla="*/ 1 w 51"/>
                    <a:gd name="T9" fmla="*/ 24 h 101"/>
                    <a:gd name="T10" fmla="*/ 1 w 51"/>
                    <a:gd name="T11" fmla="*/ 24 h 101"/>
                    <a:gd name="T12" fmla="*/ 10 w 51"/>
                    <a:gd name="T13" fmla="*/ 70 h 101"/>
                    <a:gd name="T14" fmla="*/ 10 w 51"/>
                    <a:gd name="T15" fmla="*/ 70 h 101"/>
                    <a:gd name="T16" fmla="*/ 12 w 51"/>
                    <a:gd name="T17" fmla="*/ 81 h 101"/>
                    <a:gd name="T18" fmla="*/ 12 w 51"/>
                    <a:gd name="T19" fmla="*/ 81 h 101"/>
                    <a:gd name="T20" fmla="*/ 18 w 51"/>
                    <a:gd name="T21" fmla="*/ 94 h 101"/>
                    <a:gd name="T22" fmla="*/ 18 w 51"/>
                    <a:gd name="T23" fmla="*/ 94 h 101"/>
                    <a:gd name="T24" fmla="*/ 31 w 51"/>
                    <a:gd name="T25" fmla="*/ 100 h 101"/>
                    <a:gd name="T26" fmla="*/ 31 w 51"/>
                    <a:gd name="T27" fmla="*/ 100 h 101"/>
                    <a:gd name="T28" fmla="*/ 44 w 51"/>
                    <a:gd name="T29" fmla="*/ 94 h 101"/>
                    <a:gd name="T30" fmla="*/ 44 w 51"/>
                    <a:gd name="T31" fmla="*/ 94 h 101"/>
                    <a:gd name="T32" fmla="*/ 49 w 51"/>
                    <a:gd name="T33" fmla="*/ 80 h 101"/>
                    <a:gd name="T34" fmla="*/ 49 w 51"/>
                    <a:gd name="T35" fmla="*/ 80 h 101"/>
                    <a:gd name="T36" fmla="*/ 37 w 51"/>
                    <a:gd name="T37" fmla="*/ 13 h 101"/>
                    <a:gd name="T38" fmla="*/ 37 w 51"/>
                    <a:gd name="T39" fmla="*/ 13 h 101"/>
                    <a:gd name="T40" fmla="*/ 28 w 51"/>
                    <a:gd name="T41" fmla="*/ 2 h 101"/>
                    <a:gd name="T42" fmla="*/ 28 w 51"/>
                    <a:gd name="T43" fmla="*/ 2 h 101"/>
                    <a:gd name="T44" fmla="*/ 19 w 51"/>
                    <a:gd name="T45" fmla="*/ 0 h 101"/>
                    <a:gd name="T46" fmla="*/ 19 w 51"/>
                    <a:gd name="T47" fmla="*/ 0 h 101"/>
                    <a:gd name="T48" fmla="*/ 13 w 51"/>
                    <a:gd name="T49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1" h="101">
                      <a:moveTo>
                        <a:pt x="13" y="0"/>
                      </a:moveTo>
                      <a:lnTo>
                        <a:pt x="13" y="0"/>
                      </a:lnTo>
                      <a:cubicBezTo>
                        <a:pt x="9" y="2"/>
                        <a:pt x="5" y="5"/>
                        <a:pt x="2" y="9"/>
                      </a:cubicBezTo>
                      <a:lnTo>
                        <a:pt x="2" y="9"/>
                      </a:lnTo>
                      <a:cubicBezTo>
                        <a:pt x="0" y="14"/>
                        <a:pt x="0" y="19"/>
                        <a:pt x="1" y="24"/>
                      </a:cubicBezTo>
                      <a:lnTo>
                        <a:pt x="1" y="24"/>
                      </a:lnTo>
                      <a:cubicBezTo>
                        <a:pt x="4" y="39"/>
                        <a:pt x="7" y="54"/>
                        <a:pt x="10" y="70"/>
                      </a:cubicBezTo>
                      <a:lnTo>
                        <a:pt x="10" y="70"/>
                      </a:lnTo>
                      <a:cubicBezTo>
                        <a:pt x="10" y="73"/>
                        <a:pt x="11" y="77"/>
                        <a:pt x="12" y="81"/>
                      </a:cubicBezTo>
                      <a:lnTo>
                        <a:pt x="12" y="81"/>
                      </a:lnTo>
                      <a:cubicBezTo>
                        <a:pt x="12" y="87"/>
                        <a:pt x="14" y="91"/>
                        <a:pt x="18" y="94"/>
                      </a:cubicBezTo>
                      <a:lnTo>
                        <a:pt x="18" y="94"/>
                      </a:lnTo>
                      <a:cubicBezTo>
                        <a:pt x="21" y="98"/>
                        <a:pt x="26" y="100"/>
                        <a:pt x="31" y="100"/>
                      </a:cubicBezTo>
                      <a:lnTo>
                        <a:pt x="31" y="100"/>
                      </a:lnTo>
                      <a:cubicBezTo>
                        <a:pt x="36" y="99"/>
                        <a:pt x="41" y="97"/>
                        <a:pt x="44" y="94"/>
                      </a:cubicBezTo>
                      <a:lnTo>
                        <a:pt x="44" y="94"/>
                      </a:lnTo>
                      <a:cubicBezTo>
                        <a:pt x="47" y="90"/>
                        <a:pt x="50" y="85"/>
                        <a:pt x="49" y="80"/>
                      </a:cubicBezTo>
                      <a:lnTo>
                        <a:pt x="49" y="80"/>
                      </a:lnTo>
                      <a:cubicBezTo>
                        <a:pt x="45" y="57"/>
                        <a:pt x="41" y="35"/>
                        <a:pt x="37" y="13"/>
                      </a:cubicBezTo>
                      <a:lnTo>
                        <a:pt x="37" y="13"/>
                      </a:lnTo>
                      <a:cubicBezTo>
                        <a:pt x="35" y="9"/>
                        <a:pt x="31" y="4"/>
                        <a:pt x="28" y="2"/>
                      </a:cubicBezTo>
                      <a:lnTo>
                        <a:pt x="28" y="2"/>
                      </a:lnTo>
                      <a:cubicBezTo>
                        <a:pt x="25" y="0"/>
                        <a:pt x="22" y="0"/>
                        <a:pt x="19" y="0"/>
                      </a:cubicBezTo>
                      <a:lnTo>
                        <a:pt x="19" y="0"/>
                      </a:lnTo>
                      <a:cubicBezTo>
                        <a:pt x="17" y="0"/>
                        <a:pt x="15" y="0"/>
                        <a:pt x="1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141">
                  <a:extLst>
                    <a:ext uri="{FF2B5EF4-FFF2-40B4-BE49-F238E27FC236}">
                      <a16:creationId xmlns:a16="http://schemas.microsoft.com/office/drawing/2014/main" id="{35C0B540-725C-8D44-9360-6D9E39CB97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10525" y="2343150"/>
                  <a:ext cx="31750" cy="196850"/>
                </a:xfrm>
                <a:custGeom>
                  <a:avLst/>
                  <a:gdLst>
                    <a:gd name="T0" fmla="*/ 45 w 88"/>
                    <a:gd name="T1" fmla="*/ 1 h 546"/>
                    <a:gd name="T2" fmla="*/ 45 w 88"/>
                    <a:gd name="T3" fmla="*/ 1 h 546"/>
                    <a:gd name="T4" fmla="*/ 33 w 88"/>
                    <a:gd name="T5" fmla="*/ 24 h 546"/>
                    <a:gd name="T6" fmla="*/ 33 w 88"/>
                    <a:gd name="T7" fmla="*/ 24 h 546"/>
                    <a:gd name="T8" fmla="*/ 43 w 88"/>
                    <a:gd name="T9" fmla="*/ 72 h 546"/>
                    <a:gd name="T10" fmla="*/ 43 w 88"/>
                    <a:gd name="T11" fmla="*/ 72 h 546"/>
                    <a:gd name="T12" fmla="*/ 43 w 88"/>
                    <a:gd name="T13" fmla="*/ 69 h 546"/>
                    <a:gd name="T14" fmla="*/ 43 w 88"/>
                    <a:gd name="T15" fmla="*/ 69 h 546"/>
                    <a:gd name="T16" fmla="*/ 50 w 88"/>
                    <a:gd name="T17" fmla="*/ 178 h 546"/>
                    <a:gd name="T18" fmla="*/ 50 w 88"/>
                    <a:gd name="T19" fmla="*/ 178 h 546"/>
                    <a:gd name="T20" fmla="*/ 48 w 88"/>
                    <a:gd name="T21" fmla="*/ 244 h 546"/>
                    <a:gd name="T22" fmla="*/ 48 w 88"/>
                    <a:gd name="T23" fmla="*/ 244 h 546"/>
                    <a:gd name="T24" fmla="*/ 46 w 88"/>
                    <a:gd name="T25" fmla="*/ 281 h 546"/>
                    <a:gd name="T26" fmla="*/ 46 w 88"/>
                    <a:gd name="T27" fmla="*/ 281 h 546"/>
                    <a:gd name="T28" fmla="*/ 43 w 88"/>
                    <a:gd name="T29" fmla="*/ 324 h 546"/>
                    <a:gd name="T30" fmla="*/ 43 w 88"/>
                    <a:gd name="T31" fmla="*/ 324 h 546"/>
                    <a:gd name="T32" fmla="*/ 37 w 88"/>
                    <a:gd name="T33" fmla="*/ 371 h 546"/>
                    <a:gd name="T34" fmla="*/ 37 w 88"/>
                    <a:gd name="T35" fmla="*/ 371 h 546"/>
                    <a:gd name="T36" fmla="*/ 34 w 88"/>
                    <a:gd name="T37" fmla="*/ 395 h 546"/>
                    <a:gd name="T38" fmla="*/ 34 w 88"/>
                    <a:gd name="T39" fmla="*/ 395 h 546"/>
                    <a:gd name="T40" fmla="*/ 30 w 88"/>
                    <a:gd name="T41" fmla="*/ 417 h 546"/>
                    <a:gd name="T42" fmla="*/ 30 w 88"/>
                    <a:gd name="T43" fmla="*/ 417 h 546"/>
                    <a:gd name="T44" fmla="*/ 20 w 88"/>
                    <a:gd name="T45" fmla="*/ 465 h 546"/>
                    <a:gd name="T46" fmla="*/ 20 w 88"/>
                    <a:gd name="T47" fmla="*/ 465 h 546"/>
                    <a:gd name="T48" fmla="*/ 4 w 88"/>
                    <a:gd name="T49" fmla="*/ 521 h 546"/>
                    <a:gd name="T50" fmla="*/ 4 w 88"/>
                    <a:gd name="T51" fmla="*/ 521 h 546"/>
                    <a:gd name="T52" fmla="*/ 17 w 88"/>
                    <a:gd name="T53" fmla="*/ 543 h 546"/>
                    <a:gd name="T54" fmla="*/ 17 w 88"/>
                    <a:gd name="T55" fmla="*/ 543 h 546"/>
                    <a:gd name="T56" fmla="*/ 31 w 88"/>
                    <a:gd name="T57" fmla="*/ 541 h 546"/>
                    <a:gd name="T58" fmla="*/ 31 w 88"/>
                    <a:gd name="T59" fmla="*/ 541 h 546"/>
                    <a:gd name="T60" fmla="*/ 40 w 88"/>
                    <a:gd name="T61" fmla="*/ 529 h 546"/>
                    <a:gd name="T62" fmla="*/ 40 w 88"/>
                    <a:gd name="T63" fmla="*/ 529 h 546"/>
                    <a:gd name="T64" fmla="*/ 55 w 88"/>
                    <a:gd name="T65" fmla="*/ 478 h 546"/>
                    <a:gd name="T66" fmla="*/ 55 w 88"/>
                    <a:gd name="T67" fmla="*/ 478 h 546"/>
                    <a:gd name="T68" fmla="*/ 61 w 88"/>
                    <a:gd name="T69" fmla="*/ 456 h 546"/>
                    <a:gd name="T70" fmla="*/ 61 w 88"/>
                    <a:gd name="T71" fmla="*/ 456 h 546"/>
                    <a:gd name="T72" fmla="*/ 66 w 88"/>
                    <a:gd name="T73" fmla="*/ 426 h 546"/>
                    <a:gd name="T74" fmla="*/ 66 w 88"/>
                    <a:gd name="T75" fmla="*/ 426 h 546"/>
                    <a:gd name="T76" fmla="*/ 79 w 88"/>
                    <a:gd name="T77" fmla="*/ 332 h 546"/>
                    <a:gd name="T78" fmla="*/ 79 w 88"/>
                    <a:gd name="T79" fmla="*/ 332 h 546"/>
                    <a:gd name="T80" fmla="*/ 83 w 88"/>
                    <a:gd name="T81" fmla="*/ 282 h 546"/>
                    <a:gd name="T82" fmla="*/ 83 w 88"/>
                    <a:gd name="T83" fmla="*/ 282 h 546"/>
                    <a:gd name="T84" fmla="*/ 85 w 88"/>
                    <a:gd name="T85" fmla="*/ 236 h 546"/>
                    <a:gd name="T86" fmla="*/ 85 w 88"/>
                    <a:gd name="T87" fmla="*/ 236 h 546"/>
                    <a:gd name="T88" fmla="*/ 86 w 88"/>
                    <a:gd name="T89" fmla="*/ 142 h 546"/>
                    <a:gd name="T90" fmla="*/ 86 w 88"/>
                    <a:gd name="T91" fmla="*/ 142 h 546"/>
                    <a:gd name="T92" fmla="*/ 81 w 88"/>
                    <a:gd name="T93" fmla="*/ 72 h 546"/>
                    <a:gd name="T94" fmla="*/ 81 w 88"/>
                    <a:gd name="T95" fmla="*/ 72 h 546"/>
                    <a:gd name="T96" fmla="*/ 68 w 88"/>
                    <a:gd name="T97" fmla="*/ 13 h 546"/>
                    <a:gd name="T98" fmla="*/ 68 w 88"/>
                    <a:gd name="T99" fmla="*/ 13 h 546"/>
                    <a:gd name="T100" fmla="*/ 50 w 88"/>
                    <a:gd name="T101" fmla="*/ 0 h 546"/>
                    <a:gd name="T102" fmla="*/ 50 w 88"/>
                    <a:gd name="T103" fmla="*/ 0 h 546"/>
                    <a:gd name="T104" fmla="*/ 45 w 88"/>
                    <a:gd name="T105" fmla="*/ 1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8" h="546">
                      <a:moveTo>
                        <a:pt x="45" y="1"/>
                      </a:moveTo>
                      <a:lnTo>
                        <a:pt x="45" y="1"/>
                      </a:lnTo>
                      <a:cubicBezTo>
                        <a:pt x="34" y="4"/>
                        <a:pt x="30" y="14"/>
                        <a:pt x="33" y="24"/>
                      </a:cubicBezTo>
                      <a:lnTo>
                        <a:pt x="33" y="24"/>
                      </a:lnTo>
                      <a:cubicBezTo>
                        <a:pt x="36" y="40"/>
                        <a:pt x="40" y="56"/>
                        <a:pt x="43" y="72"/>
                      </a:cubicBezTo>
                      <a:lnTo>
                        <a:pt x="43" y="72"/>
                      </a:lnTo>
                      <a:cubicBezTo>
                        <a:pt x="43" y="71"/>
                        <a:pt x="43" y="70"/>
                        <a:pt x="43" y="69"/>
                      </a:cubicBezTo>
                      <a:lnTo>
                        <a:pt x="43" y="69"/>
                      </a:lnTo>
                      <a:cubicBezTo>
                        <a:pt x="49" y="105"/>
                        <a:pt x="50" y="141"/>
                        <a:pt x="50" y="178"/>
                      </a:cubicBezTo>
                      <a:lnTo>
                        <a:pt x="50" y="178"/>
                      </a:lnTo>
                      <a:cubicBezTo>
                        <a:pt x="50" y="200"/>
                        <a:pt x="49" y="221"/>
                        <a:pt x="48" y="244"/>
                      </a:cubicBezTo>
                      <a:lnTo>
                        <a:pt x="48" y="244"/>
                      </a:lnTo>
                      <a:cubicBezTo>
                        <a:pt x="47" y="256"/>
                        <a:pt x="47" y="269"/>
                        <a:pt x="46" y="281"/>
                      </a:cubicBezTo>
                      <a:lnTo>
                        <a:pt x="46" y="281"/>
                      </a:lnTo>
                      <a:cubicBezTo>
                        <a:pt x="45" y="296"/>
                        <a:pt x="44" y="310"/>
                        <a:pt x="43" y="324"/>
                      </a:cubicBezTo>
                      <a:lnTo>
                        <a:pt x="43" y="324"/>
                      </a:lnTo>
                      <a:cubicBezTo>
                        <a:pt x="41" y="340"/>
                        <a:pt x="39" y="356"/>
                        <a:pt x="37" y="371"/>
                      </a:cubicBezTo>
                      <a:lnTo>
                        <a:pt x="37" y="371"/>
                      </a:lnTo>
                      <a:cubicBezTo>
                        <a:pt x="37" y="380"/>
                        <a:pt x="35" y="387"/>
                        <a:pt x="34" y="395"/>
                      </a:cubicBezTo>
                      <a:lnTo>
                        <a:pt x="34" y="395"/>
                      </a:lnTo>
                      <a:cubicBezTo>
                        <a:pt x="33" y="402"/>
                        <a:pt x="31" y="410"/>
                        <a:pt x="30" y="417"/>
                      </a:cubicBezTo>
                      <a:lnTo>
                        <a:pt x="30" y="417"/>
                      </a:lnTo>
                      <a:cubicBezTo>
                        <a:pt x="27" y="433"/>
                        <a:pt x="24" y="450"/>
                        <a:pt x="20" y="465"/>
                      </a:cubicBezTo>
                      <a:lnTo>
                        <a:pt x="20" y="465"/>
                      </a:lnTo>
                      <a:cubicBezTo>
                        <a:pt x="15" y="484"/>
                        <a:pt x="10" y="502"/>
                        <a:pt x="4" y="521"/>
                      </a:cubicBezTo>
                      <a:lnTo>
                        <a:pt x="4" y="521"/>
                      </a:lnTo>
                      <a:cubicBezTo>
                        <a:pt x="0" y="531"/>
                        <a:pt x="8" y="541"/>
                        <a:pt x="17" y="543"/>
                      </a:cubicBezTo>
                      <a:lnTo>
                        <a:pt x="17" y="543"/>
                      </a:lnTo>
                      <a:cubicBezTo>
                        <a:pt x="22" y="545"/>
                        <a:pt x="27" y="543"/>
                        <a:pt x="31" y="541"/>
                      </a:cubicBezTo>
                      <a:lnTo>
                        <a:pt x="31" y="541"/>
                      </a:lnTo>
                      <a:cubicBezTo>
                        <a:pt x="36" y="538"/>
                        <a:pt x="38" y="534"/>
                        <a:pt x="40" y="529"/>
                      </a:cubicBezTo>
                      <a:lnTo>
                        <a:pt x="40" y="529"/>
                      </a:lnTo>
                      <a:cubicBezTo>
                        <a:pt x="45" y="512"/>
                        <a:pt x="51" y="495"/>
                        <a:pt x="55" y="478"/>
                      </a:cubicBezTo>
                      <a:lnTo>
                        <a:pt x="55" y="478"/>
                      </a:lnTo>
                      <a:cubicBezTo>
                        <a:pt x="57" y="471"/>
                        <a:pt x="59" y="463"/>
                        <a:pt x="61" y="456"/>
                      </a:cubicBezTo>
                      <a:lnTo>
                        <a:pt x="61" y="456"/>
                      </a:lnTo>
                      <a:cubicBezTo>
                        <a:pt x="63" y="447"/>
                        <a:pt x="64" y="437"/>
                        <a:pt x="66" y="426"/>
                      </a:cubicBezTo>
                      <a:lnTo>
                        <a:pt x="66" y="426"/>
                      </a:lnTo>
                      <a:cubicBezTo>
                        <a:pt x="72" y="395"/>
                        <a:pt x="75" y="364"/>
                        <a:pt x="79" y="332"/>
                      </a:cubicBezTo>
                      <a:lnTo>
                        <a:pt x="79" y="332"/>
                      </a:lnTo>
                      <a:cubicBezTo>
                        <a:pt x="81" y="316"/>
                        <a:pt x="82" y="299"/>
                        <a:pt x="83" y="282"/>
                      </a:cubicBezTo>
                      <a:lnTo>
                        <a:pt x="83" y="282"/>
                      </a:lnTo>
                      <a:cubicBezTo>
                        <a:pt x="84" y="267"/>
                        <a:pt x="85" y="251"/>
                        <a:pt x="85" y="236"/>
                      </a:cubicBezTo>
                      <a:lnTo>
                        <a:pt x="85" y="236"/>
                      </a:lnTo>
                      <a:cubicBezTo>
                        <a:pt x="87" y="205"/>
                        <a:pt x="87" y="173"/>
                        <a:pt x="86" y="142"/>
                      </a:cubicBezTo>
                      <a:lnTo>
                        <a:pt x="86" y="142"/>
                      </a:lnTo>
                      <a:cubicBezTo>
                        <a:pt x="85" y="118"/>
                        <a:pt x="84" y="95"/>
                        <a:pt x="81" y="72"/>
                      </a:cubicBezTo>
                      <a:lnTo>
                        <a:pt x="81" y="72"/>
                      </a:lnTo>
                      <a:cubicBezTo>
                        <a:pt x="78" y="52"/>
                        <a:pt x="73" y="33"/>
                        <a:pt x="68" y="13"/>
                      </a:cubicBezTo>
                      <a:lnTo>
                        <a:pt x="68" y="13"/>
                      </a:lnTo>
                      <a:cubicBezTo>
                        <a:pt x="66" y="5"/>
                        <a:pt x="58" y="0"/>
                        <a:pt x="50" y="0"/>
                      </a:cubicBezTo>
                      <a:lnTo>
                        <a:pt x="50" y="0"/>
                      </a:lnTo>
                      <a:cubicBezTo>
                        <a:pt x="48" y="0"/>
                        <a:pt x="46" y="0"/>
                        <a:pt x="4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42">
                  <a:extLst>
                    <a:ext uri="{FF2B5EF4-FFF2-40B4-BE49-F238E27FC236}">
                      <a16:creationId xmlns:a16="http://schemas.microsoft.com/office/drawing/2014/main" id="{D85A8545-8E9E-8549-86E6-998E289CC3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0838" y="2589213"/>
                  <a:ext cx="26987" cy="31750"/>
                </a:xfrm>
                <a:custGeom>
                  <a:avLst/>
                  <a:gdLst>
                    <a:gd name="T0" fmla="*/ 55 w 75"/>
                    <a:gd name="T1" fmla="*/ 0 h 87"/>
                    <a:gd name="T2" fmla="*/ 55 w 75"/>
                    <a:gd name="T3" fmla="*/ 0 h 87"/>
                    <a:gd name="T4" fmla="*/ 42 w 75"/>
                    <a:gd name="T5" fmla="*/ 6 h 87"/>
                    <a:gd name="T6" fmla="*/ 42 w 75"/>
                    <a:gd name="T7" fmla="*/ 6 h 87"/>
                    <a:gd name="T8" fmla="*/ 5 w 75"/>
                    <a:gd name="T9" fmla="*/ 54 h 87"/>
                    <a:gd name="T10" fmla="*/ 5 w 75"/>
                    <a:gd name="T11" fmla="*/ 54 h 87"/>
                    <a:gd name="T12" fmla="*/ 0 w 75"/>
                    <a:gd name="T13" fmla="*/ 68 h 87"/>
                    <a:gd name="T14" fmla="*/ 0 w 75"/>
                    <a:gd name="T15" fmla="*/ 68 h 87"/>
                    <a:gd name="T16" fmla="*/ 6 w 75"/>
                    <a:gd name="T17" fmla="*/ 81 h 87"/>
                    <a:gd name="T18" fmla="*/ 6 w 75"/>
                    <a:gd name="T19" fmla="*/ 81 h 87"/>
                    <a:gd name="T20" fmla="*/ 19 w 75"/>
                    <a:gd name="T21" fmla="*/ 85 h 87"/>
                    <a:gd name="T22" fmla="*/ 19 w 75"/>
                    <a:gd name="T23" fmla="*/ 85 h 87"/>
                    <a:gd name="T24" fmla="*/ 32 w 75"/>
                    <a:gd name="T25" fmla="*/ 80 h 87"/>
                    <a:gd name="T26" fmla="*/ 32 w 75"/>
                    <a:gd name="T27" fmla="*/ 80 h 87"/>
                    <a:gd name="T28" fmla="*/ 69 w 75"/>
                    <a:gd name="T29" fmla="*/ 31 h 87"/>
                    <a:gd name="T30" fmla="*/ 69 w 75"/>
                    <a:gd name="T31" fmla="*/ 31 h 87"/>
                    <a:gd name="T32" fmla="*/ 73 w 75"/>
                    <a:gd name="T33" fmla="*/ 18 h 87"/>
                    <a:gd name="T34" fmla="*/ 73 w 75"/>
                    <a:gd name="T35" fmla="*/ 18 h 87"/>
                    <a:gd name="T36" fmla="*/ 68 w 75"/>
                    <a:gd name="T37" fmla="*/ 6 h 87"/>
                    <a:gd name="T38" fmla="*/ 68 w 75"/>
                    <a:gd name="T39" fmla="*/ 6 h 87"/>
                    <a:gd name="T40" fmla="*/ 55 w 75"/>
                    <a:gd name="T41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5" h="87">
                      <a:moveTo>
                        <a:pt x="55" y="0"/>
                      </a:moveTo>
                      <a:lnTo>
                        <a:pt x="55" y="0"/>
                      </a:lnTo>
                      <a:cubicBezTo>
                        <a:pt x="50" y="0"/>
                        <a:pt x="44" y="3"/>
                        <a:pt x="42" y="6"/>
                      </a:cubicBezTo>
                      <a:lnTo>
                        <a:pt x="42" y="6"/>
                      </a:lnTo>
                      <a:cubicBezTo>
                        <a:pt x="29" y="22"/>
                        <a:pt x="17" y="39"/>
                        <a:pt x="5" y="54"/>
                      </a:cubicBezTo>
                      <a:lnTo>
                        <a:pt x="5" y="54"/>
                      </a:lnTo>
                      <a:cubicBezTo>
                        <a:pt x="2" y="59"/>
                        <a:pt x="0" y="63"/>
                        <a:pt x="0" y="68"/>
                      </a:cubicBezTo>
                      <a:lnTo>
                        <a:pt x="0" y="68"/>
                      </a:lnTo>
                      <a:cubicBezTo>
                        <a:pt x="1" y="73"/>
                        <a:pt x="2" y="77"/>
                        <a:pt x="6" y="81"/>
                      </a:cubicBezTo>
                      <a:lnTo>
                        <a:pt x="6" y="81"/>
                      </a:lnTo>
                      <a:cubicBezTo>
                        <a:pt x="9" y="84"/>
                        <a:pt x="15" y="86"/>
                        <a:pt x="19" y="85"/>
                      </a:cubicBezTo>
                      <a:lnTo>
                        <a:pt x="19" y="85"/>
                      </a:lnTo>
                      <a:cubicBezTo>
                        <a:pt x="24" y="85"/>
                        <a:pt x="29" y="84"/>
                        <a:pt x="32" y="80"/>
                      </a:cubicBezTo>
                      <a:lnTo>
                        <a:pt x="32" y="80"/>
                      </a:lnTo>
                      <a:cubicBezTo>
                        <a:pt x="45" y="64"/>
                        <a:pt x="56" y="48"/>
                        <a:pt x="69" y="31"/>
                      </a:cubicBezTo>
                      <a:lnTo>
                        <a:pt x="69" y="31"/>
                      </a:lnTo>
                      <a:cubicBezTo>
                        <a:pt x="72" y="27"/>
                        <a:pt x="74" y="24"/>
                        <a:pt x="73" y="18"/>
                      </a:cubicBezTo>
                      <a:lnTo>
                        <a:pt x="73" y="18"/>
                      </a:lnTo>
                      <a:cubicBezTo>
                        <a:pt x="73" y="13"/>
                        <a:pt x="71" y="9"/>
                        <a:pt x="68" y="6"/>
                      </a:cubicBezTo>
                      <a:lnTo>
                        <a:pt x="68" y="6"/>
                      </a:lnTo>
                      <a:cubicBezTo>
                        <a:pt x="65" y="2"/>
                        <a:pt x="60" y="0"/>
                        <a:pt x="5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143">
                  <a:extLst>
                    <a:ext uri="{FF2B5EF4-FFF2-40B4-BE49-F238E27FC236}">
                      <a16:creationId xmlns:a16="http://schemas.microsoft.com/office/drawing/2014/main" id="{B60440B7-DF92-4E4C-864F-3290A53864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8925" y="2076450"/>
                  <a:ext cx="60325" cy="69850"/>
                </a:xfrm>
                <a:custGeom>
                  <a:avLst/>
                  <a:gdLst>
                    <a:gd name="T0" fmla="*/ 74 w 166"/>
                    <a:gd name="T1" fmla="*/ 85 h 192"/>
                    <a:gd name="T2" fmla="*/ 74 w 166"/>
                    <a:gd name="T3" fmla="*/ 85 h 192"/>
                    <a:gd name="T4" fmla="*/ 75 w 166"/>
                    <a:gd name="T5" fmla="*/ 86 h 192"/>
                    <a:gd name="T6" fmla="*/ 75 w 166"/>
                    <a:gd name="T7" fmla="*/ 86 h 192"/>
                    <a:gd name="T8" fmla="*/ 74 w 166"/>
                    <a:gd name="T9" fmla="*/ 85 h 192"/>
                    <a:gd name="T10" fmla="*/ 4 w 166"/>
                    <a:gd name="T11" fmla="*/ 9 h 192"/>
                    <a:gd name="T12" fmla="*/ 4 w 166"/>
                    <a:gd name="T13" fmla="*/ 9 h 192"/>
                    <a:gd name="T14" fmla="*/ 12 w 166"/>
                    <a:gd name="T15" fmla="*/ 35 h 192"/>
                    <a:gd name="T16" fmla="*/ 12 w 166"/>
                    <a:gd name="T17" fmla="*/ 35 h 192"/>
                    <a:gd name="T18" fmla="*/ 37 w 166"/>
                    <a:gd name="T19" fmla="*/ 50 h 192"/>
                    <a:gd name="T20" fmla="*/ 37 w 166"/>
                    <a:gd name="T21" fmla="*/ 50 h 192"/>
                    <a:gd name="T22" fmla="*/ 72 w 166"/>
                    <a:gd name="T23" fmla="*/ 83 h 192"/>
                    <a:gd name="T24" fmla="*/ 72 w 166"/>
                    <a:gd name="T25" fmla="*/ 83 h 192"/>
                    <a:gd name="T26" fmla="*/ 130 w 166"/>
                    <a:gd name="T27" fmla="*/ 180 h 192"/>
                    <a:gd name="T28" fmla="*/ 130 w 166"/>
                    <a:gd name="T29" fmla="*/ 180 h 192"/>
                    <a:gd name="T30" fmla="*/ 155 w 166"/>
                    <a:gd name="T31" fmla="*/ 186 h 192"/>
                    <a:gd name="T32" fmla="*/ 155 w 166"/>
                    <a:gd name="T33" fmla="*/ 186 h 192"/>
                    <a:gd name="T34" fmla="*/ 164 w 166"/>
                    <a:gd name="T35" fmla="*/ 175 h 192"/>
                    <a:gd name="T36" fmla="*/ 164 w 166"/>
                    <a:gd name="T37" fmla="*/ 175 h 192"/>
                    <a:gd name="T38" fmla="*/ 162 w 166"/>
                    <a:gd name="T39" fmla="*/ 161 h 192"/>
                    <a:gd name="T40" fmla="*/ 162 w 166"/>
                    <a:gd name="T41" fmla="*/ 161 h 192"/>
                    <a:gd name="T42" fmla="*/ 118 w 166"/>
                    <a:gd name="T43" fmla="*/ 83 h 192"/>
                    <a:gd name="T44" fmla="*/ 118 w 166"/>
                    <a:gd name="T45" fmla="*/ 83 h 192"/>
                    <a:gd name="T46" fmla="*/ 80 w 166"/>
                    <a:gd name="T47" fmla="*/ 37 h 192"/>
                    <a:gd name="T48" fmla="*/ 80 w 166"/>
                    <a:gd name="T49" fmla="*/ 37 h 192"/>
                    <a:gd name="T50" fmla="*/ 30 w 166"/>
                    <a:gd name="T51" fmla="*/ 2 h 192"/>
                    <a:gd name="T52" fmla="*/ 30 w 166"/>
                    <a:gd name="T53" fmla="*/ 2 h 192"/>
                    <a:gd name="T54" fmla="*/ 21 w 166"/>
                    <a:gd name="T55" fmla="*/ 0 h 192"/>
                    <a:gd name="T56" fmla="*/ 21 w 166"/>
                    <a:gd name="T57" fmla="*/ 0 h 192"/>
                    <a:gd name="T58" fmla="*/ 4 w 166"/>
                    <a:gd name="T59" fmla="*/ 9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6" h="192">
                      <a:moveTo>
                        <a:pt x="74" y="85"/>
                      </a:moveTo>
                      <a:lnTo>
                        <a:pt x="74" y="85"/>
                      </a:lnTo>
                      <a:cubicBezTo>
                        <a:pt x="74" y="86"/>
                        <a:pt x="74" y="86"/>
                        <a:pt x="75" y="86"/>
                      </a:cubicBezTo>
                      <a:lnTo>
                        <a:pt x="75" y="86"/>
                      </a:lnTo>
                      <a:cubicBezTo>
                        <a:pt x="74" y="86"/>
                        <a:pt x="74" y="86"/>
                        <a:pt x="74" y="85"/>
                      </a:cubicBezTo>
                      <a:close/>
                      <a:moveTo>
                        <a:pt x="4" y="9"/>
                      </a:moveTo>
                      <a:lnTo>
                        <a:pt x="4" y="9"/>
                      </a:lnTo>
                      <a:cubicBezTo>
                        <a:pt x="0" y="18"/>
                        <a:pt x="2" y="30"/>
                        <a:pt x="12" y="35"/>
                      </a:cubicBezTo>
                      <a:lnTo>
                        <a:pt x="12" y="35"/>
                      </a:lnTo>
                      <a:cubicBezTo>
                        <a:pt x="20" y="39"/>
                        <a:pt x="29" y="45"/>
                        <a:pt x="37" y="50"/>
                      </a:cubicBezTo>
                      <a:lnTo>
                        <a:pt x="37" y="50"/>
                      </a:lnTo>
                      <a:cubicBezTo>
                        <a:pt x="50" y="60"/>
                        <a:pt x="61" y="71"/>
                        <a:pt x="72" y="83"/>
                      </a:cubicBezTo>
                      <a:lnTo>
                        <a:pt x="72" y="83"/>
                      </a:lnTo>
                      <a:cubicBezTo>
                        <a:pt x="95" y="113"/>
                        <a:pt x="113" y="147"/>
                        <a:pt x="130" y="180"/>
                      </a:cubicBezTo>
                      <a:lnTo>
                        <a:pt x="130" y="180"/>
                      </a:lnTo>
                      <a:cubicBezTo>
                        <a:pt x="135" y="189"/>
                        <a:pt x="148" y="191"/>
                        <a:pt x="155" y="186"/>
                      </a:cubicBezTo>
                      <a:lnTo>
                        <a:pt x="155" y="186"/>
                      </a:lnTo>
                      <a:cubicBezTo>
                        <a:pt x="159" y="184"/>
                        <a:pt x="163" y="179"/>
                        <a:pt x="164" y="175"/>
                      </a:cubicBezTo>
                      <a:lnTo>
                        <a:pt x="164" y="175"/>
                      </a:lnTo>
                      <a:cubicBezTo>
                        <a:pt x="165" y="170"/>
                        <a:pt x="164" y="165"/>
                        <a:pt x="162" y="161"/>
                      </a:cubicBezTo>
                      <a:lnTo>
                        <a:pt x="162" y="161"/>
                      </a:lnTo>
                      <a:cubicBezTo>
                        <a:pt x="148" y="134"/>
                        <a:pt x="134" y="108"/>
                        <a:pt x="118" y="83"/>
                      </a:cubicBezTo>
                      <a:lnTo>
                        <a:pt x="118" y="83"/>
                      </a:lnTo>
                      <a:cubicBezTo>
                        <a:pt x="106" y="66"/>
                        <a:pt x="94" y="51"/>
                        <a:pt x="80" y="37"/>
                      </a:cubicBezTo>
                      <a:lnTo>
                        <a:pt x="80" y="37"/>
                      </a:lnTo>
                      <a:cubicBezTo>
                        <a:pt x="65" y="23"/>
                        <a:pt x="48" y="12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8" y="4"/>
                        <a:pt x="4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 144">
                  <a:extLst>
                    <a:ext uri="{FF2B5EF4-FFF2-40B4-BE49-F238E27FC236}">
                      <a16:creationId xmlns:a16="http://schemas.microsoft.com/office/drawing/2014/main" id="{B5FA105D-58BC-2044-AC86-016A1E717E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32738" y="2262188"/>
                  <a:ext cx="38100" cy="63500"/>
                </a:xfrm>
                <a:custGeom>
                  <a:avLst/>
                  <a:gdLst>
                    <a:gd name="T0" fmla="*/ 43 w 108"/>
                    <a:gd name="T1" fmla="*/ 129 h 176"/>
                    <a:gd name="T2" fmla="*/ 43 w 108"/>
                    <a:gd name="T3" fmla="*/ 129 h 176"/>
                    <a:gd name="T4" fmla="*/ 44 w 108"/>
                    <a:gd name="T5" fmla="*/ 133 h 176"/>
                    <a:gd name="T6" fmla="*/ 44 w 108"/>
                    <a:gd name="T7" fmla="*/ 133 h 176"/>
                    <a:gd name="T8" fmla="*/ 43 w 108"/>
                    <a:gd name="T9" fmla="*/ 129 h 176"/>
                    <a:gd name="T10" fmla="*/ 18 w 108"/>
                    <a:gd name="T11" fmla="*/ 9 h 176"/>
                    <a:gd name="T12" fmla="*/ 18 w 108"/>
                    <a:gd name="T13" fmla="*/ 9 h 176"/>
                    <a:gd name="T14" fmla="*/ 7 w 108"/>
                    <a:gd name="T15" fmla="*/ 38 h 176"/>
                    <a:gd name="T16" fmla="*/ 7 w 108"/>
                    <a:gd name="T17" fmla="*/ 38 h 176"/>
                    <a:gd name="T18" fmla="*/ 0 w 108"/>
                    <a:gd name="T19" fmla="*/ 83 h 176"/>
                    <a:gd name="T20" fmla="*/ 0 w 108"/>
                    <a:gd name="T21" fmla="*/ 83 h 176"/>
                    <a:gd name="T22" fmla="*/ 3 w 108"/>
                    <a:gd name="T23" fmla="*/ 120 h 176"/>
                    <a:gd name="T24" fmla="*/ 3 w 108"/>
                    <a:gd name="T25" fmla="*/ 120 h 176"/>
                    <a:gd name="T26" fmla="*/ 16 w 108"/>
                    <a:gd name="T27" fmla="*/ 158 h 176"/>
                    <a:gd name="T28" fmla="*/ 16 w 108"/>
                    <a:gd name="T29" fmla="*/ 158 h 176"/>
                    <a:gd name="T30" fmla="*/ 25 w 108"/>
                    <a:gd name="T31" fmla="*/ 167 h 176"/>
                    <a:gd name="T32" fmla="*/ 25 w 108"/>
                    <a:gd name="T33" fmla="*/ 167 h 176"/>
                    <a:gd name="T34" fmla="*/ 37 w 108"/>
                    <a:gd name="T35" fmla="*/ 173 h 176"/>
                    <a:gd name="T36" fmla="*/ 37 w 108"/>
                    <a:gd name="T37" fmla="*/ 173 h 176"/>
                    <a:gd name="T38" fmla="*/ 50 w 108"/>
                    <a:gd name="T39" fmla="*/ 174 h 176"/>
                    <a:gd name="T40" fmla="*/ 50 w 108"/>
                    <a:gd name="T41" fmla="*/ 174 h 176"/>
                    <a:gd name="T42" fmla="*/ 69 w 108"/>
                    <a:gd name="T43" fmla="*/ 167 h 176"/>
                    <a:gd name="T44" fmla="*/ 69 w 108"/>
                    <a:gd name="T45" fmla="*/ 167 h 176"/>
                    <a:gd name="T46" fmla="*/ 81 w 108"/>
                    <a:gd name="T47" fmla="*/ 157 h 176"/>
                    <a:gd name="T48" fmla="*/ 81 w 108"/>
                    <a:gd name="T49" fmla="*/ 157 h 176"/>
                    <a:gd name="T50" fmla="*/ 91 w 108"/>
                    <a:gd name="T51" fmla="*/ 145 h 176"/>
                    <a:gd name="T52" fmla="*/ 91 w 108"/>
                    <a:gd name="T53" fmla="*/ 145 h 176"/>
                    <a:gd name="T54" fmla="*/ 104 w 108"/>
                    <a:gd name="T55" fmla="*/ 112 h 176"/>
                    <a:gd name="T56" fmla="*/ 104 w 108"/>
                    <a:gd name="T57" fmla="*/ 112 h 176"/>
                    <a:gd name="T58" fmla="*/ 90 w 108"/>
                    <a:gd name="T59" fmla="*/ 90 h 176"/>
                    <a:gd name="T60" fmla="*/ 90 w 108"/>
                    <a:gd name="T61" fmla="*/ 90 h 176"/>
                    <a:gd name="T62" fmla="*/ 68 w 108"/>
                    <a:gd name="T63" fmla="*/ 104 h 176"/>
                    <a:gd name="T64" fmla="*/ 68 w 108"/>
                    <a:gd name="T65" fmla="*/ 104 h 176"/>
                    <a:gd name="T66" fmla="*/ 65 w 108"/>
                    <a:gd name="T67" fmla="*/ 114 h 176"/>
                    <a:gd name="T68" fmla="*/ 65 w 108"/>
                    <a:gd name="T69" fmla="*/ 114 h 176"/>
                    <a:gd name="T70" fmla="*/ 56 w 108"/>
                    <a:gd name="T71" fmla="*/ 129 h 176"/>
                    <a:gd name="T72" fmla="*/ 56 w 108"/>
                    <a:gd name="T73" fmla="*/ 129 h 176"/>
                    <a:gd name="T74" fmla="*/ 51 w 108"/>
                    <a:gd name="T75" fmla="*/ 135 h 176"/>
                    <a:gd name="T76" fmla="*/ 51 w 108"/>
                    <a:gd name="T77" fmla="*/ 135 h 176"/>
                    <a:gd name="T78" fmla="*/ 47 w 108"/>
                    <a:gd name="T79" fmla="*/ 137 h 176"/>
                    <a:gd name="T80" fmla="*/ 47 w 108"/>
                    <a:gd name="T81" fmla="*/ 137 h 176"/>
                    <a:gd name="T82" fmla="*/ 46 w 108"/>
                    <a:gd name="T83" fmla="*/ 137 h 176"/>
                    <a:gd name="T84" fmla="*/ 46 w 108"/>
                    <a:gd name="T85" fmla="*/ 137 h 176"/>
                    <a:gd name="T86" fmla="*/ 46 w 108"/>
                    <a:gd name="T87" fmla="*/ 136 h 176"/>
                    <a:gd name="T88" fmla="*/ 46 w 108"/>
                    <a:gd name="T89" fmla="*/ 136 h 176"/>
                    <a:gd name="T90" fmla="*/ 44 w 108"/>
                    <a:gd name="T91" fmla="*/ 134 h 176"/>
                    <a:gd name="T92" fmla="*/ 44 w 108"/>
                    <a:gd name="T93" fmla="*/ 134 h 176"/>
                    <a:gd name="T94" fmla="*/ 40 w 108"/>
                    <a:gd name="T95" fmla="*/ 118 h 176"/>
                    <a:gd name="T96" fmla="*/ 40 w 108"/>
                    <a:gd name="T97" fmla="*/ 118 h 176"/>
                    <a:gd name="T98" fmla="*/ 38 w 108"/>
                    <a:gd name="T99" fmla="*/ 72 h 176"/>
                    <a:gd name="T100" fmla="*/ 38 w 108"/>
                    <a:gd name="T101" fmla="*/ 72 h 176"/>
                    <a:gd name="T102" fmla="*/ 45 w 108"/>
                    <a:gd name="T103" fmla="*/ 42 h 176"/>
                    <a:gd name="T104" fmla="*/ 45 w 108"/>
                    <a:gd name="T105" fmla="*/ 42 h 176"/>
                    <a:gd name="T106" fmla="*/ 51 w 108"/>
                    <a:gd name="T107" fmla="*/ 28 h 176"/>
                    <a:gd name="T108" fmla="*/ 51 w 108"/>
                    <a:gd name="T109" fmla="*/ 28 h 176"/>
                    <a:gd name="T110" fmla="*/ 53 w 108"/>
                    <a:gd name="T111" fmla="*/ 13 h 176"/>
                    <a:gd name="T112" fmla="*/ 53 w 108"/>
                    <a:gd name="T113" fmla="*/ 13 h 176"/>
                    <a:gd name="T114" fmla="*/ 43 w 108"/>
                    <a:gd name="T115" fmla="*/ 3 h 176"/>
                    <a:gd name="T116" fmla="*/ 43 w 108"/>
                    <a:gd name="T117" fmla="*/ 3 h 176"/>
                    <a:gd name="T118" fmla="*/ 34 w 108"/>
                    <a:gd name="T119" fmla="*/ 0 h 176"/>
                    <a:gd name="T120" fmla="*/ 34 w 108"/>
                    <a:gd name="T121" fmla="*/ 0 h 176"/>
                    <a:gd name="T122" fmla="*/ 18 w 108"/>
                    <a:gd name="T123" fmla="*/ 9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8" h="176">
                      <a:moveTo>
                        <a:pt x="43" y="129"/>
                      </a:moveTo>
                      <a:lnTo>
                        <a:pt x="43" y="129"/>
                      </a:lnTo>
                      <a:cubicBezTo>
                        <a:pt x="43" y="130"/>
                        <a:pt x="44" y="132"/>
                        <a:pt x="44" y="133"/>
                      </a:cubicBezTo>
                      <a:lnTo>
                        <a:pt x="44" y="133"/>
                      </a:lnTo>
                      <a:cubicBezTo>
                        <a:pt x="44" y="132"/>
                        <a:pt x="43" y="130"/>
                        <a:pt x="43" y="129"/>
                      </a:cubicBezTo>
                      <a:close/>
                      <a:moveTo>
                        <a:pt x="18" y="9"/>
                      </a:moveTo>
                      <a:lnTo>
                        <a:pt x="18" y="9"/>
                      </a:lnTo>
                      <a:cubicBezTo>
                        <a:pt x="14" y="19"/>
                        <a:pt x="10" y="28"/>
                        <a:pt x="7" y="38"/>
                      </a:cubicBezTo>
                      <a:lnTo>
                        <a:pt x="7" y="38"/>
                      </a:lnTo>
                      <a:cubicBezTo>
                        <a:pt x="2" y="52"/>
                        <a:pt x="1" y="68"/>
                        <a:pt x="0" y="83"/>
                      </a:cubicBezTo>
                      <a:lnTo>
                        <a:pt x="0" y="83"/>
                      </a:lnTo>
                      <a:cubicBezTo>
                        <a:pt x="0" y="95"/>
                        <a:pt x="1" y="108"/>
                        <a:pt x="3" y="120"/>
                      </a:cubicBezTo>
                      <a:lnTo>
                        <a:pt x="3" y="120"/>
                      </a:lnTo>
                      <a:cubicBezTo>
                        <a:pt x="5" y="134"/>
                        <a:pt x="8" y="146"/>
                        <a:pt x="16" y="158"/>
                      </a:cubicBezTo>
                      <a:lnTo>
                        <a:pt x="16" y="158"/>
                      </a:lnTo>
                      <a:cubicBezTo>
                        <a:pt x="18" y="161"/>
                        <a:pt x="21" y="165"/>
                        <a:pt x="25" y="167"/>
                      </a:cubicBezTo>
                      <a:lnTo>
                        <a:pt x="25" y="167"/>
                      </a:lnTo>
                      <a:cubicBezTo>
                        <a:pt x="28" y="170"/>
                        <a:pt x="33" y="173"/>
                        <a:pt x="37" y="173"/>
                      </a:cubicBezTo>
                      <a:lnTo>
                        <a:pt x="37" y="173"/>
                      </a:lnTo>
                      <a:cubicBezTo>
                        <a:pt x="41" y="174"/>
                        <a:pt x="45" y="175"/>
                        <a:pt x="50" y="174"/>
                      </a:cubicBezTo>
                      <a:lnTo>
                        <a:pt x="50" y="174"/>
                      </a:lnTo>
                      <a:cubicBezTo>
                        <a:pt x="56" y="173"/>
                        <a:pt x="63" y="170"/>
                        <a:pt x="69" y="167"/>
                      </a:cubicBezTo>
                      <a:lnTo>
                        <a:pt x="69" y="167"/>
                      </a:lnTo>
                      <a:cubicBezTo>
                        <a:pt x="73" y="165"/>
                        <a:pt x="77" y="160"/>
                        <a:pt x="81" y="157"/>
                      </a:cubicBezTo>
                      <a:lnTo>
                        <a:pt x="81" y="157"/>
                      </a:lnTo>
                      <a:cubicBezTo>
                        <a:pt x="85" y="154"/>
                        <a:pt x="88" y="149"/>
                        <a:pt x="91" y="145"/>
                      </a:cubicBezTo>
                      <a:lnTo>
                        <a:pt x="91" y="145"/>
                      </a:lnTo>
                      <a:cubicBezTo>
                        <a:pt x="97" y="135"/>
                        <a:pt x="101" y="124"/>
                        <a:pt x="104" y="112"/>
                      </a:cubicBezTo>
                      <a:lnTo>
                        <a:pt x="104" y="112"/>
                      </a:lnTo>
                      <a:cubicBezTo>
                        <a:pt x="107" y="102"/>
                        <a:pt x="99" y="92"/>
                        <a:pt x="90" y="90"/>
                      </a:cubicBezTo>
                      <a:lnTo>
                        <a:pt x="90" y="90"/>
                      </a:lnTo>
                      <a:cubicBezTo>
                        <a:pt x="80" y="88"/>
                        <a:pt x="71" y="94"/>
                        <a:pt x="68" y="104"/>
                      </a:cubicBezTo>
                      <a:lnTo>
                        <a:pt x="68" y="104"/>
                      </a:lnTo>
                      <a:cubicBezTo>
                        <a:pt x="67" y="107"/>
                        <a:pt x="66" y="110"/>
                        <a:pt x="65" y="114"/>
                      </a:cubicBezTo>
                      <a:lnTo>
                        <a:pt x="65" y="114"/>
                      </a:lnTo>
                      <a:cubicBezTo>
                        <a:pt x="63" y="119"/>
                        <a:pt x="59" y="124"/>
                        <a:pt x="56" y="129"/>
                      </a:cubicBezTo>
                      <a:lnTo>
                        <a:pt x="56" y="129"/>
                      </a:lnTo>
                      <a:cubicBezTo>
                        <a:pt x="55" y="130"/>
                        <a:pt x="53" y="133"/>
                        <a:pt x="51" y="135"/>
                      </a:cubicBezTo>
                      <a:lnTo>
                        <a:pt x="51" y="135"/>
                      </a:lnTo>
                      <a:cubicBezTo>
                        <a:pt x="49" y="135"/>
                        <a:pt x="48" y="136"/>
                        <a:pt x="47" y="137"/>
                      </a:cubicBezTo>
                      <a:lnTo>
                        <a:pt x="47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6"/>
                      </a:lnTo>
                      <a:lnTo>
                        <a:pt x="46" y="136"/>
                      </a:lnTo>
                      <a:cubicBezTo>
                        <a:pt x="45" y="135"/>
                        <a:pt x="45" y="135"/>
                        <a:pt x="44" y="134"/>
                      </a:cubicBezTo>
                      <a:lnTo>
                        <a:pt x="44" y="134"/>
                      </a:lnTo>
                      <a:cubicBezTo>
                        <a:pt x="43" y="128"/>
                        <a:pt x="41" y="123"/>
                        <a:pt x="40" y="118"/>
                      </a:cubicBezTo>
                      <a:lnTo>
                        <a:pt x="40" y="118"/>
                      </a:lnTo>
                      <a:cubicBezTo>
                        <a:pt x="38" y="102"/>
                        <a:pt x="37" y="87"/>
                        <a:pt x="38" y="72"/>
                      </a:cubicBezTo>
                      <a:lnTo>
                        <a:pt x="38" y="72"/>
                      </a:lnTo>
                      <a:cubicBezTo>
                        <a:pt x="39" y="61"/>
                        <a:pt x="41" y="52"/>
                        <a:pt x="45" y="42"/>
                      </a:cubicBezTo>
                      <a:lnTo>
                        <a:pt x="45" y="42"/>
                      </a:lnTo>
                      <a:cubicBezTo>
                        <a:pt x="46" y="37"/>
                        <a:pt x="49" y="33"/>
                        <a:pt x="51" y="28"/>
                      </a:cubicBezTo>
                      <a:lnTo>
                        <a:pt x="51" y="28"/>
                      </a:lnTo>
                      <a:cubicBezTo>
                        <a:pt x="53" y="23"/>
                        <a:pt x="54" y="18"/>
                        <a:pt x="53" y="13"/>
                      </a:cubicBezTo>
                      <a:lnTo>
                        <a:pt x="53" y="13"/>
                      </a:lnTo>
                      <a:cubicBezTo>
                        <a:pt x="51" y="8"/>
                        <a:pt x="48" y="5"/>
                        <a:pt x="43" y="3"/>
                      </a:cubicBezTo>
                      <a:lnTo>
                        <a:pt x="43" y="3"/>
                      </a:lnTo>
                      <a:cubicBezTo>
                        <a:pt x="41" y="1"/>
                        <a:pt x="38" y="0"/>
                        <a:pt x="34" y="0"/>
                      </a:cubicBezTo>
                      <a:lnTo>
                        <a:pt x="34" y="0"/>
                      </a:lnTo>
                      <a:cubicBezTo>
                        <a:pt x="28" y="0"/>
                        <a:pt x="21" y="4"/>
                        <a:pt x="18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145">
                  <a:extLst>
                    <a:ext uri="{FF2B5EF4-FFF2-40B4-BE49-F238E27FC236}">
                      <a16:creationId xmlns:a16="http://schemas.microsoft.com/office/drawing/2014/main" id="{0F168875-6928-6F47-AB24-7D24FB90F8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573338"/>
                  <a:ext cx="76200" cy="80962"/>
                </a:xfrm>
                <a:custGeom>
                  <a:avLst/>
                  <a:gdLst>
                    <a:gd name="T0" fmla="*/ 185 w 213"/>
                    <a:gd name="T1" fmla="*/ 0 h 225"/>
                    <a:gd name="T2" fmla="*/ 157 w 213"/>
                    <a:gd name="T3" fmla="*/ 7 h 225"/>
                    <a:gd name="T4" fmla="*/ 126 w 213"/>
                    <a:gd name="T5" fmla="*/ 18 h 225"/>
                    <a:gd name="T6" fmla="*/ 67 w 213"/>
                    <a:gd name="T7" fmla="*/ 50 h 225"/>
                    <a:gd name="T8" fmla="*/ 43 w 213"/>
                    <a:gd name="T9" fmla="*/ 69 h 225"/>
                    <a:gd name="T10" fmla="*/ 17 w 213"/>
                    <a:gd name="T11" fmla="*/ 95 h 225"/>
                    <a:gd name="T12" fmla="*/ 5 w 213"/>
                    <a:gd name="T13" fmla="*/ 118 h 225"/>
                    <a:gd name="T14" fmla="*/ 1 w 213"/>
                    <a:gd name="T15" fmla="*/ 149 h 225"/>
                    <a:gd name="T16" fmla="*/ 6 w 213"/>
                    <a:gd name="T17" fmla="*/ 175 h 225"/>
                    <a:gd name="T18" fmla="*/ 20 w 213"/>
                    <a:gd name="T19" fmla="*/ 196 h 225"/>
                    <a:gd name="T20" fmla="*/ 66 w 213"/>
                    <a:gd name="T21" fmla="*/ 222 h 225"/>
                    <a:gd name="T22" fmla="*/ 92 w 213"/>
                    <a:gd name="T23" fmla="*/ 224 h 225"/>
                    <a:gd name="T24" fmla="*/ 123 w 213"/>
                    <a:gd name="T25" fmla="*/ 219 h 225"/>
                    <a:gd name="T26" fmla="*/ 147 w 213"/>
                    <a:gd name="T27" fmla="*/ 207 h 225"/>
                    <a:gd name="T28" fmla="*/ 175 w 213"/>
                    <a:gd name="T29" fmla="*/ 189 h 225"/>
                    <a:gd name="T30" fmla="*/ 181 w 213"/>
                    <a:gd name="T31" fmla="*/ 164 h 225"/>
                    <a:gd name="T32" fmla="*/ 155 w 213"/>
                    <a:gd name="T33" fmla="*/ 158 h 225"/>
                    <a:gd name="T34" fmla="*/ 119 w 213"/>
                    <a:gd name="T35" fmla="*/ 180 h 225"/>
                    <a:gd name="T36" fmla="*/ 100 w 213"/>
                    <a:gd name="T37" fmla="*/ 186 h 225"/>
                    <a:gd name="T38" fmla="*/ 79 w 213"/>
                    <a:gd name="T39" fmla="*/ 186 h 225"/>
                    <a:gd name="T40" fmla="*/ 64 w 213"/>
                    <a:gd name="T41" fmla="*/ 183 h 225"/>
                    <a:gd name="T42" fmla="*/ 54 w 213"/>
                    <a:gd name="T43" fmla="*/ 177 h 225"/>
                    <a:gd name="T44" fmla="*/ 46 w 213"/>
                    <a:gd name="T45" fmla="*/ 171 h 225"/>
                    <a:gd name="T46" fmla="*/ 41 w 213"/>
                    <a:gd name="T47" fmla="*/ 162 h 225"/>
                    <a:gd name="T48" fmla="*/ 38 w 213"/>
                    <a:gd name="T49" fmla="*/ 150 h 225"/>
                    <a:gd name="T50" fmla="*/ 38 w 213"/>
                    <a:gd name="T51" fmla="*/ 140 h 225"/>
                    <a:gd name="T52" fmla="*/ 40 w 213"/>
                    <a:gd name="T53" fmla="*/ 129 h 225"/>
                    <a:gd name="T54" fmla="*/ 46 w 213"/>
                    <a:gd name="T55" fmla="*/ 118 h 225"/>
                    <a:gd name="T56" fmla="*/ 72 w 213"/>
                    <a:gd name="T57" fmla="*/ 94 h 225"/>
                    <a:gd name="T58" fmla="*/ 72 w 213"/>
                    <a:gd name="T59" fmla="*/ 94 h 225"/>
                    <a:gd name="T60" fmla="*/ 135 w 213"/>
                    <a:gd name="T61" fmla="*/ 54 h 225"/>
                    <a:gd name="T62" fmla="*/ 162 w 213"/>
                    <a:gd name="T63" fmla="*/ 44 h 225"/>
                    <a:gd name="T64" fmla="*/ 196 w 213"/>
                    <a:gd name="T65" fmla="*/ 35 h 225"/>
                    <a:gd name="T66" fmla="*/ 209 w 213"/>
                    <a:gd name="T67" fmla="*/ 13 h 225"/>
                    <a:gd name="T68" fmla="*/ 191 w 213"/>
                    <a:gd name="T69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3" h="225">
                      <a:moveTo>
                        <a:pt x="185" y="0"/>
                      </a:moveTo>
                      <a:lnTo>
                        <a:pt x="185" y="0"/>
                      </a:lnTo>
                      <a:cubicBezTo>
                        <a:pt x="176" y="3"/>
                        <a:pt x="166" y="5"/>
                        <a:pt x="157" y="7"/>
                      </a:cubicBezTo>
                      <a:lnTo>
                        <a:pt x="157" y="7"/>
                      </a:lnTo>
                      <a:cubicBezTo>
                        <a:pt x="146" y="10"/>
                        <a:pt x="136" y="14"/>
                        <a:pt x="126" y="18"/>
                      </a:cubicBezTo>
                      <a:lnTo>
                        <a:pt x="126" y="18"/>
                      </a:lnTo>
                      <a:cubicBezTo>
                        <a:pt x="105" y="26"/>
                        <a:pt x="86" y="37"/>
                        <a:pt x="67" y="50"/>
                      </a:cubicBezTo>
                      <a:lnTo>
                        <a:pt x="67" y="50"/>
                      </a:lnTo>
                      <a:cubicBezTo>
                        <a:pt x="59" y="56"/>
                        <a:pt x="51" y="63"/>
                        <a:pt x="43" y="69"/>
                      </a:cubicBezTo>
                      <a:lnTo>
                        <a:pt x="43" y="69"/>
                      </a:lnTo>
                      <a:cubicBezTo>
                        <a:pt x="34" y="77"/>
                        <a:pt x="25" y="86"/>
                        <a:pt x="17" y="95"/>
                      </a:cubicBezTo>
                      <a:lnTo>
                        <a:pt x="17" y="95"/>
                      </a:lnTo>
                      <a:cubicBezTo>
                        <a:pt x="12" y="102"/>
                        <a:pt x="8" y="109"/>
                        <a:pt x="5" y="118"/>
                      </a:cubicBezTo>
                      <a:lnTo>
                        <a:pt x="5" y="118"/>
                      </a:lnTo>
                      <a:cubicBezTo>
                        <a:pt x="1" y="128"/>
                        <a:pt x="0" y="138"/>
                        <a:pt x="1" y="149"/>
                      </a:cubicBezTo>
                      <a:lnTo>
                        <a:pt x="1" y="149"/>
                      </a:lnTo>
                      <a:cubicBezTo>
                        <a:pt x="1" y="158"/>
                        <a:pt x="4" y="166"/>
                        <a:pt x="6" y="175"/>
                      </a:cubicBezTo>
                      <a:lnTo>
                        <a:pt x="6" y="175"/>
                      </a:lnTo>
                      <a:cubicBezTo>
                        <a:pt x="9" y="183"/>
                        <a:pt x="14" y="190"/>
                        <a:pt x="20" y="196"/>
                      </a:cubicBezTo>
                      <a:lnTo>
                        <a:pt x="20" y="196"/>
                      </a:lnTo>
                      <a:cubicBezTo>
                        <a:pt x="32" y="210"/>
                        <a:pt x="48" y="218"/>
                        <a:pt x="66" y="222"/>
                      </a:cubicBezTo>
                      <a:lnTo>
                        <a:pt x="66" y="222"/>
                      </a:lnTo>
                      <a:cubicBezTo>
                        <a:pt x="75" y="224"/>
                        <a:pt x="83" y="224"/>
                        <a:pt x="92" y="224"/>
                      </a:cubicBezTo>
                      <a:lnTo>
                        <a:pt x="92" y="224"/>
                      </a:lnTo>
                      <a:cubicBezTo>
                        <a:pt x="102" y="223"/>
                        <a:pt x="113" y="221"/>
                        <a:pt x="123" y="219"/>
                      </a:cubicBezTo>
                      <a:lnTo>
                        <a:pt x="123" y="219"/>
                      </a:lnTo>
                      <a:cubicBezTo>
                        <a:pt x="131" y="216"/>
                        <a:pt x="139" y="212"/>
                        <a:pt x="147" y="207"/>
                      </a:cubicBezTo>
                      <a:lnTo>
                        <a:pt x="147" y="207"/>
                      </a:lnTo>
                      <a:cubicBezTo>
                        <a:pt x="157" y="202"/>
                        <a:pt x="166" y="196"/>
                        <a:pt x="175" y="189"/>
                      </a:cubicBezTo>
                      <a:lnTo>
                        <a:pt x="175" y="189"/>
                      </a:lnTo>
                      <a:cubicBezTo>
                        <a:pt x="184" y="183"/>
                        <a:pt x="186" y="173"/>
                        <a:pt x="181" y="164"/>
                      </a:cubicBezTo>
                      <a:lnTo>
                        <a:pt x="181" y="164"/>
                      </a:lnTo>
                      <a:cubicBezTo>
                        <a:pt x="176" y="156"/>
                        <a:pt x="164" y="152"/>
                        <a:pt x="155" y="158"/>
                      </a:cubicBezTo>
                      <a:lnTo>
                        <a:pt x="155" y="158"/>
                      </a:lnTo>
                      <a:cubicBezTo>
                        <a:pt x="144" y="166"/>
                        <a:pt x="133" y="174"/>
                        <a:pt x="119" y="180"/>
                      </a:cubicBezTo>
                      <a:lnTo>
                        <a:pt x="119" y="180"/>
                      </a:lnTo>
                      <a:cubicBezTo>
                        <a:pt x="113" y="182"/>
                        <a:pt x="106" y="184"/>
                        <a:pt x="100" y="186"/>
                      </a:cubicBezTo>
                      <a:lnTo>
                        <a:pt x="100" y="186"/>
                      </a:lnTo>
                      <a:cubicBezTo>
                        <a:pt x="93" y="186"/>
                        <a:pt x="86" y="187"/>
                        <a:pt x="79" y="186"/>
                      </a:cubicBezTo>
                      <a:lnTo>
                        <a:pt x="79" y="186"/>
                      </a:lnTo>
                      <a:cubicBezTo>
                        <a:pt x="74" y="186"/>
                        <a:pt x="68" y="185"/>
                        <a:pt x="64" y="183"/>
                      </a:cubicBezTo>
                      <a:lnTo>
                        <a:pt x="64" y="183"/>
                      </a:lnTo>
                      <a:cubicBezTo>
                        <a:pt x="60" y="181"/>
                        <a:pt x="56" y="179"/>
                        <a:pt x="54" y="177"/>
                      </a:cubicBezTo>
                      <a:lnTo>
                        <a:pt x="54" y="177"/>
                      </a:lnTo>
                      <a:cubicBezTo>
                        <a:pt x="51" y="175"/>
                        <a:pt x="49" y="173"/>
                        <a:pt x="46" y="171"/>
                      </a:cubicBezTo>
                      <a:lnTo>
                        <a:pt x="46" y="171"/>
                      </a:lnTo>
                      <a:cubicBezTo>
                        <a:pt x="44" y="168"/>
                        <a:pt x="43" y="165"/>
                        <a:pt x="41" y="162"/>
                      </a:cubicBezTo>
                      <a:lnTo>
                        <a:pt x="41" y="162"/>
                      </a:lnTo>
                      <a:cubicBezTo>
                        <a:pt x="40" y="158"/>
                        <a:pt x="39" y="154"/>
                        <a:pt x="38" y="150"/>
                      </a:cubicBezTo>
                      <a:lnTo>
                        <a:pt x="38" y="150"/>
                      </a:lnTo>
                      <a:cubicBezTo>
                        <a:pt x="38" y="147"/>
                        <a:pt x="38" y="144"/>
                        <a:pt x="38" y="140"/>
                      </a:cubicBezTo>
                      <a:lnTo>
                        <a:pt x="38" y="140"/>
                      </a:lnTo>
                      <a:cubicBezTo>
                        <a:pt x="38" y="136"/>
                        <a:pt x="40" y="133"/>
                        <a:pt x="40" y="129"/>
                      </a:cubicBezTo>
                      <a:lnTo>
                        <a:pt x="40" y="129"/>
                      </a:lnTo>
                      <a:cubicBezTo>
                        <a:pt x="42" y="125"/>
                        <a:pt x="44" y="122"/>
                        <a:pt x="46" y="118"/>
                      </a:cubicBezTo>
                      <a:lnTo>
                        <a:pt x="46" y="118"/>
                      </a:lnTo>
                      <a:cubicBezTo>
                        <a:pt x="54" y="109"/>
                        <a:pt x="63" y="101"/>
                        <a:pt x="72" y="94"/>
                      </a:cubicBez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cubicBezTo>
                        <a:pt x="91" y="78"/>
                        <a:pt x="113" y="65"/>
                        <a:pt x="135" y="54"/>
                      </a:cubicBezTo>
                      <a:lnTo>
                        <a:pt x="135" y="54"/>
                      </a:lnTo>
                      <a:cubicBezTo>
                        <a:pt x="144" y="50"/>
                        <a:pt x="153" y="47"/>
                        <a:pt x="162" y="44"/>
                      </a:cubicBezTo>
                      <a:lnTo>
                        <a:pt x="162" y="44"/>
                      </a:lnTo>
                      <a:cubicBezTo>
                        <a:pt x="174" y="41"/>
                        <a:pt x="185" y="38"/>
                        <a:pt x="196" y="35"/>
                      </a:cubicBezTo>
                      <a:lnTo>
                        <a:pt x="196" y="35"/>
                      </a:lnTo>
                      <a:cubicBezTo>
                        <a:pt x="206" y="33"/>
                        <a:pt x="212" y="21"/>
                        <a:pt x="209" y="13"/>
                      </a:cubicBezTo>
                      <a:lnTo>
                        <a:pt x="209" y="13"/>
                      </a:lnTo>
                      <a:cubicBezTo>
                        <a:pt x="206" y="4"/>
                        <a:pt x="199" y="0"/>
                        <a:pt x="191" y="0"/>
                      </a:cubicBezTo>
                      <a:lnTo>
                        <a:pt x="191" y="0"/>
                      </a:lnTo>
                      <a:cubicBezTo>
                        <a:pt x="189" y="0"/>
                        <a:pt x="187" y="0"/>
                        <a:pt x="18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146">
                  <a:extLst>
                    <a:ext uri="{FF2B5EF4-FFF2-40B4-BE49-F238E27FC236}">
                      <a16:creationId xmlns:a16="http://schemas.microsoft.com/office/drawing/2014/main" id="{F4BEB39D-6534-0042-A63F-9BF6B3BF69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21588" y="2689225"/>
                  <a:ext cx="39687" cy="42863"/>
                </a:xfrm>
                <a:custGeom>
                  <a:avLst/>
                  <a:gdLst>
                    <a:gd name="T0" fmla="*/ 37 w 109"/>
                    <a:gd name="T1" fmla="*/ 45 h 120"/>
                    <a:gd name="T2" fmla="*/ 37 w 109"/>
                    <a:gd name="T3" fmla="*/ 45 h 120"/>
                    <a:gd name="T4" fmla="*/ 37 w 109"/>
                    <a:gd name="T5" fmla="*/ 45 h 120"/>
                    <a:gd name="T6" fmla="*/ 37 w 109"/>
                    <a:gd name="T7" fmla="*/ 42 h 120"/>
                    <a:gd name="T8" fmla="*/ 37 w 109"/>
                    <a:gd name="T9" fmla="*/ 44 h 120"/>
                    <a:gd name="T10" fmla="*/ 37 w 109"/>
                    <a:gd name="T11" fmla="*/ 44 h 120"/>
                    <a:gd name="T12" fmla="*/ 20 w 109"/>
                    <a:gd name="T13" fmla="*/ 6 h 120"/>
                    <a:gd name="T14" fmla="*/ 10 w 109"/>
                    <a:gd name="T15" fmla="*/ 19 h 120"/>
                    <a:gd name="T16" fmla="*/ 4 w 109"/>
                    <a:gd name="T17" fmla="*/ 28 h 120"/>
                    <a:gd name="T18" fmla="*/ 1 w 109"/>
                    <a:gd name="T19" fmla="*/ 37 h 120"/>
                    <a:gd name="T20" fmla="*/ 0 w 109"/>
                    <a:gd name="T21" fmla="*/ 47 h 120"/>
                    <a:gd name="T22" fmla="*/ 2 w 109"/>
                    <a:gd name="T23" fmla="*/ 58 h 120"/>
                    <a:gd name="T24" fmla="*/ 6 w 109"/>
                    <a:gd name="T25" fmla="*/ 68 h 120"/>
                    <a:gd name="T26" fmla="*/ 11 w 109"/>
                    <a:gd name="T27" fmla="*/ 78 h 120"/>
                    <a:gd name="T28" fmla="*/ 26 w 109"/>
                    <a:gd name="T29" fmla="*/ 92 h 120"/>
                    <a:gd name="T30" fmla="*/ 44 w 109"/>
                    <a:gd name="T31" fmla="*/ 106 h 120"/>
                    <a:gd name="T32" fmla="*/ 65 w 109"/>
                    <a:gd name="T33" fmla="*/ 115 h 120"/>
                    <a:gd name="T34" fmla="*/ 85 w 109"/>
                    <a:gd name="T35" fmla="*/ 118 h 120"/>
                    <a:gd name="T36" fmla="*/ 99 w 109"/>
                    <a:gd name="T37" fmla="*/ 116 h 120"/>
                    <a:gd name="T38" fmla="*/ 107 w 109"/>
                    <a:gd name="T39" fmla="*/ 105 h 120"/>
                    <a:gd name="T40" fmla="*/ 105 w 109"/>
                    <a:gd name="T41" fmla="*/ 91 h 120"/>
                    <a:gd name="T42" fmla="*/ 94 w 109"/>
                    <a:gd name="T43" fmla="*/ 83 h 120"/>
                    <a:gd name="T44" fmla="*/ 84 w 109"/>
                    <a:gd name="T45" fmla="*/ 81 h 120"/>
                    <a:gd name="T46" fmla="*/ 72 w 109"/>
                    <a:gd name="T47" fmla="*/ 78 h 120"/>
                    <a:gd name="T48" fmla="*/ 57 w 109"/>
                    <a:gd name="T49" fmla="*/ 69 h 120"/>
                    <a:gd name="T50" fmla="*/ 60 w 109"/>
                    <a:gd name="T51" fmla="*/ 72 h 120"/>
                    <a:gd name="T52" fmla="*/ 41 w 109"/>
                    <a:gd name="T53" fmla="*/ 56 h 120"/>
                    <a:gd name="T54" fmla="*/ 38 w 109"/>
                    <a:gd name="T55" fmla="*/ 48 h 120"/>
                    <a:gd name="T56" fmla="*/ 40 w 109"/>
                    <a:gd name="T57" fmla="*/ 53 h 120"/>
                    <a:gd name="T58" fmla="*/ 38 w 109"/>
                    <a:gd name="T59" fmla="*/ 46 h 120"/>
                    <a:gd name="T60" fmla="*/ 38 w 109"/>
                    <a:gd name="T61" fmla="*/ 44 h 120"/>
                    <a:gd name="T62" fmla="*/ 44 w 109"/>
                    <a:gd name="T63" fmla="*/ 34 h 120"/>
                    <a:gd name="T64" fmla="*/ 47 w 109"/>
                    <a:gd name="T65" fmla="*/ 32 h 120"/>
                    <a:gd name="T66" fmla="*/ 51 w 109"/>
                    <a:gd name="T67" fmla="*/ 18 h 120"/>
                    <a:gd name="T68" fmla="*/ 46 w 109"/>
                    <a:gd name="T69" fmla="*/ 5 h 120"/>
                    <a:gd name="T70" fmla="*/ 32 w 109"/>
                    <a:gd name="T71" fmla="*/ 0 h 120"/>
                    <a:gd name="T72" fmla="*/ 20 w 109"/>
                    <a:gd name="T73" fmla="*/ 6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09" h="120">
                      <a:moveTo>
                        <a:pt x="37" y="45"/>
                      </a:moveTo>
                      <a:lnTo>
                        <a:pt x="37" y="45"/>
                      </a:lnTo>
                      <a:lnTo>
                        <a:pt x="37" y="46"/>
                      </a:lnTo>
                      <a:lnTo>
                        <a:pt x="37" y="45"/>
                      </a:lnTo>
                      <a:close/>
                      <a:moveTo>
                        <a:pt x="37" y="45"/>
                      </a:moveTo>
                      <a:lnTo>
                        <a:pt x="37" y="45"/>
                      </a:lnTo>
                      <a:close/>
                      <a:moveTo>
                        <a:pt x="37" y="42"/>
                      </a:moveTo>
                      <a:lnTo>
                        <a:pt x="37" y="42"/>
                      </a:lnTo>
                      <a:cubicBezTo>
                        <a:pt x="37" y="43"/>
                        <a:pt x="37" y="43"/>
                        <a:pt x="37" y="44"/>
                      </a:cubicBezTo>
                      <a:lnTo>
                        <a:pt x="37" y="44"/>
                      </a:lnTo>
                      <a:lnTo>
                        <a:pt x="37" y="44"/>
                      </a:lnTo>
                      <a:lnTo>
                        <a:pt x="37" y="44"/>
                      </a:lnTo>
                      <a:cubicBezTo>
                        <a:pt x="37" y="43"/>
                        <a:pt x="37" y="43"/>
                        <a:pt x="37" y="42"/>
                      </a:cubicBezTo>
                      <a:close/>
                      <a:moveTo>
                        <a:pt x="20" y="6"/>
                      </a:moveTo>
                      <a:lnTo>
                        <a:pt x="20" y="6"/>
                      </a:lnTo>
                      <a:cubicBezTo>
                        <a:pt x="16" y="10"/>
                        <a:pt x="12" y="15"/>
                        <a:pt x="10" y="19"/>
                      </a:cubicBezTo>
                      <a:lnTo>
                        <a:pt x="10" y="19"/>
                      </a:lnTo>
                      <a:cubicBezTo>
                        <a:pt x="7" y="22"/>
                        <a:pt x="6" y="25"/>
                        <a:pt x="4" y="28"/>
                      </a:cubicBezTo>
                      <a:lnTo>
                        <a:pt x="4" y="28"/>
                      </a:lnTo>
                      <a:cubicBezTo>
                        <a:pt x="2" y="31"/>
                        <a:pt x="2" y="34"/>
                        <a:pt x="1" y="37"/>
                      </a:cubicBezTo>
                      <a:lnTo>
                        <a:pt x="1" y="37"/>
                      </a:lnTo>
                      <a:cubicBezTo>
                        <a:pt x="0" y="40"/>
                        <a:pt x="0" y="44"/>
                        <a:pt x="0" y="47"/>
                      </a:cubicBezTo>
                      <a:lnTo>
                        <a:pt x="0" y="47"/>
                      </a:lnTo>
                      <a:cubicBezTo>
                        <a:pt x="1" y="51"/>
                        <a:pt x="1" y="55"/>
                        <a:pt x="2" y="58"/>
                      </a:cubicBezTo>
                      <a:lnTo>
                        <a:pt x="2" y="58"/>
                      </a:lnTo>
                      <a:cubicBezTo>
                        <a:pt x="3" y="61"/>
                        <a:pt x="4" y="65"/>
                        <a:pt x="6" y="68"/>
                      </a:cubicBezTo>
                      <a:lnTo>
                        <a:pt x="6" y="68"/>
                      </a:lnTo>
                      <a:cubicBezTo>
                        <a:pt x="7" y="72"/>
                        <a:pt x="9" y="75"/>
                        <a:pt x="11" y="78"/>
                      </a:cubicBezTo>
                      <a:lnTo>
                        <a:pt x="11" y="78"/>
                      </a:lnTo>
                      <a:cubicBezTo>
                        <a:pt x="15" y="83"/>
                        <a:pt x="20" y="88"/>
                        <a:pt x="26" y="92"/>
                      </a:cubicBezTo>
                      <a:lnTo>
                        <a:pt x="26" y="92"/>
                      </a:lnTo>
                      <a:cubicBezTo>
                        <a:pt x="31" y="97"/>
                        <a:pt x="38" y="101"/>
                        <a:pt x="44" y="106"/>
                      </a:cubicBezTo>
                      <a:lnTo>
                        <a:pt x="44" y="106"/>
                      </a:lnTo>
                      <a:cubicBezTo>
                        <a:pt x="51" y="109"/>
                        <a:pt x="58" y="112"/>
                        <a:pt x="65" y="115"/>
                      </a:cubicBezTo>
                      <a:lnTo>
                        <a:pt x="65" y="115"/>
                      </a:lnTo>
                      <a:cubicBezTo>
                        <a:pt x="71" y="117"/>
                        <a:pt x="78" y="118"/>
                        <a:pt x="85" y="118"/>
                      </a:cubicBezTo>
                      <a:lnTo>
                        <a:pt x="85" y="118"/>
                      </a:lnTo>
                      <a:cubicBezTo>
                        <a:pt x="90" y="119"/>
                        <a:pt x="94" y="119"/>
                        <a:pt x="99" y="116"/>
                      </a:cubicBezTo>
                      <a:lnTo>
                        <a:pt x="99" y="116"/>
                      </a:lnTo>
                      <a:cubicBezTo>
                        <a:pt x="103" y="114"/>
                        <a:pt x="106" y="109"/>
                        <a:pt x="107" y="105"/>
                      </a:cubicBezTo>
                      <a:lnTo>
                        <a:pt x="107" y="105"/>
                      </a:lnTo>
                      <a:cubicBezTo>
                        <a:pt x="108" y="100"/>
                        <a:pt x="108" y="95"/>
                        <a:pt x="105" y="91"/>
                      </a:cubicBezTo>
                      <a:lnTo>
                        <a:pt x="105" y="91"/>
                      </a:lnTo>
                      <a:cubicBezTo>
                        <a:pt x="102" y="87"/>
                        <a:pt x="98" y="83"/>
                        <a:pt x="94" y="83"/>
                      </a:cubicBezTo>
                      <a:lnTo>
                        <a:pt x="94" y="83"/>
                      </a:lnTo>
                      <a:cubicBezTo>
                        <a:pt x="90" y="82"/>
                        <a:pt x="87" y="81"/>
                        <a:pt x="84" y="81"/>
                      </a:cubicBezTo>
                      <a:lnTo>
                        <a:pt x="84" y="81"/>
                      </a:lnTo>
                      <a:cubicBezTo>
                        <a:pt x="80" y="81"/>
                        <a:pt x="76" y="80"/>
                        <a:pt x="72" y="78"/>
                      </a:cubicBezTo>
                      <a:lnTo>
                        <a:pt x="72" y="78"/>
                      </a:lnTo>
                      <a:cubicBezTo>
                        <a:pt x="67" y="76"/>
                        <a:pt x="62" y="73"/>
                        <a:pt x="57" y="69"/>
                      </a:cubicBezTo>
                      <a:lnTo>
                        <a:pt x="57" y="69"/>
                      </a:lnTo>
                      <a:cubicBezTo>
                        <a:pt x="58" y="70"/>
                        <a:pt x="59" y="71"/>
                        <a:pt x="60" y="72"/>
                      </a:cubicBezTo>
                      <a:lnTo>
                        <a:pt x="60" y="72"/>
                      </a:lnTo>
                      <a:cubicBezTo>
                        <a:pt x="54" y="67"/>
                        <a:pt x="47" y="62"/>
                        <a:pt x="41" y="56"/>
                      </a:cubicBezTo>
                      <a:lnTo>
                        <a:pt x="41" y="56"/>
                      </a:lnTo>
                      <a:cubicBezTo>
                        <a:pt x="40" y="54"/>
                        <a:pt x="38" y="52"/>
                        <a:pt x="38" y="48"/>
                      </a:cubicBezTo>
                      <a:lnTo>
                        <a:pt x="38" y="48"/>
                      </a:lnTo>
                      <a:cubicBezTo>
                        <a:pt x="38" y="50"/>
                        <a:pt x="39" y="52"/>
                        <a:pt x="40" y="53"/>
                      </a:cubicBezTo>
                      <a:lnTo>
                        <a:pt x="40" y="53"/>
                      </a:lnTo>
                      <a:cubicBezTo>
                        <a:pt x="39" y="51"/>
                        <a:pt x="38" y="48"/>
                        <a:pt x="38" y="46"/>
                      </a:cubicBezTo>
                      <a:lnTo>
                        <a:pt x="38" y="46"/>
                      </a:lnTo>
                      <a:cubicBezTo>
                        <a:pt x="38" y="46"/>
                        <a:pt x="38" y="45"/>
                        <a:pt x="38" y="44"/>
                      </a:cubicBezTo>
                      <a:lnTo>
                        <a:pt x="38" y="44"/>
                      </a:lnTo>
                      <a:cubicBezTo>
                        <a:pt x="40" y="40"/>
                        <a:pt x="42" y="37"/>
                        <a:pt x="44" y="34"/>
                      </a:cubicBezTo>
                      <a:lnTo>
                        <a:pt x="44" y="34"/>
                      </a:lnTo>
                      <a:cubicBezTo>
                        <a:pt x="45" y="33"/>
                        <a:pt x="46" y="32"/>
                        <a:pt x="47" y="32"/>
                      </a:cubicBezTo>
                      <a:lnTo>
                        <a:pt x="47" y="32"/>
                      </a:lnTo>
                      <a:cubicBezTo>
                        <a:pt x="50" y="27"/>
                        <a:pt x="52" y="23"/>
                        <a:pt x="51" y="18"/>
                      </a:cubicBezTo>
                      <a:lnTo>
                        <a:pt x="51" y="18"/>
                      </a:lnTo>
                      <a:cubicBezTo>
                        <a:pt x="51" y="13"/>
                        <a:pt x="50" y="8"/>
                        <a:pt x="46" y="5"/>
                      </a:cubicBezTo>
                      <a:lnTo>
                        <a:pt x="46" y="5"/>
                      </a:lnTo>
                      <a:cubicBezTo>
                        <a:pt x="42" y="2"/>
                        <a:pt x="37" y="0"/>
                        <a:pt x="32" y="0"/>
                      </a:cubicBezTo>
                      <a:lnTo>
                        <a:pt x="32" y="0"/>
                      </a:lnTo>
                      <a:cubicBezTo>
                        <a:pt x="27" y="0"/>
                        <a:pt x="22" y="2"/>
                        <a:pt x="2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147">
                  <a:extLst>
                    <a:ext uri="{FF2B5EF4-FFF2-40B4-BE49-F238E27FC236}">
                      <a16:creationId xmlns:a16="http://schemas.microsoft.com/office/drawing/2014/main" id="{0C959CE7-136F-A54F-A95C-1E70E9E053C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8588" y="2049463"/>
                  <a:ext cx="52387" cy="50800"/>
                </a:xfrm>
                <a:custGeom>
                  <a:avLst/>
                  <a:gdLst>
                    <a:gd name="T0" fmla="*/ 20 w 147"/>
                    <a:gd name="T1" fmla="*/ 0 h 140"/>
                    <a:gd name="T2" fmla="*/ 20 w 147"/>
                    <a:gd name="T3" fmla="*/ 0 h 140"/>
                    <a:gd name="T4" fmla="*/ 8 w 147"/>
                    <a:gd name="T5" fmla="*/ 6 h 140"/>
                    <a:gd name="T6" fmla="*/ 8 w 147"/>
                    <a:gd name="T7" fmla="*/ 6 h 140"/>
                    <a:gd name="T8" fmla="*/ 9 w 147"/>
                    <a:gd name="T9" fmla="*/ 33 h 140"/>
                    <a:gd name="T10" fmla="*/ 9 w 147"/>
                    <a:gd name="T11" fmla="*/ 33 h 140"/>
                    <a:gd name="T12" fmla="*/ 39 w 147"/>
                    <a:gd name="T13" fmla="*/ 57 h 140"/>
                    <a:gd name="T14" fmla="*/ 39 w 147"/>
                    <a:gd name="T15" fmla="*/ 57 h 140"/>
                    <a:gd name="T16" fmla="*/ 61 w 147"/>
                    <a:gd name="T17" fmla="*/ 77 h 140"/>
                    <a:gd name="T18" fmla="*/ 61 w 147"/>
                    <a:gd name="T19" fmla="*/ 77 h 140"/>
                    <a:gd name="T20" fmla="*/ 81 w 147"/>
                    <a:gd name="T21" fmla="*/ 98 h 140"/>
                    <a:gd name="T22" fmla="*/ 81 w 147"/>
                    <a:gd name="T23" fmla="*/ 98 h 140"/>
                    <a:gd name="T24" fmla="*/ 100 w 147"/>
                    <a:gd name="T25" fmla="*/ 119 h 140"/>
                    <a:gd name="T26" fmla="*/ 100 w 147"/>
                    <a:gd name="T27" fmla="*/ 119 h 140"/>
                    <a:gd name="T28" fmla="*/ 108 w 147"/>
                    <a:gd name="T29" fmla="*/ 130 h 140"/>
                    <a:gd name="T30" fmla="*/ 108 w 147"/>
                    <a:gd name="T31" fmla="*/ 130 h 140"/>
                    <a:gd name="T32" fmla="*/ 119 w 147"/>
                    <a:gd name="T33" fmla="*/ 138 h 140"/>
                    <a:gd name="T34" fmla="*/ 119 w 147"/>
                    <a:gd name="T35" fmla="*/ 138 h 140"/>
                    <a:gd name="T36" fmla="*/ 134 w 147"/>
                    <a:gd name="T37" fmla="*/ 136 h 140"/>
                    <a:gd name="T38" fmla="*/ 134 w 147"/>
                    <a:gd name="T39" fmla="*/ 136 h 140"/>
                    <a:gd name="T40" fmla="*/ 139 w 147"/>
                    <a:gd name="T41" fmla="*/ 110 h 140"/>
                    <a:gd name="T42" fmla="*/ 139 w 147"/>
                    <a:gd name="T43" fmla="*/ 110 h 140"/>
                    <a:gd name="T44" fmla="*/ 92 w 147"/>
                    <a:gd name="T45" fmla="*/ 55 h 140"/>
                    <a:gd name="T46" fmla="*/ 92 w 147"/>
                    <a:gd name="T47" fmla="*/ 55 h 140"/>
                    <a:gd name="T48" fmla="*/ 69 w 147"/>
                    <a:gd name="T49" fmla="*/ 35 h 140"/>
                    <a:gd name="T50" fmla="*/ 69 w 147"/>
                    <a:gd name="T51" fmla="*/ 35 h 140"/>
                    <a:gd name="T52" fmla="*/ 34 w 147"/>
                    <a:gd name="T53" fmla="*/ 6 h 140"/>
                    <a:gd name="T54" fmla="*/ 34 w 147"/>
                    <a:gd name="T55" fmla="*/ 6 h 140"/>
                    <a:gd name="T56" fmla="*/ 21 w 147"/>
                    <a:gd name="T57" fmla="*/ 0 h 140"/>
                    <a:gd name="T58" fmla="*/ 21 w 147"/>
                    <a:gd name="T59" fmla="*/ 0 h 140"/>
                    <a:gd name="T60" fmla="*/ 20 w 147"/>
                    <a:gd name="T61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47" h="140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5" y="1"/>
                        <a:pt x="11" y="3"/>
                        <a:pt x="8" y="6"/>
                      </a:cubicBezTo>
                      <a:lnTo>
                        <a:pt x="8" y="6"/>
                      </a:lnTo>
                      <a:cubicBezTo>
                        <a:pt x="1" y="13"/>
                        <a:pt x="0" y="26"/>
                        <a:pt x="9" y="33"/>
                      </a:cubicBezTo>
                      <a:lnTo>
                        <a:pt x="9" y="33"/>
                      </a:lnTo>
                      <a:cubicBezTo>
                        <a:pt x="18" y="41"/>
                        <a:pt x="29" y="49"/>
                        <a:pt x="39" y="57"/>
                      </a:cubicBezTo>
                      <a:lnTo>
                        <a:pt x="39" y="57"/>
                      </a:lnTo>
                      <a:cubicBezTo>
                        <a:pt x="47" y="64"/>
                        <a:pt x="54" y="70"/>
                        <a:pt x="61" y="77"/>
                      </a:cubicBezTo>
                      <a:lnTo>
                        <a:pt x="61" y="77"/>
                      </a:lnTo>
                      <a:cubicBezTo>
                        <a:pt x="68" y="84"/>
                        <a:pt x="75" y="91"/>
                        <a:pt x="81" y="98"/>
                      </a:cubicBezTo>
                      <a:lnTo>
                        <a:pt x="81" y="98"/>
                      </a:lnTo>
                      <a:cubicBezTo>
                        <a:pt x="88" y="104"/>
                        <a:pt x="94" y="111"/>
                        <a:pt x="100" y="119"/>
                      </a:cubicBezTo>
                      <a:lnTo>
                        <a:pt x="100" y="119"/>
                      </a:lnTo>
                      <a:cubicBezTo>
                        <a:pt x="103" y="122"/>
                        <a:pt x="105" y="126"/>
                        <a:pt x="108" y="130"/>
                      </a:cubicBezTo>
                      <a:lnTo>
                        <a:pt x="108" y="130"/>
                      </a:lnTo>
                      <a:cubicBezTo>
                        <a:pt x="111" y="134"/>
                        <a:pt x="114" y="137"/>
                        <a:pt x="119" y="138"/>
                      </a:cubicBezTo>
                      <a:lnTo>
                        <a:pt x="119" y="138"/>
                      </a:lnTo>
                      <a:cubicBezTo>
                        <a:pt x="124" y="139"/>
                        <a:pt x="129" y="139"/>
                        <a:pt x="134" y="136"/>
                      </a:cubicBezTo>
                      <a:lnTo>
                        <a:pt x="134" y="136"/>
                      </a:lnTo>
                      <a:cubicBezTo>
                        <a:pt x="142" y="131"/>
                        <a:pt x="146" y="119"/>
                        <a:pt x="139" y="110"/>
                      </a:cubicBezTo>
                      <a:lnTo>
                        <a:pt x="139" y="110"/>
                      </a:lnTo>
                      <a:cubicBezTo>
                        <a:pt x="125" y="91"/>
                        <a:pt x="110" y="71"/>
                        <a:pt x="92" y="55"/>
                      </a:cubicBezTo>
                      <a:lnTo>
                        <a:pt x="92" y="55"/>
                      </a:lnTo>
                      <a:cubicBezTo>
                        <a:pt x="84" y="48"/>
                        <a:pt x="77" y="41"/>
                        <a:pt x="69" y="35"/>
                      </a:cubicBezTo>
                      <a:lnTo>
                        <a:pt x="69" y="35"/>
                      </a:lnTo>
                      <a:cubicBezTo>
                        <a:pt x="57" y="25"/>
                        <a:pt x="46" y="15"/>
                        <a:pt x="34" y="6"/>
                      </a:cubicBezTo>
                      <a:lnTo>
                        <a:pt x="34" y="6"/>
                      </a:lnTo>
                      <a:cubicBezTo>
                        <a:pt x="30" y="3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21" y="0"/>
                        <a:pt x="21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148">
                  <a:extLst>
                    <a:ext uri="{FF2B5EF4-FFF2-40B4-BE49-F238E27FC236}">
                      <a16:creationId xmlns:a16="http://schemas.microsoft.com/office/drawing/2014/main" id="{130F986C-45EE-494B-A3B6-1D39BE39B1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047875"/>
                  <a:ext cx="41275" cy="39688"/>
                </a:xfrm>
                <a:custGeom>
                  <a:avLst/>
                  <a:gdLst>
                    <a:gd name="T0" fmla="*/ 4 w 114"/>
                    <a:gd name="T1" fmla="*/ 10 h 109"/>
                    <a:gd name="T2" fmla="*/ 4 w 114"/>
                    <a:gd name="T3" fmla="*/ 10 h 109"/>
                    <a:gd name="T4" fmla="*/ 12 w 114"/>
                    <a:gd name="T5" fmla="*/ 35 h 109"/>
                    <a:gd name="T6" fmla="*/ 12 w 114"/>
                    <a:gd name="T7" fmla="*/ 35 h 109"/>
                    <a:gd name="T8" fmla="*/ 26 w 114"/>
                    <a:gd name="T9" fmla="*/ 45 h 109"/>
                    <a:gd name="T10" fmla="*/ 26 w 114"/>
                    <a:gd name="T11" fmla="*/ 45 h 109"/>
                    <a:gd name="T12" fmla="*/ 67 w 114"/>
                    <a:gd name="T13" fmla="*/ 83 h 109"/>
                    <a:gd name="T14" fmla="*/ 67 w 114"/>
                    <a:gd name="T15" fmla="*/ 83 h 109"/>
                    <a:gd name="T16" fmla="*/ 75 w 114"/>
                    <a:gd name="T17" fmla="*/ 96 h 109"/>
                    <a:gd name="T18" fmla="*/ 75 w 114"/>
                    <a:gd name="T19" fmla="*/ 96 h 109"/>
                    <a:gd name="T20" fmla="*/ 102 w 114"/>
                    <a:gd name="T21" fmla="*/ 102 h 109"/>
                    <a:gd name="T22" fmla="*/ 102 w 114"/>
                    <a:gd name="T23" fmla="*/ 102 h 109"/>
                    <a:gd name="T24" fmla="*/ 107 w 114"/>
                    <a:gd name="T25" fmla="*/ 77 h 109"/>
                    <a:gd name="T26" fmla="*/ 107 w 114"/>
                    <a:gd name="T27" fmla="*/ 77 h 109"/>
                    <a:gd name="T28" fmla="*/ 94 w 114"/>
                    <a:gd name="T29" fmla="*/ 59 h 109"/>
                    <a:gd name="T30" fmla="*/ 94 w 114"/>
                    <a:gd name="T31" fmla="*/ 59 h 109"/>
                    <a:gd name="T32" fmla="*/ 71 w 114"/>
                    <a:gd name="T33" fmla="*/ 34 h 109"/>
                    <a:gd name="T34" fmla="*/ 71 w 114"/>
                    <a:gd name="T35" fmla="*/ 34 h 109"/>
                    <a:gd name="T36" fmla="*/ 30 w 114"/>
                    <a:gd name="T37" fmla="*/ 3 h 109"/>
                    <a:gd name="T38" fmla="*/ 30 w 114"/>
                    <a:gd name="T39" fmla="*/ 3 h 109"/>
                    <a:gd name="T40" fmla="*/ 21 w 114"/>
                    <a:gd name="T41" fmla="*/ 0 h 109"/>
                    <a:gd name="T42" fmla="*/ 21 w 114"/>
                    <a:gd name="T43" fmla="*/ 0 h 109"/>
                    <a:gd name="T44" fmla="*/ 4 w 114"/>
                    <a:gd name="T45" fmla="*/ 1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109">
                      <a:moveTo>
                        <a:pt x="4" y="10"/>
                      </a:moveTo>
                      <a:lnTo>
                        <a:pt x="4" y="10"/>
                      </a:lnTo>
                      <a:cubicBezTo>
                        <a:pt x="0" y="19"/>
                        <a:pt x="3" y="30"/>
                        <a:pt x="12" y="35"/>
                      </a:cubicBezTo>
                      <a:lnTo>
                        <a:pt x="12" y="35"/>
                      </a:lnTo>
                      <a:cubicBezTo>
                        <a:pt x="17" y="38"/>
                        <a:pt x="22" y="41"/>
                        <a:pt x="26" y="45"/>
                      </a:cubicBezTo>
                      <a:lnTo>
                        <a:pt x="26" y="45"/>
                      </a:lnTo>
                      <a:cubicBezTo>
                        <a:pt x="41" y="56"/>
                        <a:pt x="54" y="69"/>
                        <a:pt x="67" y="83"/>
                      </a:cubicBezTo>
                      <a:lnTo>
                        <a:pt x="67" y="83"/>
                      </a:lnTo>
                      <a:cubicBezTo>
                        <a:pt x="70" y="88"/>
                        <a:pt x="73" y="92"/>
                        <a:pt x="75" y="96"/>
                      </a:cubicBezTo>
                      <a:lnTo>
                        <a:pt x="75" y="96"/>
                      </a:lnTo>
                      <a:cubicBezTo>
                        <a:pt x="82" y="105"/>
                        <a:pt x="93" y="108"/>
                        <a:pt x="102" y="102"/>
                      </a:cubicBezTo>
                      <a:lnTo>
                        <a:pt x="102" y="102"/>
                      </a:lnTo>
                      <a:cubicBezTo>
                        <a:pt x="110" y="98"/>
                        <a:pt x="113" y="85"/>
                        <a:pt x="107" y="77"/>
                      </a:cubicBezTo>
                      <a:lnTo>
                        <a:pt x="107" y="77"/>
                      </a:lnTo>
                      <a:cubicBezTo>
                        <a:pt x="103" y="71"/>
                        <a:pt x="99" y="65"/>
                        <a:pt x="94" y="59"/>
                      </a:cubicBezTo>
                      <a:lnTo>
                        <a:pt x="94" y="59"/>
                      </a:lnTo>
                      <a:cubicBezTo>
                        <a:pt x="87" y="50"/>
                        <a:pt x="80" y="42"/>
                        <a:pt x="71" y="34"/>
                      </a:cubicBezTo>
                      <a:lnTo>
                        <a:pt x="71" y="34"/>
                      </a:lnTo>
                      <a:cubicBezTo>
                        <a:pt x="59" y="22"/>
                        <a:pt x="44" y="11"/>
                        <a:pt x="30" y="3"/>
                      </a:cubicBezTo>
                      <a:lnTo>
                        <a:pt x="30" y="3"/>
                      </a:lnTo>
                      <a:cubicBezTo>
                        <a:pt x="27" y="1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7" y="4"/>
                        <a:pt x="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149">
                  <a:extLst>
                    <a:ext uri="{FF2B5EF4-FFF2-40B4-BE49-F238E27FC236}">
                      <a16:creationId xmlns:a16="http://schemas.microsoft.com/office/drawing/2014/main" id="{15159823-3CC5-6544-98D9-813179ABC5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32688" y="2066925"/>
                  <a:ext cx="244475" cy="430213"/>
                </a:xfrm>
                <a:custGeom>
                  <a:avLst/>
                  <a:gdLst>
                    <a:gd name="T0" fmla="*/ 514 w 678"/>
                    <a:gd name="T1" fmla="*/ 428 h 1195"/>
                    <a:gd name="T2" fmla="*/ 291 w 678"/>
                    <a:gd name="T3" fmla="*/ 150 h 1195"/>
                    <a:gd name="T4" fmla="*/ 292 w 678"/>
                    <a:gd name="T5" fmla="*/ 151 h 1195"/>
                    <a:gd name="T6" fmla="*/ 129 w 678"/>
                    <a:gd name="T7" fmla="*/ 69 h 1195"/>
                    <a:gd name="T8" fmla="*/ 129 w 678"/>
                    <a:gd name="T9" fmla="*/ 69 h 1195"/>
                    <a:gd name="T10" fmla="*/ 16 w 678"/>
                    <a:gd name="T11" fmla="*/ 37 h 1195"/>
                    <a:gd name="T12" fmla="*/ 72 w 678"/>
                    <a:gd name="T13" fmla="*/ 50 h 1195"/>
                    <a:gd name="T14" fmla="*/ 166 w 678"/>
                    <a:gd name="T15" fmla="*/ 84 h 1195"/>
                    <a:gd name="T16" fmla="*/ 198 w 678"/>
                    <a:gd name="T17" fmla="*/ 98 h 1195"/>
                    <a:gd name="T18" fmla="*/ 340 w 678"/>
                    <a:gd name="T19" fmla="*/ 191 h 1195"/>
                    <a:gd name="T20" fmla="*/ 359 w 678"/>
                    <a:gd name="T21" fmla="*/ 210 h 1195"/>
                    <a:gd name="T22" fmla="*/ 380 w 678"/>
                    <a:gd name="T23" fmla="*/ 234 h 1195"/>
                    <a:gd name="T24" fmla="*/ 450 w 678"/>
                    <a:gd name="T25" fmla="*/ 325 h 1195"/>
                    <a:gd name="T26" fmla="*/ 483 w 678"/>
                    <a:gd name="T27" fmla="*/ 371 h 1195"/>
                    <a:gd name="T28" fmla="*/ 499 w 678"/>
                    <a:gd name="T29" fmla="*/ 398 h 1195"/>
                    <a:gd name="T30" fmla="*/ 528 w 678"/>
                    <a:gd name="T31" fmla="*/ 460 h 1195"/>
                    <a:gd name="T32" fmla="*/ 546 w 678"/>
                    <a:gd name="T33" fmla="*/ 507 h 1195"/>
                    <a:gd name="T34" fmla="*/ 606 w 678"/>
                    <a:gd name="T35" fmla="*/ 675 h 1195"/>
                    <a:gd name="T36" fmla="*/ 618 w 678"/>
                    <a:gd name="T37" fmla="*/ 713 h 1195"/>
                    <a:gd name="T38" fmla="*/ 637 w 678"/>
                    <a:gd name="T39" fmla="*/ 842 h 1195"/>
                    <a:gd name="T40" fmla="*/ 639 w 678"/>
                    <a:gd name="T41" fmla="*/ 926 h 1195"/>
                    <a:gd name="T42" fmla="*/ 630 w 678"/>
                    <a:gd name="T43" fmla="*/ 1087 h 1195"/>
                    <a:gd name="T44" fmla="*/ 618 w 678"/>
                    <a:gd name="T45" fmla="*/ 1169 h 1195"/>
                    <a:gd name="T46" fmla="*/ 655 w 678"/>
                    <a:gd name="T47" fmla="*/ 1177 h 1195"/>
                    <a:gd name="T48" fmla="*/ 664 w 678"/>
                    <a:gd name="T49" fmla="*/ 1121 h 1195"/>
                    <a:gd name="T50" fmla="*/ 676 w 678"/>
                    <a:gd name="T51" fmla="*/ 955 h 1195"/>
                    <a:gd name="T52" fmla="*/ 675 w 678"/>
                    <a:gd name="T53" fmla="*/ 841 h 1195"/>
                    <a:gd name="T54" fmla="*/ 664 w 678"/>
                    <a:gd name="T55" fmla="*/ 754 h 1195"/>
                    <a:gd name="T56" fmla="*/ 658 w 678"/>
                    <a:gd name="T57" fmla="*/ 724 h 1195"/>
                    <a:gd name="T58" fmla="*/ 622 w 678"/>
                    <a:gd name="T59" fmla="*/ 607 h 1195"/>
                    <a:gd name="T60" fmla="*/ 602 w 678"/>
                    <a:gd name="T61" fmla="*/ 555 h 1195"/>
                    <a:gd name="T62" fmla="*/ 561 w 678"/>
                    <a:gd name="T63" fmla="*/ 442 h 1195"/>
                    <a:gd name="T64" fmla="*/ 547 w 678"/>
                    <a:gd name="T65" fmla="*/ 413 h 1195"/>
                    <a:gd name="T66" fmla="*/ 517 w 678"/>
                    <a:gd name="T67" fmla="*/ 356 h 1195"/>
                    <a:gd name="T68" fmla="*/ 500 w 678"/>
                    <a:gd name="T69" fmla="*/ 332 h 1195"/>
                    <a:gd name="T70" fmla="*/ 435 w 678"/>
                    <a:gd name="T71" fmla="*/ 244 h 1195"/>
                    <a:gd name="T72" fmla="*/ 423 w 678"/>
                    <a:gd name="T73" fmla="*/ 229 h 1195"/>
                    <a:gd name="T74" fmla="*/ 386 w 678"/>
                    <a:gd name="T75" fmla="*/ 185 h 1195"/>
                    <a:gd name="T76" fmla="*/ 371 w 678"/>
                    <a:gd name="T77" fmla="*/ 169 h 1195"/>
                    <a:gd name="T78" fmla="*/ 330 w 678"/>
                    <a:gd name="T79" fmla="*/ 133 h 1195"/>
                    <a:gd name="T80" fmla="*/ 311 w 678"/>
                    <a:gd name="T81" fmla="*/ 118 h 1195"/>
                    <a:gd name="T82" fmla="*/ 248 w 678"/>
                    <a:gd name="T83" fmla="*/ 81 h 1195"/>
                    <a:gd name="T84" fmla="*/ 225 w 678"/>
                    <a:gd name="T85" fmla="*/ 70 h 1195"/>
                    <a:gd name="T86" fmla="*/ 148 w 678"/>
                    <a:gd name="T87" fmla="*/ 37 h 1195"/>
                    <a:gd name="T88" fmla="*/ 25 w 678"/>
                    <a:gd name="T89" fmla="*/ 1 h 1195"/>
                    <a:gd name="T90" fmla="*/ 2 w 678"/>
                    <a:gd name="T91" fmla="*/ 14 h 1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78" h="1195">
                      <a:moveTo>
                        <a:pt x="513" y="427"/>
                      </a:moveTo>
                      <a:lnTo>
                        <a:pt x="513" y="427"/>
                      </a:lnTo>
                      <a:cubicBezTo>
                        <a:pt x="513" y="427"/>
                        <a:pt x="514" y="427"/>
                        <a:pt x="514" y="428"/>
                      </a:cubicBezTo>
                      <a:lnTo>
                        <a:pt x="514" y="428"/>
                      </a:lnTo>
                      <a:cubicBezTo>
                        <a:pt x="514" y="427"/>
                        <a:pt x="513" y="427"/>
                        <a:pt x="513" y="427"/>
                      </a:cubicBezTo>
                      <a:close/>
                      <a:moveTo>
                        <a:pt x="291" y="150"/>
                      </a:moveTo>
                      <a:lnTo>
                        <a:pt x="291" y="150"/>
                      </a:lnTo>
                      <a:cubicBezTo>
                        <a:pt x="292" y="150"/>
                        <a:pt x="292" y="151"/>
                        <a:pt x="292" y="151"/>
                      </a:cubicBezTo>
                      <a:lnTo>
                        <a:pt x="292" y="151"/>
                      </a:lnTo>
                      <a:cubicBezTo>
                        <a:pt x="292" y="151"/>
                        <a:pt x="292" y="150"/>
                        <a:pt x="291" y="150"/>
                      </a:cubicBezTo>
                      <a:close/>
                      <a:moveTo>
                        <a:pt x="129" y="69"/>
                      </a:moveTo>
                      <a:lnTo>
                        <a:pt x="129" y="69"/>
                      </a:lnTo>
                      <a:cubicBezTo>
                        <a:pt x="131" y="70"/>
                        <a:pt x="132" y="70"/>
                        <a:pt x="133" y="70"/>
                      </a:cubicBezTo>
                      <a:lnTo>
                        <a:pt x="133" y="70"/>
                      </a:lnTo>
                      <a:cubicBezTo>
                        <a:pt x="132" y="70"/>
                        <a:pt x="131" y="70"/>
                        <a:pt x="129" y="69"/>
                      </a:cubicBezTo>
                      <a:close/>
                      <a:moveTo>
                        <a:pt x="2" y="14"/>
                      </a:moveTo>
                      <a:lnTo>
                        <a:pt x="2" y="14"/>
                      </a:lnTo>
                      <a:cubicBezTo>
                        <a:pt x="0" y="24"/>
                        <a:pt x="6" y="35"/>
                        <a:pt x="16" y="37"/>
                      </a:cubicBezTo>
                      <a:lnTo>
                        <a:pt x="16" y="37"/>
                      </a:lnTo>
                      <a:cubicBezTo>
                        <a:pt x="35" y="41"/>
                        <a:pt x="54" y="45"/>
                        <a:pt x="72" y="50"/>
                      </a:cubicBezTo>
                      <a:lnTo>
                        <a:pt x="72" y="50"/>
                      </a:lnTo>
                      <a:cubicBezTo>
                        <a:pt x="91" y="55"/>
                        <a:pt x="110" y="62"/>
                        <a:pt x="129" y="69"/>
                      </a:cubicBezTo>
                      <a:lnTo>
                        <a:pt x="129" y="69"/>
                      </a:lnTo>
                      <a:cubicBezTo>
                        <a:pt x="141" y="74"/>
                        <a:pt x="154" y="79"/>
                        <a:pt x="166" y="84"/>
                      </a:cubicBezTo>
                      <a:lnTo>
                        <a:pt x="166" y="84"/>
                      </a:lnTo>
                      <a:cubicBezTo>
                        <a:pt x="177" y="88"/>
                        <a:pt x="188" y="93"/>
                        <a:pt x="198" y="98"/>
                      </a:cubicBezTo>
                      <a:lnTo>
                        <a:pt x="198" y="98"/>
                      </a:lnTo>
                      <a:cubicBezTo>
                        <a:pt x="230" y="112"/>
                        <a:pt x="261" y="129"/>
                        <a:pt x="289" y="148"/>
                      </a:cubicBezTo>
                      <a:lnTo>
                        <a:pt x="289" y="148"/>
                      </a:lnTo>
                      <a:cubicBezTo>
                        <a:pt x="307" y="162"/>
                        <a:pt x="324" y="176"/>
                        <a:pt x="340" y="191"/>
                      </a:cubicBezTo>
                      <a:lnTo>
                        <a:pt x="340" y="191"/>
                      </a:lnTo>
                      <a:cubicBezTo>
                        <a:pt x="346" y="197"/>
                        <a:pt x="353" y="204"/>
                        <a:pt x="359" y="210"/>
                      </a:cubicBezTo>
                      <a:lnTo>
                        <a:pt x="359" y="210"/>
                      </a:lnTo>
                      <a:cubicBezTo>
                        <a:pt x="366" y="218"/>
                        <a:pt x="373" y="226"/>
                        <a:pt x="380" y="234"/>
                      </a:cubicBezTo>
                      <a:lnTo>
                        <a:pt x="380" y="234"/>
                      </a:lnTo>
                      <a:lnTo>
                        <a:pt x="380" y="234"/>
                      </a:lnTo>
                      <a:lnTo>
                        <a:pt x="380" y="234"/>
                      </a:lnTo>
                      <a:cubicBezTo>
                        <a:pt x="403" y="263"/>
                        <a:pt x="427" y="293"/>
                        <a:pt x="450" y="325"/>
                      </a:cubicBezTo>
                      <a:lnTo>
                        <a:pt x="450" y="325"/>
                      </a:lnTo>
                      <a:cubicBezTo>
                        <a:pt x="455" y="332"/>
                        <a:pt x="461" y="338"/>
                        <a:pt x="465" y="346"/>
                      </a:cubicBezTo>
                      <a:lnTo>
                        <a:pt x="465" y="346"/>
                      </a:lnTo>
                      <a:cubicBezTo>
                        <a:pt x="471" y="355"/>
                        <a:pt x="477" y="363"/>
                        <a:pt x="483" y="371"/>
                      </a:cubicBezTo>
                      <a:lnTo>
                        <a:pt x="483" y="371"/>
                      </a:lnTo>
                      <a:cubicBezTo>
                        <a:pt x="488" y="380"/>
                        <a:pt x="494" y="388"/>
                        <a:pt x="499" y="398"/>
                      </a:cubicBezTo>
                      <a:lnTo>
                        <a:pt x="499" y="398"/>
                      </a:lnTo>
                      <a:cubicBezTo>
                        <a:pt x="503" y="407"/>
                        <a:pt x="508" y="417"/>
                        <a:pt x="513" y="426"/>
                      </a:cubicBezTo>
                      <a:lnTo>
                        <a:pt x="513" y="426"/>
                      </a:lnTo>
                      <a:cubicBezTo>
                        <a:pt x="518" y="437"/>
                        <a:pt x="523" y="448"/>
                        <a:pt x="528" y="460"/>
                      </a:cubicBezTo>
                      <a:lnTo>
                        <a:pt x="528" y="460"/>
                      </a:lnTo>
                      <a:cubicBezTo>
                        <a:pt x="534" y="476"/>
                        <a:pt x="541" y="491"/>
                        <a:pt x="546" y="507"/>
                      </a:cubicBezTo>
                      <a:lnTo>
                        <a:pt x="546" y="507"/>
                      </a:lnTo>
                      <a:cubicBezTo>
                        <a:pt x="557" y="535"/>
                        <a:pt x="566" y="564"/>
                        <a:pt x="576" y="592"/>
                      </a:cubicBezTo>
                      <a:lnTo>
                        <a:pt x="576" y="592"/>
                      </a:lnTo>
                      <a:cubicBezTo>
                        <a:pt x="586" y="620"/>
                        <a:pt x="598" y="647"/>
                        <a:pt x="606" y="675"/>
                      </a:cubicBezTo>
                      <a:lnTo>
                        <a:pt x="606" y="675"/>
                      </a:lnTo>
                      <a:cubicBezTo>
                        <a:pt x="611" y="688"/>
                        <a:pt x="615" y="700"/>
                        <a:pt x="618" y="713"/>
                      </a:cubicBezTo>
                      <a:lnTo>
                        <a:pt x="618" y="713"/>
                      </a:lnTo>
                      <a:cubicBezTo>
                        <a:pt x="621" y="727"/>
                        <a:pt x="624" y="742"/>
                        <a:pt x="627" y="756"/>
                      </a:cubicBezTo>
                      <a:lnTo>
                        <a:pt x="627" y="756"/>
                      </a:lnTo>
                      <a:cubicBezTo>
                        <a:pt x="632" y="785"/>
                        <a:pt x="635" y="813"/>
                        <a:pt x="637" y="842"/>
                      </a:cubicBezTo>
                      <a:lnTo>
                        <a:pt x="637" y="842"/>
                      </a:lnTo>
                      <a:cubicBezTo>
                        <a:pt x="639" y="870"/>
                        <a:pt x="639" y="898"/>
                        <a:pt x="639" y="926"/>
                      </a:cubicBezTo>
                      <a:lnTo>
                        <a:pt x="639" y="926"/>
                      </a:lnTo>
                      <a:cubicBezTo>
                        <a:pt x="639" y="981"/>
                        <a:pt x="635" y="1037"/>
                        <a:pt x="629" y="1092"/>
                      </a:cubicBezTo>
                      <a:lnTo>
                        <a:pt x="629" y="1092"/>
                      </a:lnTo>
                      <a:cubicBezTo>
                        <a:pt x="629" y="1090"/>
                        <a:pt x="630" y="1088"/>
                        <a:pt x="630" y="1087"/>
                      </a:cubicBezTo>
                      <a:lnTo>
                        <a:pt x="630" y="1087"/>
                      </a:lnTo>
                      <a:cubicBezTo>
                        <a:pt x="627" y="1115"/>
                        <a:pt x="624" y="1142"/>
                        <a:pt x="618" y="1169"/>
                      </a:cubicBezTo>
                      <a:lnTo>
                        <a:pt x="618" y="1169"/>
                      </a:lnTo>
                      <a:cubicBezTo>
                        <a:pt x="616" y="1179"/>
                        <a:pt x="622" y="1189"/>
                        <a:pt x="632" y="1191"/>
                      </a:cubicBezTo>
                      <a:lnTo>
                        <a:pt x="632" y="1191"/>
                      </a:lnTo>
                      <a:cubicBezTo>
                        <a:pt x="642" y="1194"/>
                        <a:pt x="652" y="1187"/>
                        <a:pt x="655" y="1177"/>
                      </a:cubicBezTo>
                      <a:lnTo>
                        <a:pt x="655" y="1177"/>
                      </a:lnTo>
                      <a:cubicBezTo>
                        <a:pt x="658" y="1158"/>
                        <a:pt x="661" y="1140"/>
                        <a:pt x="664" y="1121"/>
                      </a:cubicBezTo>
                      <a:lnTo>
                        <a:pt x="664" y="1121"/>
                      </a:lnTo>
                      <a:cubicBezTo>
                        <a:pt x="666" y="1103"/>
                        <a:pt x="667" y="1084"/>
                        <a:pt x="669" y="1066"/>
                      </a:cubicBezTo>
                      <a:lnTo>
                        <a:pt x="669" y="1066"/>
                      </a:lnTo>
                      <a:cubicBezTo>
                        <a:pt x="672" y="1029"/>
                        <a:pt x="675" y="992"/>
                        <a:pt x="676" y="955"/>
                      </a:cubicBezTo>
                      <a:lnTo>
                        <a:pt x="676" y="955"/>
                      </a:lnTo>
                      <a:cubicBezTo>
                        <a:pt x="677" y="918"/>
                        <a:pt x="676" y="880"/>
                        <a:pt x="675" y="841"/>
                      </a:cubicBezTo>
                      <a:lnTo>
                        <a:pt x="675" y="841"/>
                      </a:lnTo>
                      <a:cubicBezTo>
                        <a:pt x="674" y="823"/>
                        <a:pt x="671" y="803"/>
                        <a:pt x="669" y="784"/>
                      </a:cubicBezTo>
                      <a:lnTo>
                        <a:pt x="669" y="784"/>
                      </a:lnTo>
                      <a:cubicBezTo>
                        <a:pt x="667" y="774"/>
                        <a:pt x="666" y="764"/>
                        <a:pt x="664" y="754"/>
                      </a:cubicBezTo>
                      <a:lnTo>
                        <a:pt x="664" y="754"/>
                      </a:lnTo>
                      <a:cubicBezTo>
                        <a:pt x="663" y="744"/>
                        <a:pt x="661" y="734"/>
                        <a:pt x="658" y="724"/>
                      </a:cubicBezTo>
                      <a:lnTo>
                        <a:pt x="658" y="724"/>
                      </a:lnTo>
                      <a:cubicBezTo>
                        <a:pt x="654" y="705"/>
                        <a:pt x="649" y="686"/>
                        <a:pt x="644" y="668"/>
                      </a:cubicBezTo>
                      <a:lnTo>
                        <a:pt x="644" y="668"/>
                      </a:lnTo>
                      <a:cubicBezTo>
                        <a:pt x="636" y="648"/>
                        <a:pt x="629" y="628"/>
                        <a:pt x="622" y="607"/>
                      </a:cubicBezTo>
                      <a:lnTo>
                        <a:pt x="622" y="607"/>
                      </a:lnTo>
                      <a:cubicBezTo>
                        <a:pt x="615" y="590"/>
                        <a:pt x="609" y="572"/>
                        <a:pt x="602" y="555"/>
                      </a:cubicBezTo>
                      <a:lnTo>
                        <a:pt x="602" y="555"/>
                      </a:lnTo>
                      <a:cubicBezTo>
                        <a:pt x="595" y="535"/>
                        <a:pt x="589" y="515"/>
                        <a:pt x="582" y="496"/>
                      </a:cubicBezTo>
                      <a:lnTo>
                        <a:pt x="582" y="496"/>
                      </a:lnTo>
                      <a:cubicBezTo>
                        <a:pt x="575" y="478"/>
                        <a:pt x="568" y="459"/>
                        <a:pt x="561" y="442"/>
                      </a:cubicBezTo>
                      <a:lnTo>
                        <a:pt x="561" y="442"/>
                      </a:lnTo>
                      <a:cubicBezTo>
                        <a:pt x="556" y="432"/>
                        <a:pt x="552" y="423"/>
                        <a:pt x="547" y="413"/>
                      </a:cubicBezTo>
                      <a:lnTo>
                        <a:pt x="547" y="413"/>
                      </a:lnTo>
                      <a:cubicBezTo>
                        <a:pt x="542" y="401"/>
                        <a:pt x="537" y="391"/>
                        <a:pt x="531" y="380"/>
                      </a:cubicBezTo>
                      <a:lnTo>
                        <a:pt x="531" y="380"/>
                      </a:lnTo>
                      <a:cubicBezTo>
                        <a:pt x="527" y="371"/>
                        <a:pt x="521" y="364"/>
                        <a:pt x="517" y="356"/>
                      </a:cubicBezTo>
                      <a:lnTo>
                        <a:pt x="517" y="356"/>
                      </a:lnTo>
                      <a:cubicBezTo>
                        <a:pt x="512" y="348"/>
                        <a:pt x="506" y="340"/>
                        <a:pt x="500" y="332"/>
                      </a:cubicBezTo>
                      <a:lnTo>
                        <a:pt x="500" y="332"/>
                      </a:lnTo>
                      <a:cubicBezTo>
                        <a:pt x="490" y="316"/>
                        <a:pt x="479" y="302"/>
                        <a:pt x="468" y="287"/>
                      </a:cubicBezTo>
                      <a:lnTo>
                        <a:pt x="468" y="287"/>
                      </a:lnTo>
                      <a:cubicBezTo>
                        <a:pt x="457" y="273"/>
                        <a:pt x="446" y="258"/>
                        <a:pt x="435" y="244"/>
                      </a:cubicBezTo>
                      <a:lnTo>
                        <a:pt x="435" y="244"/>
                      </a:lnTo>
                      <a:cubicBezTo>
                        <a:pt x="431" y="239"/>
                        <a:pt x="427" y="234"/>
                        <a:pt x="423" y="229"/>
                      </a:cubicBezTo>
                      <a:lnTo>
                        <a:pt x="423" y="229"/>
                      </a:lnTo>
                      <a:cubicBezTo>
                        <a:pt x="417" y="222"/>
                        <a:pt x="412" y="214"/>
                        <a:pt x="405" y="207"/>
                      </a:cubicBezTo>
                      <a:lnTo>
                        <a:pt x="405" y="207"/>
                      </a:lnTo>
                      <a:cubicBezTo>
                        <a:pt x="399" y="200"/>
                        <a:pt x="393" y="192"/>
                        <a:pt x="386" y="185"/>
                      </a:cubicBezTo>
                      <a:lnTo>
                        <a:pt x="386" y="185"/>
                      </a:lnTo>
                      <a:cubicBezTo>
                        <a:pt x="381" y="180"/>
                        <a:pt x="376" y="175"/>
                        <a:pt x="371" y="169"/>
                      </a:cubicBezTo>
                      <a:lnTo>
                        <a:pt x="371" y="169"/>
                      </a:lnTo>
                      <a:cubicBezTo>
                        <a:pt x="365" y="164"/>
                        <a:pt x="360" y="158"/>
                        <a:pt x="353" y="153"/>
                      </a:cubicBezTo>
                      <a:lnTo>
                        <a:pt x="353" y="153"/>
                      </a:lnTo>
                      <a:cubicBezTo>
                        <a:pt x="346" y="146"/>
                        <a:pt x="338" y="139"/>
                        <a:pt x="330" y="133"/>
                      </a:cubicBezTo>
                      <a:lnTo>
                        <a:pt x="330" y="133"/>
                      </a:lnTo>
                      <a:cubicBezTo>
                        <a:pt x="323" y="128"/>
                        <a:pt x="317" y="123"/>
                        <a:pt x="311" y="118"/>
                      </a:cubicBezTo>
                      <a:lnTo>
                        <a:pt x="311" y="118"/>
                      </a:lnTo>
                      <a:cubicBezTo>
                        <a:pt x="302" y="112"/>
                        <a:pt x="293" y="106"/>
                        <a:pt x="284" y="101"/>
                      </a:cubicBezTo>
                      <a:lnTo>
                        <a:pt x="284" y="101"/>
                      </a:lnTo>
                      <a:cubicBezTo>
                        <a:pt x="272" y="93"/>
                        <a:pt x="260" y="86"/>
                        <a:pt x="248" y="81"/>
                      </a:cubicBezTo>
                      <a:lnTo>
                        <a:pt x="248" y="81"/>
                      </a:lnTo>
                      <a:cubicBezTo>
                        <a:pt x="240" y="77"/>
                        <a:pt x="233" y="73"/>
                        <a:pt x="225" y="70"/>
                      </a:cubicBezTo>
                      <a:lnTo>
                        <a:pt x="225" y="70"/>
                      </a:lnTo>
                      <a:cubicBezTo>
                        <a:pt x="215" y="65"/>
                        <a:pt x="205" y="60"/>
                        <a:pt x="195" y="55"/>
                      </a:cubicBezTo>
                      <a:lnTo>
                        <a:pt x="195" y="55"/>
                      </a:lnTo>
                      <a:cubicBezTo>
                        <a:pt x="179" y="49"/>
                        <a:pt x="164" y="43"/>
                        <a:pt x="148" y="37"/>
                      </a:cubicBezTo>
                      <a:lnTo>
                        <a:pt x="148" y="37"/>
                      </a:lnTo>
                      <a:cubicBezTo>
                        <a:pt x="108" y="20"/>
                        <a:pt x="67" y="9"/>
                        <a:pt x="25" y="1"/>
                      </a:cubicBezTo>
                      <a:lnTo>
                        <a:pt x="25" y="1"/>
                      </a:lnTo>
                      <a:cubicBezTo>
                        <a:pt x="23" y="0"/>
                        <a:pt x="22" y="0"/>
                        <a:pt x="21" y="0"/>
                      </a:cubicBezTo>
                      <a:lnTo>
                        <a:pt x="21" y="0"/>
                      </a:lnTo>
                      <a:cubicBezTo>
                        <a:pt x="12" y="0"/>
                        <a:pt x="5" y="5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150">
                  <a:extLst>
                    <a:ext uri="{FF2B5EF4-FFF2-40B4-BE49-F238E27FC236}">
                      <a16:creationId xmlns:a16="http://schemas.microsoft.com/office/drawing/2014/main" id="{E648F6B7-F259-6C48-A842-9AE82005C4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70788" y="2044700"/>
                  <a:ext cx="23812" cy="36513"/>
                </a:xfrm>
                <a:custGeom>
                  <a:avLst/>
                  <a:gdLst>
                    <a:gd name="T0" fmla="*/ 10 w 68"/>
                    <a:gd name="T1" fmla="*/ 3 h 100"/>
                    <a:gd name="T2" fmla="*/ 10 w 68"/>
                    <a:gd name="T3" fmla="*/ 3 h 100"/>
                    <a:gd name="T4" fmla="*/ 1 w 68"/>
                    <a:gd name="T5" fmla="*/ 14 h 100"/>
                    <a:gd name="T6" fmla="*/ 1 w 68"/>
                    <a:gd name="T7" fmla="*/ 14 h 100"/>
                    <a:gd name="T8" fmla="*/ 4 w 68"/>
                    <a:gd name="T9" fmla="*/ 29 h 100"/>
                    <a:gd name="T10" fmla="*/ 4 w 68"/>
                    <a:gd name="T11" fmla="*/ 29 h 100"/>
                    <a:gd name="T12" fmla="*/ 32 w 68"/>
                    <a:gd name="T13" fmla="*/ 88 h 100"/>
                    <a:gd name="T14" fmla="*/ 32 w 68"/>
                    <a:gd name="T15" fmla="*/ 88 h 100"/>
                    <a:gd name="T16" fmla="*/ 57 w 68"/>
                    <a:gd name="T17" fmla="*/ 94 h 100"/>
                    <a:gd name="T18" fmla="*/ 57 w 68"/>
                    <a:gd name="T19" fmla="*/ 94 h 100"/>
                    <a:gd name="T20" fmla="*/ 65 w 68"/>
                    <a:gd name="T21" fmla="*/ 82 h 100"/>
                    <a:gd name="T22" fmla="*/ 65 w 68"/>
                    <a:gd name="T23" fmla="*/ 82 h 100"/>
                    <a:gd name="T24" fmla="*/ 63 w 68"/>
                    <a:gd name="T25" fmla="*/ 68 h 100"/>
                    <a:gd name="T26" fmla="*/ 63 w 68"/>
                    <a:gd name="T27" fmla="*/ 68 h 100"/>
                    <a:gd name="T28" fmla="*/ 35 w 68"/>
                    <a:gd name="T29" fmla="*/ 9 h 100"/>
                    <a:gd name="T30" fmla="*/ 35 w 68"/>
                    <a:gd name="T31" fmla="*/ 9 h 100"/>
                    <a:gd name="T32" fmla="*/ 24 w 68"/>
                    <a:gd name="T33" fmla="*/ 0 h 100"/>
                    <a:gd name="T34" fmla="*/ 24 w 68"/>
                    <a:gd name="T35" fmla="*/ 0 h 100"/>
                    <a:gd name="T36" fmla="*/ 19 w 68"/>
                    <a:gd name="T37" fmla="*/ 0 h 100"/>
                    <a:gd name="T38" fmla="*/ 19 w 68"/>
                    <a:gd name="T39" fmla="*/ 0 h 100"/>
                    <a:gd name="T40" fmla="*/ 10 w 68"/>
                    <a:gd name="T41" fmla="*/ 3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8" h="100">
                      <a:moveTo>
                        <a:pt x="10" y="3"/>
                      </a:moveTo>
                      <a:lnTo>
                        <a:pt x="10" y="3"/>
                      </a:lnTo>
                      <a:cubicBezTo>
                        <a:pt x="5" y="5"/>
                        <a:pt x="2" y="10"/>
                        <a:pt x="1" y="14"/>
                      </a:cubicBezTo>
                      <a:lnTo>
                        <a:pt x="1" y="14"/>
                      </a:lnTo>
                      <a:cubicBezTo>
                        <a:pt x="0" y="20"/>
                        <a:pt x="1" y="24"/>
                        <a:pt x="4" y="29"/>
                      </a:cubicBezTo>
                      <a:lnTo>
                        <a:pt x="4" y="29"/>
                      </a:lnTo>
                      <a:cubicBezTo>
                        <a:pt x="13" y="48"/>
                        <a:pt x="22" y="68"/>
                        <a:pt x="32" y="88"/>
                      </a:cubicBezTo>
                      <a:lnTo>
                        <a:pt x="32" y="88"/>
                      </a:lnTo>
                      <a:cubicBezTo>
                        <a:pt x="36" y="97"/>
                        <a:pt x="49" y="99"/>
                        <a:pt x="57" y="94"/>
                      </a:cubicBezTo>
                      <a:lnTo>
                        <a:pt x="57" y="94"/>
                      </a:lnTo>
                      <a:cubicBezTo>
                        <a:pt x="61" y="91"/>
                        <a:pt x="64" y="87"/>
                        <a:pt x="65" y="82"/>
                      </a:cubicBezTo>
                      <a:lnTo>
                        <a:pt x="65" y="82"/>
                      </a:lnTo>
                      <a:cubicBezTo>
                        <a:pt x="67" y="77"/>
                        <a:pt x="65" y="73"/>
                        <a:pt x="63" y="68"/>
                      </a:cubicBezTo>
                      <a:lnTo>
                        <a:pt x="63" y="68"/>
                      </a:lnTo>
                      <a:cubicBezTo>
                        <a:pt x="53" y="49"/>
                        <a:pt x="45" y="29"/>
                        <a:pt x="35" y="9"/>
                      </a:cubicBezTo>
                      <a:lnTo>
                        <a:pt x="35" y="9"/>
                      </a:lnTo>
                      <a:cubicBezTo>
                        <a:pt x="34" y="4"/>
                        <a:pt x="28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2" y="1"/>
                        <a:pt x="10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151">
                  <a:extLst>
                    <a:ext uri="{FF2B5EF4-FFF2-40B4-BE49-F238E27FC236}">
                      <a16:creationId xmlns:a16="http://schemas.microsoft.com/office/drawing/2014/main" id="{764F9C97-6137-A046-9AAC-114DB6072B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1425" y="2038350"/>
                  <a:ext cx="33338" cy="55563"/>
                </a:xfrm>
                <a:custGeom>
                  <a:avLst/>
                  <a:gdLst>
                    <a:gd name="T0" fmla="*/ 15 w 91"/>
                    <a:gd name="T1" fmla="*/ 0 h 156"/>
                    <a:gd name="T2" fmla="*/ 15 w 91"/>
                    <a:gd name="T3" fmla="*/ 0 h 156"/>
                    <a:gd name="T4" fmla="*/ 3 w 91"/>
                    <a:gd name="T5" fmla="*/ 24 h 156"/>
                    <a:gd name="T6" fmla="*/ 3 w 91"/>
                    <a:gd name="T7" fmla="*/ 24 h 156"/>
                    <a:gd name="T8" fmla="*/ 52 w 91"/>
                    <a:gd name="T9" fmla="*/ 142 h 156"/>
                    <a:gd name="T10" fmla="*/ 52 w 91"/>
                    <a:gd name="T11" fmla="*/ 142 h 156"/>
                    <a:gd name="T12" fmla="*/ 61 w 91"/>
                    <a:gd name="T13" fmla="*/ 153 h 156"/>
                    <a:gd name="T14" fmla="*/ 61 w 91"/>
                    <a:gd name="T15" fmla="*/ 153 h 156"/>
                    <a:gd name="T16" fmla="*/ 75 w 91"/>
                    <a:gd name="T17" fmla="*/ 154 h 156"/>
                    <a:gd name="T18" fmla="*/ 75 w 91"/>
                    <a:gd name="T19" fmla="*/ 154 h 156"/>
                    <a:gd name="T20" fmla="*/ 86 w 91"/>
                    <a:gd name="T21" fmla="*/ 145 h 156"/>
                    <a:gd name="T22" fmla="*/ 86 w 91"/>
                    <a:gd name="T23" fmla="*/ 145 h 156"/>
                    <a:gd name="T24" fmla="*/ 88 w 91"/>
                    <a:gd name="T25" fmla="*/ 131 h 156"/>
                    <a:gd name="T26" fmla="*/ 88 w 91"/>
                    <a:gd name="T27" fmla="*/ 131 h 156"/>
                    <a:gd name="T28" fmla="*/ 38 w 91"/>
                    <a:gd name="T29" fmla="*/ 13 h 156"/>
                    <a:gd name="T30" fmla="*/ 38 w 91"/>
                    <a:gd name="T31" fmla="*/ 13 h 156"/>
                    <a:gd name="T32" fmla="*/ 30 w 91"/>
                    <a:gd name="T33" fmla="*/ 2 h 156"/>
                    <a:gd name="T34" fmla="*/ 30 w 91"/>
                    <a:gd name="T35" fmla="*/ 2 h 156"/>
                    <a:gd name="T36" fmla="*/ 21 w 91"/>
                    <a:gd name="T37" fmla="*/ 0 h 156"/>
                    <a:gd name="T38" fmla="*/ 21 w 91"/>
                    <a:gd name="T39" fmla="*/ 0 h 156"/>
                    <a:gd name="T40" fmla="*/ 15 w 91"/>
                    <a:gd name="T41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1" h="156">
                      <a:moveTo>
                        <a:pt x="15" y="0"/>
                      </a:moveTo>
                      <a:lnTo>
                        <a:pt x="15" y="0"/>
                      </a:lnTo>
                      <a:cubicBezTo>
                        <a:pt x="6" y="3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9" y="63"/>
                        <a:pt x="35" y="103"/>
                        <a:pt x="52" y="142"/>
                      </a:cubicBezTo>
                      <a:lnTo>
                        <a:pt x="52" y="142"/>
                      </a:lnTo>
                      <a:cubicBezTo>
                        <a:pt x="54" y="147"/>
                        <a:pt x="57" y="150"/>
                        <a:pt x="61" y="153"/>
                      </a:cubicBezTo>
                      <a:lnTo>
                        <a:pt x="61" y="153"/>
                      </a:lnTo>
                      <a:cubicBezTo>
                        <a:pt x="65" y="155"/>
                        <a:pt x="71" y="155"/>
                        <a:pt x="75" y="154"/>
                      </a:cubicBezTo>
                      <a:lnTo>
                        <a:pt x="75" y="154"/>
                      </a:lnTo>
                      <a:cubicBezTo>
                        <a:pt x="80" y="153"/>
                        <a:pt x="84" y="150"/>
                        <a:pt x="86" y="145"/>
                      </a:cubicBezTo>
                      <a:lnTo>
                        <a:pt x="86" y="145"/>
                      </a:lnTo>
                      <a:cubicBezTo>
                        <a:pt x="88" y="141"/>
                        <a:pt x="90" y="135"/>
                        <a:pt x="88" y="131"/>
                      </a:cubicBezTo>
                      <a:lnTo>
                        <a:pt x="88" y="131"/>
                      </a:lnTo>
                      <a:cubicBezTo>
                        <a:pt x="71" y="92"/>
                        <a:pt x="54" y="53"/>
                        <a:pt x="38" y="13"/>
                      </a:cubicBezTo>
                      <a:lnTo>
                        <a:pt x="38" y="13"/>
                      </a:lnTo>
                      <a:cubicBezTo>
                        <a:pt x="37" y="8"/>
                        <a:pt x="34" y="4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7" y="0"/>
                        <a:pt x="1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52">
                  <a:extLst>
                    <a:ext uri="{FF2B5EF4-FFF2-40B4-BE49-F238E27FC236}">
                      <a16:creationId xmlns:a16="http://schemas.microsoft.com/office/drawing/2014/main" id="{37773753-C737-EF41-97D3-A69CB89F46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18413" y="2039938"/>
                  <a:ext cx="42862" cy="90487"/>
                </a:xfrm>
                <a:custGeom>
                  <a:avLst/>
                  <a:gdLst>
                    <a:gd name="T0" fmla="*/ 14 w 118"/>
                    <a:gd name="T1" fmla="*/ 1 h 252"/>
                    <a:gd name="T2" fmla="*/ 14 w 118"/>
                    <a:gd name="T3" fmla="*/ 1 h 252"/>
                    <a:gd name="T4" fmla="*/ 3 w 118"/>
                    <a:gd name="T5" fmla="*/ 10 h 252"/>
                    <a:gd name="T6" fmla="*/ 3 w 118"/>
                    <a:gd name="T7" fmla="*/ 10 h 252"/>
                    <a:gd name="T8" fmla="*/ 2 w 118"/>
                    <a:gd name="T9" fmla="*/ 25 h 252"/>
                    <a:gd name="T10" fmla="*/ 2 w 118"/>
                    <a:gd name="T11" fmla="*/ 25 h 252"/>
                    <a:gd name="T12" fmla="*/ 30 w 118"/>
                    <a:gd name="T13" fmla="*/ 93 h 252"/>
                    <a:gd name="T14" fmla="*/ 30 w 118"/>
                    <a:gd name="T15" fmla="*/ 93 h 252"/>
                    <a:gd name="T16" fmla="*/ 46 w 118"/>
                    <a:gd name="T17" fmla="*/ 137 h 252"/>
                    <a:gd name="T18" fmla="*/ 46 w 118"/>
                    <a:gd name="T19" fmla="*/ 137 h 252"/>
                    <a:gd name="T20" fmla="*/ 79 w 118"/>
                    <a:gd name="T21" fmla="*/ 236 h 252"/>
                    <a:gd name="T22" fmla="*/ 79 w 118"/>
                    <a:gd name="T23" fmla="*/ 236 h 252"/>
                    <a:gd name="T24" fmla="*/ 102 w 118"/>
                    <a:gd name="T25" fmla="*/ 248 h 252"/>
                    <a:gd name="T26" fmla="*/ 102 w 118"/>
                    <a:gd name="T27" fmla="*/ 248 h 252"/>
                    <a:gd name="T28" fmla="*/ 114 w 118"/>
                    <a:gd name="T29" fmla="*/ 225 h 252"/>
                    <a:gd name="T30" fmla="*/ 114 w 118"/>
                    <a:gd name="T31" fmla="*/ 225 h 252"/>
                    <a:gd name="T32" fmla="*/ 82 w 118"/>
                    <a:gd name="T33" fmla="*/ 127 h 252"/>
                    <a:gd name="T34" fmla="*/ 82 w 118"/>
                    <a:gd name="T35" fmla="*/ 127 h 252"/>
                    <a:gd name="T36" fmla="*/ 65 w 118"/>
                    <a:gd name="T37" fmla="*/ 82 h 252"/>
                    <a:gd name="T38" fmla="*/ 65 w 118"/>
                    <a:gd name="T39" fmla="*/ 82 h 252"/>
                    <a:gd name="T40" fmla="*/ 38 w 118"/>
                    <a:gd name="T41" fmla="*/ 13 h 252"/>
                    <a:gd name="T42" fmla="*/ 38 w 118"/>
                    <a:gd name="T43" fmla="*/ 13 h 252"/>
                    <a:gd name="T44" fmla="*/ 29 w 118"/>
                    <a:gd name="T45" fmla="*/ 3 h 252"/>
                    <a:gd name="T46" fmla="*/ 29 w 118"/>
                    <a:gd name="T47" fmla="*/ 3 h 252"/>
                    <a:gd name="T48" fmla="*/ 20 w 118"/>
                    <a:gd name="T49" fmla="*/ 0 h 252"/>
                    <a:gd name="T50" fmla="*/ 20 w 118"/>
                    <a:gd name="T51" fmla="*/ 0 h 252"/>
                    <a:gd name="T52" fmla="*/ 14 w 118"/>
                    <a:gd name="T53" fmla="*/ 1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8" h="252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10" y="3"/>
                        <a:pt x="6" y="6"/>
                        <a:pt x="3" y="10"/>
                      </a:cubicBezTo>
                      <a:lnTo>
                        <a:pt x="3" y="10"/>
                      </a:lnTo>
                      <a:cubicBezTo>
                        <a:pt x="1" y="14"/>
                        <a:pt x="0" y="20"/>
                        <a:pt x="2" y="25"/>
                      </a:cubicBezTo>
                      <a:lnTo>
                        <a:pt x="2" y="25"/>
                      </a:lnTo>
                      <a:cubicBezTo>
                        <a:pt x="12" y="47"/>
                        <a:pt x="21" y="70"/>
                        <a:pt x="30" y="93"/>
                      </a:cubicBezTo>
                      <a:lnTo>
                        <a:pt x="30" y="93"/>
                      </a:lnTo>
                      <a:cubicBezTo>
                        <a:pt x="36" y="107"/>
                        <a:pt x="41" y="123"/>
                        <a:pt x="46" y="137"/>
                      </a:cubicBezTo>
                      <a:lnTo>
                        <a:pt x="46" y="137"/>
                      </a:lnTo>
                      <a:cubicBezTo>
                        <a:pt x="58" y="170"/>
                        <a:pt x="69" y="203"/>
                        <a:pt x="79" y="236"/>
                      </a:cubicBezTo>
                      <a:lnTo>
                        <a:pt x="79" y="236"/>
                      </a:lnTo>
                      <a:cubicBezTo>
                        <a:pt x="82" y="246"/>
                        <a:pt x="93" y="251"/>
                        <a:pt x="102" y="248"/>
                      </a:cubicBezTo>
                      <a:lnTo>
                        <a:pt x="102" y="248"/>
                      </a:lnTo>
                      <a:cubicBezTo>
                        <a:pt x="112" y="245"/>
                        <a:pt x="117" y="235"/>
                        <a:pt x="114" y="225"/>
                      </a:cubicBezTo>
                      <a:lnTo>
                        <a:pt x="114" y="225"/>
                      </a:lnTo>
                      <a:cubicBezTo>
                        <a:pt x="104" y="192"/>
                        <a:pt x="93" y="159"/>
                        <a:pt x="82" y="127"/>
                      </a:cubicBezTo>
                      <a:lnTo>
                        <a:pt x="82" y="127"/>
                      </a:lnTo>
                      <a:cubicBezTo>
                        <a:pt x="76" y="111"/>
                        <a:pt x="71" y="97"/>
                        <a:pt x="65" y="82"/>
                      </a:cubicBezTo>
                      <a:lnTo>
                        <a:pt x="65" y="82"/>
                      </a:lnTo>
                      <a:cubicBezTo>
                        <a:pt x="56" y="59"/>
                        <a:pt x="48" y="36"/>
                        <a:pt x="38" y="13"/>
                      </a:cubicBezTo>
                      <a:lnTo>
                        <a:pt x="38" y="13"/>
                      </a:lnTo>
                      <a:cubicBezTo>
                        <a:pt x="36" y="9"/>
                        <a:pt x="33" y="5"/>
                        <a:pt x="29" y="3"/>
                      </a:cubicBezTo>
                      <a:lnTo>
                        <a:pt x="29" y="3"/>
                      </a:lnTo>
                      <a:cubicBezTo>
                        <a:pt x="26" y="1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153">
                  <a:extLst>
                    <a:ext uri="{FF2B5EF4-FFF2-40B4-BE49-F238E27FC236}">
                      <a16:creationId xmlns:a16="http://schemas.microsoft.com/office/drawing/2014/main" id="{DE3A17BA-B785-3449-A758-911F001CA7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4925" y="2054225"/>
                  <a:ext cx="41275" cy="119063"/>
                </a:xfrm>
                <a:custGeom>
                  <a:avLst/>
                  <a:gdLst>
                    <a:gd name="T0" fmla="*/ 16 w 116"/>
                    <a:gd name="T1" fmla="*/ 1 h 329"/>
                    <a:gd name="T2" fmla="*/ 16 w 116"/>
                    <a:gd name="T3" fmla="*/ 1 h 329"/>
                    <a:gd name="T4" fmla="*/ 3 w 116"/>
                    <a:gd name="T5" fmla="*/ 24 h 329"/>
                    <a:gd name="T6" fmla="*/ 3 w 116"/>
                    <a:gd name="T7" fmla="*/ 24 h 329"/>
                    <a:gd name="T8" fmla="*/ 54 w 116"/>
                    <a:gd name="T9" fmla="*/ 179 h 329"/>
                    <a:gd name="T10" fmla="*/ 54 w 116"/>
                    <a:gd name="T11" fmla="*/ 179 h 329"/>
                    <a:gd name="T12" fmla="*/ 70 w 116"/>
                    <a:gd name="T13" fmla="*/ 260 h 329"/>
                    <a:gd name="T14" fmla="*/ 70 w 116"/>
                    <a:gd name="T15" fmla="*/ 260 h 329"/>
                    <a:gd name="T16" fmla="*/ 69 w 116"/>
                    <a:gd name="T17" fmla="*/ 255 h 329"/>
                    <a:gd name="T18" fmla="*/ 69 w 116"/>
                    <a:gd name="T19" fmla="*/ 255 h 329"/>
                    <a:gd name="T20" fmla="*/ 77 w 116"/>
                    <a:gd name="T21" fmla="*/ 310 h 329"/>
                    <a:gd name="T22" fmla="*/ 77 w 116"/>
                    <a:gd name="T23" fmla="*/ 310 h 329"/>
                    <a:gd name="T24" fmla="*/ 83 w 116"/>
                    <a:gd name="T25" fmla="*/ 322 h 329"/>
                    <a:gd name="T26" fmla="*/ 83 w 116"/>
                    <a:gd name="T27" fmla="*/ 322 h 329"/>
                    <a:gd name="T28" fmla="*/ 96 w 116"/>
                    <a:gd name="T29" fmla="*/ 328 h 329"/>
                    <a:gd name="T30" fmla="*/ 96 w 116"/>
                    <a:gd name="T31" fmla="*/ 328 h 329"/>
                    <a:gd name="T32" fmla="*/ 109 w 116"/>
                    <a:gd name="T33" fmla="*/ 322 h 329"/>
                    <a:gd name="T34" fmla="*/ 109 w 116"/>
                    <a:gd name="T35" fmla="*/ 322 h 329"/>
                    <a:gd name="T36" fmla="*/ 114 w 116"/>
                    <a:gd name="T37" fmla="*/ 308 h 329"/>
                    <a:gd name="T38" fmla="*/ 114 w 116"/>
                    <a:gd name="T39" fmla="*/ 308 h 329"/>
                    <a:gd name="T40" fmla="*/ 99 w 116"/>
                    <a:gd name="T41" fmla="*/ 211 h 329"/>
                    <a:gd name="T42" fmla="*/ 99 w 116"/>
                    <a:gd name="T43" fmla="*/ 211 h 329"/>
                    <a:gd name="T44" fmla="*/ 77 w 116"/>
                    <a:gd name="T45" fmla="*/ 121 h 329"/>
                    <a:gd name="T46" fmla="*/ 77 w 116"/>
                    <a:gd name="T47" fmla="*/ 121 h 329"/>
                    <a:gd name="T48" fmla="*/ 39 w 116"/>
                    <a:gd name="T49" fmla="*/ 14 h 329"/>
                    <a:gd name="T50" fmla="*/ 39 w 116"/>
                    <a:gd name="T51" fmla="*/ 14 h 329"/>
                    <a:gd name="T52" fmla="*/ 21 w 116"/>
                    <a:gd name="T53" fmla="*/ 0 h 329"/>
                    <a:gd name="T54" fmla="*/ 21 w 116"/>
                    <a:gd name="T55" fmla="*/ 0 h 329"/>
                    <a:gd name="T56" fmla="*/ 16 w 116"/>
                    <a:gd name="T57" fmla="*/ 1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6" h="329">
                      <a:moveTo>
                        <a:pt x="16" y="1"/>
                      </a:moveTo>
                      <a:lnTo>
                        <a:pt x="16" y="1"/>
                      </a:lnTo>
                      <a:cubicBezTo>
                        <a:pt x="7" y="4"/>
                        <a:pt x="0" y="15"/>
                        <a:pt x="3" y="24"/>
                      </a:cubicBezTo>
                      <a:lnTo>
                        <a:pt x="3" y="24"/>
                      </a:lnTo>
                      <a:cubicBezTo>
                        <a:pt x="23" y="75"/>
                        <a:pt x="42" y="126"/>
                        <a:pt x="54" y="179"/>
                      </a:cubicBezTo>
                      <a:lnTo>
                        <a:pt x="54" y="179"/>
                      </a:lnTo>
                      <a:cubicBezTo>
                        <a:pt x="60" y="206"/>
                        <a:pt x="65" y="232"/>
                        <a:pt x="70" y="260"/>
                      </a:cubicBezTo>
                      <a:lnTo>
                        <a:pt x="70" y="260"/>
                      </a:lnTo>
                      <a:cubicBezTo>
                        <a:pt x="69" y="258"/>
                        <a:pt x="69" y="257"/>
                        <a:pt x="69" y="255"/>
                      </a:cubicBezTo>
                      <a:lnTo>
                        <a:pt x="69" y="255"/>
                      </a:lnTo>
                      <a:cubicBezTo>
                        <a:pt x="72" y="273"/>
                        <a:pt x="74" y="291"/>
                        <a:pt x="77" y="310"/>
                      </a:cubicBezTo>
                      <a:lnTo>
                        <a:pt x="77" y="310"/>
                      </a:lnTo>
                      <a:cubicBezTo>
                        <a:pt x="77" y="315"/>
                        <a:pt x="79" y="319"/>
                        <a:pt x="83" y="322"/>
                      </a:cubicBezTo>
                      <a:lnTo>
                        <a:pt x="83" y="322"/>
                      </a:lnTo>
                      <a:cubicBezTo>
                        <a:pt x="86" y="326"/>
                        <a:pt x="92" y="328"/>
                        <a:pt x="96" y="328"/>
                      </a:cubicBezTo>
                      <a:lnTo>
                        <a:pt x="96" y="328"/>
                      </a:lnTo>
                      <a:cubicBezTo>
                        <a:pt x="101" y="328"/>
                        <a:pt x="106" y="325"/>
                        <a:pt x="109" y="322"/>
                      </a:cubicBezTo>
                      <a:lnTo>
                        <a:pt x="109" y="322"/>
                      </a:lnTo>
                      <a:cubicBezTo>
                        <a:pt x="112" y="318"/>
                        <a:pt x="115" y="313"/>
                        <a:pt x="114" y="308"/>
                      </a:cubicBezTo>
                      <a:lnTo>
                        <a:pt x="114" y="308"/>
                      </a:lnTo>
                      <a:cubicBezTo>
                        <a:pt x="109" y="275"/>
                        <a:pt x="104" y="243"/>
                        <a:pt x="99" y="211"/>
                      </a:cubicBezTo>
                      <a:lnTo>
                        <a:pt x="99" y="211"/>
                      </a:lnTo>
                      <a:cubicBezTo>
                        <a:pt x="93" y="180"/>
                        <a:pt x="86" y="150"/>
                        <a:pt x="77" y="121"/>
                      </a:cubicBezTo>
                      <a:lnTo>
                        <a:pt x="77" y="121"/>
                      </a:lnTo>
                      <a:cubicBezTo>
                        <a:pt x="66" y="85"/>
                        <a:pt x="53" y="49"/>
                        <a:pt x="39" y="14"/>
                      </a:cubicBezTo>
                      <a:lnTo>
                        <a:pt x="39" y="14"/>
                      </a:lnTo>
                      <a:cubicBezTo>
                        <a:pt x="36" y="6"/>
                        <a:pt x="29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8" y="1"/>
                        <a:pt x="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154">
                  <a:extLst>
                    <a:ext uri="{FF2B5EF4-FFF2-40B4-BE49-F238E27FC236}">
                      <a16:creationId xmlns:a16="http://schemas.microsoft.com/office/drawing/2014/main" id="{C847EFF1-4923-0741-A7F3-E9047B45E9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4613" y="2081213"/>
                  <a:ext cx="38100" cy="157162"/>
                </a:xfrm>
                <a:custGeom>
                  <a:avLst/>
                  <a:gdLst>
                    <a:gd name="T0" fmla="*/ 15 w 108"/>
                    <a:gd name="T1" fmla="*/ 1 h 435"/>
                    <a:gd name="T2" fmla="*/ 15 w 108"/>
                    <a:gd name="T3" fmla="*/ 1 h 435"/>
                    <a:gd name="T4" fmla="*/ 3 w 108"/>
                    <a:gd name="T5" fmla="*/ 24 h 435"/>
                    <a:gd name="T6" fmla="*/ 3 w 108"/>
                    <a:gd name="T7" fmla="*/ 24 h 435"/>
                    <a:gd name="T8" fmla="*/ 38 w 108"/>
                    <a:gd name="T9" fmla="*/ 163 h 435"/>
                    <a:gd name="T10" fmla="*/ 38 w 108"/>
                    <a:gd name="T11" fmla="*/ 163 h 435"/>
                    <a:gd name="T12" fmla="*/ 38 w 108"/>
                    <a:gd name="T13" fmla="*/ 158 h 435"/>
                    <a:gd name="T14" fmla="*/ 38 w 108"/>
                    <a:gd name="T15" fmla="*/ 158 h 435"/>
                    <a:gd name="T16" fmla="*/ 56 w 108"/>
                    <a:gd name="T17" fmla="*/ 308 h 435"/>
                    <a:gd name="T18" fmla="*/ 56 w 108"/>
                    <a:gd name="T19" fmla="*/ 308 h 435"/>
                    <a:gd name="T20" fmla="*/ 71 w 108"/>
                    <a:gd name="T21" fmla="*/ 420 h 435"/>
                    <a:gd name="T22" fmla="*/ 71 w 108"/>
                    <a:gd name="T23" fmla="*/ 420 h 435"/>
                    <a:gd name="T24" fmla="*/ 80 w 108"/>
                    <a:gd name="T25" fmla="*/ 431 h 435"/>
                    <a:gd name="T26" fmla="*/ 80 w 108"/>
                    <a:gd name="T27" fmla="*/ 431 h 435"/>
                    <a:gd name="T28" fmla="*/ 94 w 108"/>
                    <a:gd name="T29" fmla="*/ 432 h 435"/>
                    <a:gd name="T30" fmla="*/ 94 w 108"/>
                    <a:gd name="T31" fmla="*/ 432 h 435"/>
                    <a:gd name="T32" fmla="*/ 105 w 108"/>
                    <a:gd name="T33" fmla="*/ 423 h 435"/>
                    <a:gd name="T34" fmla="*/ 105 w 108"/>
                    <a:gd name="T35" fmla="*/ 423 h 435"/>
                    <a:gd name="T36" fmla="*/ 106 w 108"/>
                    <a:gd name="T37" fmla="*/ 409 h 435"/>
                    <a:gd name="T38" fmla="*/ 106 w 108"/>
                    <a:gd name="T39" fmla="*/ 409 h 435"/>
                    <a:gd name="T40" fmla="*/ 105 w 108"/>
                    <a:gd name="T41" fmla="*/ 401 h 435"/>
                    <a:gd name="T42" fmla="*/ 105 w 108"/>
                    <a:gd name="T43" fmla="*/ 401 h 435"/>
                    <a:gd name="T44" fmla="*/ 91 w 108"/>
                    <a:gd name="T45" fmla="*/ 287 h 435"/>
                    <a:gd name="T46" fmla="*/ 91 w 108"/>
                    <a:gd name="T47" fmla="*/ 287 h 435"/>
                    <a:gd name="T48" fmla="*/ 80 w 108"/>
                    <a:gd name="T49" fmla="*/ 192 h 435"/>
                    <a:gd name="T50" fmla="*/ 80 w 108"/>
                    <a:gd name="T51" fmla="*/ 192 h 435"/>
                    <a:gd name="T52" fmla="*/ 63 w 108"/>
                    <a:gd name="T53" fmla="*/ 102 h 435"/>
                    <a:gd name="T54" fmla="*/ 63 w 108"/>
                    <a:gd name="T55" fmla="*/ 102 h 435"/>
                    <a:gd name="T56" fmla="*/ 39 w 108"/>
                    <a:gd name="T57" fmla="*/ 13 h 435"/>
                    <a:gd name="T58" fmla="*/ 39 w 108"/>
                    <a:gd name="T59" fmla="*/ 13 h 435"/>
                    <a:gd name="T60" fmla="*/ 20 w 108"/>
                    <a:gd name="T61" fmla="*/ 0 h 435"/>
                    <a:gd name="T62" fmla="*/ 20 w 108"/>
                    <a:gd name="T63" fmla="*/ 0 h 435"/>
                    <a:gd name="T64" fmla="*/ 15 w 108"/>
                    <a:gd name="T65" fmla="*/ 1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8" h="435">
                      <a:moveTo>
                        <a:pt x="15" y="1"/>
                      </a:moveTo>
                      <a:lnTo>
                        <a:pt x="15" y="1"/>
                      </a:lnTo>
                      <a:cubicBezTo>
                        <a:pt x="6" y="4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8" y="70"/>
                        <a:pt x="30" y="115"/>
                        <a:pt x="38" y="163"/>
                      </a:cubicBezTo>
                      <a:lnTo>
                        <a:pt x="38" y="163"/>
                      </a:lnTo>
                      <a:cubicBezTo>
                        <a:pt x="38" y="161"/>
                        <a:pt x="38" y="159"/>
                        <a:pt x="38" y="158"/>
                      </a:cubicBezTo>
                      <a:lnTo>
                        <a:pt x="38" y="158"/>
                      </a:lnTo>
                      <a:cubicBezTo>
                        <a:pt x="45" y="207"/>
                        <a:pt x="50" y="258"/>
                        <a:pt x="56" y="308"/>
                      </a:cubicBezTo>
                      <a:lnTo>
                        <a:pt x="56" y="308"/>
                      </a:lnTo>
                      <a:cubicBezTo>
                        <a:pt x="60" y="346"/>
                        <a:pt x="64" y="383"/>
                        <a:pt x="71" y="420"/>
                      </a:cubicBezTo>
                      <a:lnTo>
                        <a:pt x="71" y="420"/>
                      </a:lnTo>
                      <a:cubicBezTo>
                        <a:pt x="72" y="424"/>
                        <a:pt x="76" y="428"/>
                        <a:pt x="80" y="431"/>
                      </a:cubicBezTo>
                      <a:lnTo>
                        <a:pt x="80" y="431"/>
                      </a:lnTo>
                      <a:cubicBezTo>
                        <a:pt x="84" y="433"/>
                        <a:pt x="89" y="434"/>
                        <a:pt x="94" y="432"/>
                      </a:cubicBezTo>
                      <a:lnTo>
                        <a:pt x="94" y="432"/>
                      </a:lnTo>
                      <a:cubicBezTo>
                        <a:pt x="99" y="431"/>
                        <a:pt x="103" y="428"/>
                        <a:pt x="105" y="423"/>
                      </a:cubicBezTo>
                      <a:lnTo>
                        <a:pt x="105" y="423"/>
                      </a:lnTo>
                      <a:cubicBezTo>
                        <a:pt x="107" y="418"/>
                        <a:pt x="107" y="414"/>
                        <a:pt x="106" y="409"/>
                      </a:cubicBezTo>
                      <a:lnTo>
                        <a:pt x="106" y="409"/>
                      </a:lnTo>
                      <a:cubicBezTo>
                        <a:pt x="106" y="406"/>
                        <a:pt x="106" y="404"/>
                        <a:pt x="105" y="401"/>
                      </a:cubicBezTo>
                      <a:lnTo>
                        <a:pt x="105" y="401"/>
                      </a:lnTo>
                      <a:cubicBezTo>
                        <a:pt x="99" y="363"/>
                        <a:pt x="95" y="326"/>
                        <a:pt x="91" y="287"/>
                      </a:cubicBezTo>
                      <a:lnTo>
                        <a:pt x="91" y="287"/>
                      </a:lnTo>
                      <a:cubicBezTo>
                        <a:pt x="87" y="256"/>
                        <a:pt x="83" y="223"/>
                        <a:pt x="80" y="192"/>
                      </a:cubicBezTo>
                      <a:lnTo>
                        <a:pt x="80" y="192"/>
                      </a:lnTo>
                      <a:cubicBezTo>
                        <a:pt x="76" y="162"/>
                        <a:pt x="70" y="132"/>
                        <a:pt x="63" y="102"/>
                      </a:cubicBezTo>
                      <a:lnTo>
                        <a:pt x="63" y="102"/>
                      </a:lnTo>
                      <a:cubicBezTo>
                        <a:pt x="56" y="72"/>
                        <a:pt x="48" y="43"/>
                        <a:pt x="39" y="13"/>
                      </a:cubicBezTo>
                      <a:lnTo>
                        <a:pt x="39" y="13"/>
                      </a:lnTo>
                      <a:cubicBezTo>
                        <a:pt x="36" y="5"/>
                        <a:pt x="29" y="0"/>
                        <a:pt x="20" y="0"/>
                      </a:cubicBezTo>
                      <a:lnTo>
                        <a:pt x="20" y="0"/>
                      </a:lnTo>
                      <a:cubicBezTo>
                        <a:pt x="19" y="0"/>
                        <a:pt x="17" y="0"/>
                        <a:pt x="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155">
                  <a:extLst>
                    <a:ext uri="{FF2B5EF4-FFF2-40B4-BE49-F238E27FC236}">
                      <a16:creationId xmlns:a16="http://schemas.microsoft.com/office/drawing/2014/main" id="{65A15709-26E4-FC43-82EC-18240EE99D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35888" y="2103438"/>
                  <a:ext cx="20637" cy="182562"/>
                </a:xfrm>
                <a:custGeom>
                  <a:avLst/>
                  <a:gdLst>
                    <a:gd name="T0" fmla="*/ 19 w 57"/>
                    <a:gd name="T1" fmla="*/ 0 h 509"/>
                    <a:gd name="T2" fmla="*/ 19 w 57"/>
                    <a:gd name="T3" fmla="*/ 0 h 509"/>
                    <a:gd name="T4" fmla="*/ 1 w 57"/>
                    <a:gd name="T5" fmla="*/ 19 h 509"/>
                    <a:gd name="T6" fmla="*/ 1 w 57"/>
                    <a:gd name="T7" fmla="*/ 19 h 509"/>
                    <a:gd name="T8" fmla="*/ 14 w 57"/>
                    <a:gd name="T9" fmla="*/ 166 h 509"/>
                    <a:gd name="T10" fmla="*/ 14 w 57"/>
                    <a:gd name="T11" fmla="*/ 166 h 509"/>
                    <a:gd name="T12" fmla="*/ 17 w 57"/>
                    <a:gd name="T13" fmla="*/ 207 h 509"/>
                    <a:gd name="T14" fmla="*/ 17 w 57"/>
                    <a:gd name="T15" fmla="*/ 207 h 509"/>
                    <a:gd name="T16" fmla="*/ 18 w 57"/>
                    <a:gd name="T17" fmla="*/ 246 h 509"/>
                    <a:gd name="T18" fmla="*/ 18 w 57"/>
                    <a:gd name="T19" fmla="*/ 246 h 509"/>
                    <a:gd name="T20" fmla="*/ 19 w 57"/>
                    <a:gd name="T21" fmla="*/ 263 h 509"/>
                    <a:gd name="T22" fmla="*/ 19 w 57"/>
                    <a:gd name="T23" fmla="*/ 263 h 509"/>
                    <a:gd name="T24" fmla="*/ 18 w 57"/>
                    <a:gd name="T25" fmla="*/ 326 h 509"/>
                    <a:gd name="T26" fmla="*/ 18 w 57"/>
                    <a:gd name="T27" fmla="*/ 326 h 509"/>
                    <a:gd name="T28" fmla="*/ 17 w 57"/>
                    <a:gd name="T29" fmla="*/ 378 h 509"/>
                    <a:gd name="T30" fmla="*/ 17 w 57"/>
                    <a:gd name="T31" fmla="*/ 378 h 509"/>
                    <a:gd name="T32" fmla="*/ 15 w 57"/>
                    <a:gd name="T33" fmla="*/ 489 h 509"/>
                    <a:gd name="T34" fmla="*/ 15 w 57"/>
                    <a:gd name="T35" fmla="*/ 489 h 509"/>
                    <a:gd name="T36" fmla="*/ 34 w 57"/>
                    <a:gd name="T37" fmla="*/ 507 h 509"/>
                    <a:gd name="T38" fmla="*/ 34 w 57"/>
                    <a:gd name="T39" fmla="*/ 507 h 509"/>
                    <a:gd name="T40" fmla="*/ 52 w 57"/>
                    <a:gd name="T41" fmla="*/ 488 h 509"/>
                    <a:gd name="T42" fmla="*/ 52 w 57"/>
                    <a:gd name="T43" fmla="*/ 488 h 509"/>
                    <a:gd name="T44" fmla="*/ 54 w 57"/>
                    <a:gd name="T45" fmla="*/ 377 h 509"/>
                    <a:gd name="T46" fmla="*/ 54 w 57"/>
                    <a:gd name="T47" fmla="*/ 377 h 509"/>
                    <a:gd name="T48" fmla="*/ 56 w 57"/>
                    <a:gd name="T49" fmla="*/ 326 h 509"/>
                    <a:gd name="T50" fmla="*/ 56 w 57"/>
                    <a:gd name="T51" fmla="*/ 326 h 509"/>
                    <a:gd name="T52" fmla="*/ 56 w 57"/>
                    <a:gd name="T53" fmla="*/ 262 h 509"/>
                    <a:gd name="T54" fmla="*/ 56 w 57"/>
                    <a:gd name="T55" fmla="*/ 262 h 509"/>
                    <a:gd name="T56" fmla="*/ 55 w 57"/>
                    <a:gd name="T57" fmla="*/ 247 h 509"/>
                    <a:gd name="T58" fmla="*/ 55 w 57"/>
                    <a:gd name="T59" fmla="*/ 247 h 509"/>
                    <a:gd name="T60" fmla="*/ 53 w 57"/>
                    <a:gd name="T61" fmla="*/ 209 h 509"/>
                    <a:gd name="T62" fmla="*/ 53 w 57"/>
                    <a:gd name="T63" fmla="*/ 209 h 509"/>
                    <a:gd name="T64" fmla="*/ 52 w 57"/>
                    <a:gd name="T65" fmla="*/ 167 h 509"/>
                    <a:gd name="T66" fmla="*/ 52 w 57"/>
                    <a:gd name="T67" fmla="*/ 167 h 509"/>
                    <a:gd name="T68" fmla="*/ 38 w 57"/>
                    <a:gd name="T69" fmla="*/ 18 h 509"/>
                    <a:gd name="T70" fmla="*/ 38 w 57"/>
                    <a:gd name="T71" fmla="*/ 18 h 509"/>
                    <a:gd name="T72" fmla="*/ 19 w 57"/>
                    <a:gd name="T73" fmla="*/ 0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" h="509">
                      <a:moveTo>
                        <a:pt x="19" y="0"/>
                      </a:moveTo>
                      <a:lnTo>
                        <a:pt x="19" y="0"/>
                      </a:lnTo>
                      <a:cubicBezTo>
                        <a:pt x="9" y="0"/>
                        <a:pt x="0" y="9"/>
                        <a:pt x="1" y="19"/>
                      </a:cubicBezTo>
                      <a:lnTo>
                        <a:pt x="1" y="19"/>
                      </a:lnTo>
                      <a:cubicBezTo>
                        <a:pt x="6" y="68"/>
                        <a:pt x="10" y="117"/>
                        <a:pt x="14" y="166"/>
                      </a:cubicBezTo>
                      <a:lnTo>
                        <a:pt x="14" y="166"/>
                      </a:lnTo>
                      <a:cubicBezTo>
                        <a:pt x="15" y="180"/>
                        <a:pt x="16" y="193"/>
                        <a:pt x="17" y="207"/>
                      </a:cubicBezTo>
                      <a:lnTo>
                        <a:pt x="17" y="207"/>
                      </a:lnTo>
                      <a:cubicBezTo>
                        <a:pt x="17" y="220"/>
                        <a:pt x="17" y="233"/>
                        <a:pt x="18" y="246"/>
                      </a:cubicBezTo>
                      <a:lnTo>
                        <a:pt x="18" y="246"/>
                      </a:lnTo>
                      <a:cubicBezTo>
                        <a:pt x="18" y="251"/>
                        <a:pt x="19" y="257"/>
                        <a:pt x="19" y="263"/>
                      </a:cubicBezTo>
                      <a:lnTo>
                        <a:pt x="19" y="263"/>
                      </a:lnTo>
                      <a:cubicBezTo>
                        <a:pt x="19" y="285"/>
                        <a:pt x="19" y="305"/>
                        <a:pt x="18" y="326"/>
                      </a:cubicBezTo>
                      <a:lnTo>
                        <a:pt x="18" y="326"/>
                      </a:lnTo>
                      <a:cubicBezTo>
                        <a:pt x="18" y="343"/>
                        <a:pt x="18" y="361"/>
                        <a:pt x="17" y="378"/>
                      </a:cubicBezTo>
                      <a:lnTo>
                        <a:pt x="17" y="378"/>
                      </a:lnTo>
                      <a:cubicBezTo>
                        <a:pt x="16" y="415"/>
                        <a:pt x="14" y="452"/>
                        <a:pt x="15" y="489"/>
                      </a:cubicBezTo>
                      <a:lnTo>
                        <a:pt x="15" y="489"/>
                      </a:lnTo>
                      <a:cubicBezTo>
                        <a:pt x="15" y="499"/>
                        <a:pt x="24" y="508"/>
                        <a:pt x="34" y="507"/>
                      </a:cubicBezTo>
                      <a:lnTo>
                        <a:pt x="34" y="507"/>
                      </a:lnTo>
                      <a:cubicBezTo>
                        <a:pt x="44" y="506"/>
                        <a:pt x="52" y="498"/>
                        <a:pt x="52" y="488"/>
                      </a:cubicBezTo>
                      <a:lnTo>
                        <a:pt x="52" y="488"/>
                      </a:lnTo>
                      <a:cubicBezTo>
                        <a:pt x="50" y="451"/>
                        <a:pt x="53" y="414"/>
                        <a:pt x="54" y="377"/>
                      </a:cubicBezTo>
                      <a:lnTo>
                        <a:pt x="54" y="377"/>
                      </a:lnTo>
                      <a:cubicBezTo>
                        <a:pt x="55" y="360"/>
                        <a:pt x="56" y="343"/>
                        <a:pt x="56" y="326"/>
                      </a:cubicBezTo>
                      <a:lnTo>
                        <a:pt x="56" y="326"/>
                      </a:lnTo>
                      <a:cubicBezTo>
                        <a:pt x="56" y="304"/>
                        <a:pt x="56" y="283"/>
                        <a:pt x="56" y="262"/>
                      </a:cubicBezTo>
                      <a:lnTo>
                        <a:pt x="56" y="262"/>
                      </a:lnTo>
                      <a:cubicBezTo>
                        <a:pt x="56" y="257"/>
                        <a:pt x="55" y="252"/>
                        <a:pt x="55" y="247"/>
                      </a:cubicBezTo>
                      <a:lnTo>
                        <a:pt x="55" y="247"/>
                      </a:lnTo>
                      <a:cubicBezTo>
                        <a:pt x="55" y="235"/>
                        <a:pt x="54" y="222"/>
                        <a:pt x="53" y="209"/>
                      </a:cubicBezTo>
                      <a:lnTo>
                        <a:pt x="53" y="209"/>
                      </a:lnTo>
                      <a:cubicBezTo>
                        <a:pt x="53" y="195"/>
                        <a:pt x="53" y="180"/>
                        <a:pt x="52" y="167"/>
                      </a:cubicBezTo>
                      <a:lnTo>
                        <a:pt x="52" y="167"/>
                      </a:lnTo>
                      <a:cubicBezTo>
                        <a:pt x="48" y="117"/>
                        <a:pt x="44" y="67"/>
                        <a:pt x="38" y="18"/>
                      </a:cubicBezTo>
                      <a:lnTo>
                        <a:pt x="38" y="18"/>
                      </a:lnTo>
                      <a:cubicBezTo>
                        <a:pt x="37" y="8"/>
                        <a:pt x="30" y="0"/>
                        <a:pt x="19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 156">
                  <a:extLst>
                    <a:ext uri="{FF2B5EF4-FFF2-40B4-BE49-F238E27FC236}">
                      <a16:creationId xmlns:a16="http://schemas.microsoft.com/office/drawing/2014/main" id="{8A9EC1EB-47F8-244C-B255-5C7E270615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67638" y="2181225"/>
                  <a:ext cx="19050" cy="157163"/>
                </a:xfrm>
                <a:custGeom>
                  <a:avLst/>
                  <a:gdLst>
                    <a:gd name="T0" fmla="*/ 31 w 52"/>
                    <a:gd name="T1" fmla="*/ 0 h 435"/>
                    <a:gd name="T2" fmla="*/ 31 w 52"/>
                    <a:gd name="T3" fmla="*/ 0 h 435"/>
                    <a:gd name="T4" fmla="*/ 13 w 52"/>
                    <a:gd name="T5" fmla="*/ 20 h 435"/>
                    <a:gd name="T6" fmla="*/ 13 w 52"/>
                    <a:gd name="T7" fmla="*/ 20 h 435"/>
                    <a:gd name="T8" fmla="*/ 11 w 52"/>
                    <a:gd name="T9" fmla="*/ 147 h 435"/>
                    <a:gd name="T10" fmla="*/ 11 w 52"/>
                    <a:gd name="T11" fmla="*/ 147 h 435"/>
                    <a:gd name="T12" fmla="*/ 10 w 52"/>
                    <a:gd name="T13" fmla="*/ 179 h 435"/>
                    <a:gd name="T14" fmla="*/ 10 w 52"/>
                    <a:gd name="T15" fmla="*/ 179 h 435"/>
                    <a:gd name="T16" fmla="*/ 7 w 52"/>
                    <a:gd name="T17" fmla="*/ 233 h 435"/>
                    <a:gd name="T18" fmla="*/ 7 w 52"/>
                    <a:gd name="T19" fmla="*/ 233 h 435"/>
                    <a:gd name="T20" fmla="*/ 2 w 52"/>
                    <a:gd name="T21" fmla="*/ 321 h 435"/>
                    <a:gd name="T22" fmla="*/ 2 w 52"/>
                    <a:gd name="T23" fmla="*/ 321 h 435"/>
                    <a:gd name="T24" fmla="*/ 1 w 52"/>
                    <a:gd name="T25" fmla="*/ 360 h 435"/>
                    <a:gd name="T26" fmla="*/ 1 w 52"/>
                    <a:gd name="T27" fmla="*/ 360 h 435"/>
                    <a:gd name="T28" fmla="*/ 1 w 52"/>
                    <a:gd name="T29" fmla="*/ 416 h 435"/>
                    <a:gd name="T30" fmla="*/ 1 w 52"/>
                    <a:gd name="T31" fmla="*/ 416 h 435"/>
                    <a:gd name="T32" fmla="*/ 21 w 52"/>
                    <a:gd name="T33" fmla="*/ 434 h 435"/>
                    <a:gd name="T34" fmla="*/ 21 w 52"/>
                    <a:gd name="T35" fmla="*/ 434 h 435"/>
                    <a:gd name="T36" fmla="*/ 38 w 52"/>
                    <a:gd name="T37" fmla="*/ 414 h 435"/>
                    <a:gd name="T38" fmla="*/ 38 w 52"/>
                    <a:gd name="T39" fmla="*/ 414 h 435"/>
                    <a:gd name="T40" fmla="*/ 38 w 52"/>
                    <a:gd name="T41" fmla="*/ 362 h 435"/>
                    <a:gd name="T42" fmla="*/ 38 w 52"/>
                    <a:gd name="T43" fmla="*/ 362 h 435"/>
                    <a:gd name="T44" fmla="*/ 40 w 52"/>
                    <a:gd name="T45" fmla="*/ 320 h 435"/>
                    <a:gd name="T46" fmla="*/ 40 w 52"/>
                    <a:gd name="T47" fmla="*/ 320 h 435"/>
                    <a:gd name="T48" fmla="*/ 44 w 52"/>
                    <a:gd name="T49" fmla="*/ 232 h 435"/>
                    <a:gd name="T50" fmla="*/ 44 w 52"/>
                    <a:gd name="T51" fmla="*/ 232 h 435"/>
                    <a:gd name="T52" fmla="*/ 47 w 52"/>
                    <a:gd name="T53" fmla="*/ 178 h 435"/>
                    <a:gd name="T54" fmla="*/ 47 w 52"/>
                    <a:gd name="T55" fmla="*/ 178 h 435"/>
                    <a:gd name="T56" fmla="*/ 48 w 52"/>
                    <a:gd name="T57" fmla="*/ 146 h 435"/>
                    <a:gd name="T58" fmla="*/ 48 w 52"/>
                    <a:gd name="T59" fmla="*/ 146 h 435"/>
                    <a:gd name="T60" fmla="*/ 51 w 52"/>
                    <a:gd name="T61" fmla="*/ 18 h 435"/>
                    <a:gd name="T62" fmla="*/ 51 w 52"/>
                    <a:gd name="T63" fmla="*/ 18 h 435"/>
                    <a:gd name="T64" fmla="*/ 32 w 52"/>
                    <a:gd name="T65" fmla="*/ 0 h 435"/>
                    <a:gd name="T66" fmla="*/ 31 w 52"/>
                    <a:gd name="T67" fmla="*/ 0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2" h="435">
                      <a:moveTo>
                        <a:pt x="31" y="0"/>
                      </a:moveTo>
                      <a:lnTo>
                        <a:pt x="31" y="0"/>
                      </a:lnTo>
                      <a:cubicBezTo>
                        <a:pt x="21" y="1"/>
                        <a:pt x="13" y="10"/>
                        <a:pt x="13" y="20"/>
                      </a:cubicBezTo>
                      <a:lnTo>
                        <a:pt x="13" y="20"/>
                      </a:lnTo>
                      <a:cubicBezTo>
                        <a:pt x="13" y="62"/>
                        <a:pt x="12" y="104"/>
                        <a:pt x="11" y="147"/>
                      </a:cubicBezTo>
                      <a:lnTo>
                        <a:pt x="11" y="147"/>
                      </a:lnTo>
                      <a:cubicBezTo>
                        <a:pt x="11" y="158"/>
                        <a:pt x="11" y="168"/>
                        <a:pt x="10" y="179"/>
                      </a:cubicBezTo>
                      <a:lnTo>
                        <a:pt x="10" y="179"/>
                      </a:lnTo>
                      <a:cubicBezTo>
                        <a:pt x="9" y="197"/>
                        <a:pt x="8" y="215"/>
                        <a:pt x="7" y="233"/>
                      </a:cubicBezTo>
                      <a:lnTo>
                        <a:pt x="7" y="233"/>
                      </a:lnTo>
                      <a:cubicBezTo>
                        <a:pt x="5" y="263"/>
                        <a:pt x="4" y="292"/>
                        <a:pt x="2" y="321"/>
                      </a:cubicBezTo>
                      <a:lnTo>
                        <a:pt x="2" y="321"/>
                      </a:lnTo>
                      <a:cubicBezTo>
                        <a:pt x="1" y="334"/>
                        <a:pt x="1" y="348"/>
                        <a:pt x="1" y="360"/>
                      </a:cubicBezTo>
                      <a:lnTo>
                        <a:pt x="1" y="360"/>
                      </a:lnTo>
                      <a:cubicBezTo>
                        <a:pt x="0" y="379"/>
                        <a:pt x="0" y="397"/>
                        <a:pt x="1" y="416"/>
                      </a:cubicBezTo>
                      <a:lnTo>
                        <a:pt x="1" y="416"/>
                      </a:lnTo>
                      <a:cubicBezTo>
                        <a:pt x="2" y="426"/>
                        <a:pt x="10" y="434"/>
                        <a:pt x="21" y="434"/>
                      </a:cubicBezTo>
                      <a:lnTo>
                        <a:pt x="21" y="434"/>
                      </a:lnTo>
                      <a:cubicBezTo>
                        <a:pt x="31" y="433"/>
                        <a:pt x="39" y="424"/>
                        <a:pt x="38" y="414"/>
                      </a:cubicBezTo>
                      <a:lnTo>
                        <a:pt x="38" y="414"/>
                      </a:lnTo>
                      <a:cubicBezTo>
                        <a:pt x="37" y="397"/>
                        <a:pt x="37" y="379"/>
                        <a:pt x="38" y="362"/>
                      </a:cubicBezTo>
                      <a:lnTo>
                        <a:pt x="38" y="362"/>
                      </a:lnTo>
                      <a:cubicBezTo>
                        <a:pt x="38" y="348"/>
                        <a:pt x="38" y="334"/>
                        <a:pt x="40" y="320"/>
                      </a:cubicBezTo>
                      <a:lnTo>
                        <a:pt x="40" y="320"/>
                      </a:lnTo>
                      <a:cubicBezTo>
                        <a:pt x="41" y="290"/>
                        <a:pt x="42" y="261"/>
                        <a:pt x="44" y="232"/>
                      </a:cubicBezTo>
                      <a:lnTo>
                        <a:pt x="44" y="232"/>
                      </a:lnTo>
                      <a:cubicBezTo>
                        <a:pt x="45" y="214"/>
                        <a:pt x="46" y="197"/>
                        <a:pt x="47" y="178"/>
                      </a:cubicBezTo>
                      <a:lnTo>
                        <a:pt x="47" y="178"/>
                      </a:lnTo>
                      <a:cubicBezTo>
                        <a:pt x="48" y="167"/>
                        <a:pt x="48" y="157"/>
                        <a:pt x="48" y="146"/>
                      </a:cubicBezTo>
                      <a:lnTo>
                        <a:pt x="48" y="146"/>
                      </a:lnTo>
                      <a:cubicBezTo>
                        <a:pt x="49" y="103"/>
                        <a:pt x="50" y="61"/>
                        <a:pt x="51" y="18"/>
                      </a:cubicBezTo>
                      <a:lnTo>
                        <a:pt x="51" y="18"/>
                      </a:lnTo>
                      <a:cubicBezTo>
                        <a:pt x="51" y="8"/>
                        <a:pt x="41" y="0"/>
                        <a:pt x="32" y="0"/>
                      </a:cubicBezTo>
                      <a:lnTo>
                        <a:pt x="3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" name="Freeform 209">
                <a:extLst>
                  <a:ext uri="{FF2B5EF4-FFF2-40B4-BE49-F238E27FC236}">
                    <a16:creationId xmlns:a16="http://schemas.microsoft.com/office/drawing/2014/main" id="{50C0713B-8221-004C-A000-674AC9F0A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7639" y="4313983"/>
                <a:ext cx="257233" cy="357129"/>
              </a:xfrm>
              <a:custGeom>
                <a:avLst/>
                <a:gdLst>
                  <a:gd name="T0" fmla="*/ 93 w 907"/>
                  <a:gd name="T1" fmla="*/ 559 h 1263"/>
                  <a:gd name="T2" fmla="*/ 756 w 907"/>
                  <a:gd name="T3" fmla="*/ 1204 h 1263"/>
                  <a:gd name="T4" fmla="*/ 205 w 907"/>
                  <a:gd name="T5" fmla="*/ 974 h 1263"/>
                  <a:gd name="T6" fmla="*/ 259 w 907"/>
                  <a:gd name="T7" fmla="*/ 806 h 1263"/>
                  <a:gd name="T8" fmla="*/ 297 w 907"/>
                  <a:gd name="T9" fmla="*/ 962 h 1263"/>
                  <a:gd name="T10" fmla="*/ 175 w 907"/>
                  <a:gd name="T11" fmla="*/ 1075 h 1263"/>
                  <a:gd name="T12" fmla="*/ 642 w 907"/>
                  <a:gd name="T13" fmla="*/ 700 h 1263"/>
                  <a:gd name="T14" fmla="*/ 708 w 907"/>
                  <a:gd name="T15" fmla="*/ 1118 h 1263"/>
                  <a:gd name="T16" fmla="*/ 725 w 907"/>
                  <a:gd name="T17" fmla="*/ 1184 h 1263"/>
                  <a:gd name="T18" fmla="*/ 438 w 907"/>
                  <a:gd name="T19" fmla="*/ 908 h 1263"/>
                  <a:gd name="T20" fmla="*/ 620 w 907"/>
                  <a:gd name="T21" fmla="*/ 554 h 1263"/>
                  <a:gd name="T22" fmla="*/ 285 w 907"/>
                  <a:gd name="T23" fmla="*/ 556 h 1263"/>
                  <a:gd name="T24" fmla="*/ 164 w 907"/>
                  <a:gd name="T25" fmla="*/ 630 h 1263"/>
                  <a:gd name="T26" fmla="*/ 95 w 907"/>
                  <a:gd name="T27" fmla="*/ 562 h 1263"/>
                  <a:gd name="T28" fmla="*/ 90 w 907"/>
                  <a:gd name="T29" fmla="*/ 556 h 1263"/>
                  <a:gd name="T30" fmla="*/ 300 w 907"/>
                  <a:gd name="T31" fmla="*/ 515 h 1263"/>
                  <a:gd name="T32" fmla="*/ 620 w 907"/>
                  <a:gd name="T33" fmla="*/ 554 h 1263"/>
                  <a:gd name="T34" fmla="*/ 471 w 907"/>
                  <a:gd name="T35" fmla="*/ 796 h 1263"/>
                  <a:gd name="T36" fmla="*/ 318 w 907"/>
                  <a:gd name="T37" fmla="*/ 786 h 1263"/>
                  <a:gd name="T38" fmla="*/ 361 w 907"/>
                  <a:gd name="T39" fmla="*/ 508 h 1263"/>
                  <a:gd name="T40" fmla="*/ 879 w 907"/>
                  <a:gd name="T41" fmla="*/ 478 h 1263"/>
                  <a:gd name="T42" fmla="*/ 798 w 907"/>
                  <a:gd name="T43" fmla="*/ 463 h 1263"/>
                  <a:gd name="T44" fmla="*/ 799 w 907"/>
                  <a:gd name="T45" fmla="*/ 474 h 1263"/>
                  <a:gd name="T46" fmla="*/ 681 w 907"/>
                  <a:gd name="T47" fmla="*/ 582 h 1263"/>
                  <a:gd name="T48" fmla="*/ 662 w 907"/>
                  <a:gd name="T49" fmla="*/ 475 h 1263"/>
                  <a:gd name="T50" fmla="*/ 848 w 907"/>
                  <a:gd name="T51" fmla="*/ 432 h 1263"/>
                  <a:gd name="T52" fmla="*/ 852 w 907"/>
                  <a:gd name="T53" fmla="*/ 428 h 1263"/>
                  <a:gd name="T54" fmla="*/ 503 w 907"/>
                  <a:gd name="T55" fmla="*/ 81 h 1263"/>
                  <a:gd name="T56" fmla="*/ 529 w 907"/>
                  <a:gd name="T57" fmla="*/ 170 h 1263"/>
                  <a:gd name="T58" fmla="*/ 585 w 907"/>
                  <a:gd name="T59" fmla="*/ 387 h 1263"/>
                  <a:gd name="T60" fmla="*/ 405 w 907"/>
                  <a:gd name="T61" fmla="*/ 447 h 1263"/>
                  <a:gd name="T62" fmla="*/ 498 w 907"/>
                  <a:gd name="T63" fmla="*/ 0 h 1263"/>
                  <a:gd name="T64" fmla="*/ 467 w 907"/>
                  <a:gd name="T65" fmla="*/ 20 h 1263"/>
                  <a:gd name="T66" fmla="*/ 442 w 907"/>
                  <a:gd name="T67" fmla="*/ 94 h 1263"/>
                  <a:gd name="T68" fmla="*/ 28 w 907"/>
                  <a:gd name="T69" fmla="*/ 487 h 1263"/>
                  <a:gd name="T70" fmla="*/ 0 w 907"/>
                  <a:gd name="T71" fmla="*/ 518 h 1263"/>
                  <a:gd name="T72" fmla="*/ 17 w 907"/>
                  <a:gd name="T73" fmla="*/ 549 h 1263"/>
                  <a:gd name="T74" fmla="*/ 66 w 907"/>
                  <a:gd name="T75" fmla="*/ 613 h 1263"/>
                  <a:gd name="T76" fmla="*/ 135 w 907"/>
                  <a:gd name="T77" fmla="*/ 1016 h 1263"/>
                  <a:gd name="T78" fmla="*/ 108 w 907"/>
                  <a:gd name="T79" fmla="*/ 1108 h 1263"/>
                  <a:gd name="T80" fmla="*/ 129 w 907"/>
                  <a:gd name="T81" fmla="*/ 1192 h 1263"/>
                  <a:gd name="T82" fmla="*/ 175 w 907"/>
                  <a:gd name="T83" fmla="*/ 1162 h 1263"/>
                  <a:gd name="T84" fmla="*/ 248 w 907"/>
                  <a:gd name="T85" fmla="*/ 1081 h 1263"/>
                  <a:gd name="T86" fmla="*/ 398 w 907"/>
                  <a:gd name="T87" fmla="*/ 947 h 1263"/>
                  <a:gd name="T88" fmla="*/ 723 w 907"/>
                  <a:gd name="T89" fmla="*/ 1251 h 1263"/>
                  <a:gd name="T90" fmla="*/ 778 w 907"/>
                  <a:gd name="T91" fmla="*/ 1246 h 1263"/>
                  <a:gd name="T92" fmla="*/ 785 w 907"/>
                  <a:gd name="T93" fmla="*/ 1200 h 1263"/>
                  <a:gd name="T94" fmla="*/ 735 w 907"/>
                  <a:gd name="T95" fmla="*/ 974 h 1263"/>
                  <a:gd name="T96" fmla="*/ 882 w 907"/>
                  <a:gd name="T97" fmla="*/ 474 h 1263"/>
                  <a:gd name="T98" fmla="*/ 898 w 907"/>
                  <a:gd name="T99" fmla="*/ 421 h 1263"/>
                  <a:gd name="T100" fmla="*/ 779 w 907"/>
                  <a:gd name="T101" fmla="*/ 408 h 1263"/>
                  <a:gd name="T102" fmla="*/ 651 w 907"/>
                  <a:gd name="T103" fmla="*/ 420 h 1263"/>
                  <a:gd name="T104" fmla="*/ 608 w 907"/>
                  <a:gd name="T105" fmla="*/ 248 h 1263"/>
                  <a:gd name="T106" fmla="*/ 550 w 907"/>
                  <a:gd name="T107" fmla="*/ 49 h 1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7" h="1263">
                    <a:moveTo>
                      <a:pt x="94" y="559"/>
                    </a:moveTo>
                    <a:lnTo>
                      <a:pt x="94" y="559"/>
                    </a:lnTo>
                    <a:lnTo>
                      <a:pt x="94" y="560"/>
                    </a:lnTo>
                    <a:lnTo>
                      <a:pt x="94" y="560"/>
                    </a:lnTo>
                    <a:cubicBezTo>
                      <a:pt x="93" y="559"/>
                      <a:pt x="93" y="559"/>
                      <a:pt x="93" y="559"/>
                    </a:cubicBezTo>
                    <a:lnTo>
                      <a:pt x="93" y="559"/>
                    </a:lnTo>
                    <a:cubicBezTo>
                      <a:pt x="93" y="559"/>
                      <a:pt x="93" y="559"/>
                      <a:pt x="94" y="559"/>
                    </a:cubicBezTo>
                    <a:close/>
                    <a:moveTo>
                      <a:pt x="754" y="1204"/>
                    </a:moveTo>
                    <a:lnTo>
                      <a:pt x="754" y="1204"/>
                    </a:lnTo>
                    <a:cubicBezTo>
                      <a:pt x="755" y="1204"/>
                      <a:pt x="755" y="1204"/>
                      <a:pt x="756" y="1204"/>
                    </a:cubicBezTo>
                    <a:lnTo>
                      <a:pt x="756" y="1204"/>
                    </a:lnTo>
                    <a:cubicBezTo>
                      <a:pt x="755" y="1204"/>
                      <a:pt x="755" y="1204"/>
                      <a:pt x="754" y="1204"/>
                    </a:cubicBezTo>
                    <a:close/>
                    <a:moveTo>
                      <a:pt x="182" y="1051"/>
                    </a:moveTo>
                    <a:lnTo>
                      <a:pt x="182" y="1051"/>
                    </a:lnTo>
                    <a:cubicBezTo>
                      <a:pt x="190" y="1025"/>
                      <a:pt x="198" y="1000"/>
                      <a:pt x="205" y="974"/>
                    </a:cubicBezTo>
                    <a:lnTo>
                      <a:pt x="205" y="974"/>
                    </a:lnTo>
                    <a:cubicBezTo>
                      <a:pt x="217" y="934"/>
                      <a:pt x="230" y="895"/>
                      <a:pt x="243" y="855"/>
                    </a:cubicBezTo>
                    <a:lnTo>
                      <a:pt x="243" y="855"/>
                    </a:lnTo>
                    <a:cubicBezTo>
                      <a:pt x="248" y="839"/>
                      <a:pt x="254" y="822"/>
                      <a:pt x="259" y="806"/>
                    </a:cubicBezTo>
                    <a:lnTo>
                      <a:pt x="259" y="806"/>
                    </a:lnTo>
                    <a:cubicBezTo>
                      <a:pt x="274" y="821"/>
                      <a:pt x="290" y="837"/>
                      <a:pt x="305" y="852"/>
                    </a:cubicBezTo>
                    <a:lnTo>
                      <a:pt x="305" y="852"/>
                    </a:lnTo>
                    <a:cubicBezTo>
                      <a:pt x="323" y="870"/>
                      <a:pt x="341" y="889"/>
                      <a:pt x="359" y="907"/>
                    </a:cubicBezTo>
                    <a:lnTo>
                      <a:pt x="359" y="907"/>
                    </a:lnTo>
                    <a:cubicBezTo>
                      <a:pt x="339" y="926"/>
                      <a:pt x="318" y="944"/>
                      <a:pt x="297" y="962"/>
                    </a:cubicBezTo>
                    <a:lnTo>
                      <a:pt x="297" y="962"/>
                    </a:lnTo>
                    <a:cubicBezTo>
                      <a:pt x="265" y="990"/>
                      <a:pt x="234" y="1016"/>
                      <a:pt x="204" y="1045"/>
                    </a:cubicBezTo>
                    <a:lnTo>
                      <a:pt x="204" y="1045"/>
                    </a:lnTo>
                    <a:cubicBezTo>
                      <a:pt x="194" y="1054"/>
                      <a:pt x="184" y="1065"/>
                      <a:pt x="175" y="1075"/>
                    </a:cubicBezTo>
                    <a:lnTo>
                      <a:pt x="175" y="1075"/>
                    </a:lnTo>
                    <a:cubicBezTo>
                      <a:pt x="177" y="1067"/>
                      <a:pt x="180" y="1059"/>
                      <a:pt x="182" y="1051"/>
                    </a:cubicBezTo>
                    <a:close/>
                    <a:moveTo>
                      <a:pt x="518" y="827"/>
                    </a:moveTo>
                    <a:lnTo>
                      <a:pt x="518" y="827"/>
                    </a:lnTo>
                    <a:cubicBezTo>
                      <a:pt x="559" y="785"/>
                      <a:pt x="601" y="742"/>
                      <a:pt x="642" y="700"/>
                    </a:cubicBezTo>
                    <a:lnTo>
                      <a:pt x="642" y="700"/>
                    </a:lnTo>
                    <a:cubicBezTo>
                      <a:pt x="646" y="729"/>
                      <a:pt x="649" y="757"/>
                      <a:pt x="653" y="786"/>
                    </a:cubicBezTo>
                    <a:lnTo>
                      <a:pt x="653" y="786"/>
                    </a:lnTo>
                    <a:cubicBezTo>
                      <a:pt x="662" y="866"/>
                      <a:pt x="672" y="947"/>
                      <a:pt x="688" y="1027"/>
                    </a:cubicBezTo>
                    <a:lnTo>
                      <a:pt x="688" y="1027"/>
                    </a:lnTo>
                    <a:cubicBezTo>
                      <a:pt x="694" y="1057"/>
                      <a:pt x="701" y="1088"/>
                      <a:pt x="708" y="1118"/>
                    </a:cubicBezTo>
                    <a:lnTo>
                      <a:pt x="708" y="1118"/>
                    </a:lnTo>
                    <a:cubicBezTo>
                      <a:pt x="712" y="1134"/>
                      <a:pt x="716" y="1150"/>
                      <a:pt x="720" y="1166"/>
                    </a:cubicBezTo>
                    <a:lnTo>
                      <a:pt x="720" y="1166"/>
                    </a:lnTo>
                    <a:cubicBezTo>
                      <a:pt x="722" y="1172"/>
                      <a:pt x="723" y="1178"/>
                      <a:pt x="725" y="1184"/>
                    </a:cubicBezTo>
                    <a:lnTo>
                      <a:pt x="725" y="1184"/>
                    </a:lnTo>
                    <a:cubicBezTo>
                      <a:pt x="699" y="1163"/>
                      <a:pt x="674" y="1139"/>
                      <a:pt x="650" y="1116"/>
                    </a:cubicBezTo>
                    <a:lnTo>
                      <a:pt x="650" y="1116"/>
                    </a:lnTo>
                    <a:cubicBezTo>
                      <a:pt x="622" y="1089"/>
                      <a:pt x="595" y="1062"/>
                      <a:pt x="567" y="1035"/>
                    </a:cubicBezTo>
                    <a:lnTo>
                      <a:pt x="567" y="1035"/>
                    </a:lnTo>
                    <a:cubicBezTo>
                      <a:pt x="524" y="993"/>
                      <a:pt x="481" y="951"/>
                      <a:pt x="438" y="908"/>
                    </a:cubicBezTo>
                    <a:lnTo>
                      <a:pt x="438" y="908"/>
                    </a:lnTo>
                    <a:cubicBezTo>
                      <a:pt x="465" y="882"/>
                      <a:pt x="492" y="855"/>
                      <a:pt x="518" y="827"/>
                    </a:cubicBezTo>
                    <a:close/>
                    <a:moveTo>
                      <a:pt x="619" y="547"/>
                    </a:moveTo>
                    <a:lnTo>
                      <a:pt x="619" y="547"/>
                    </a:lnTo>
                    <a:cubicBezTo>
                      <a:pt x="619" y="549"/>
                      <a:pt x="620" y="551"/>
                      <a:pt x="620" y="554"/>
                    </a:cubicBezTo>
                    <a:lnTo>
                      <a:pt x="620" y="554"/>
                    </a:lnTo>
                    <a:cubicBezTo>
                      <a:pt x="620" y="551"/>
                      <a:pt x="619" y="549"/>
                      <a:pt x="619" y="547"/>
                    </a:cubicBezTo>
                    <a:close/>
                    <a:moveTo>
                      <a:pt x="300" y="515"/>
                    </a:moveTo>
                    <a:lnTo>
                      <a:pt x="300" y="515"/>
                    </a:lnTo>
                    <a:cubicBezTo>
                      <a:pt x="295" y="528"/>
                      <a:pt x="290" y="542"/>
                      <a:pt x="285" y="556"/>
                    </a:cubicBezTo>
                    <a:lnTo>
                      <a:pt x="285" y="556"/>
                    </a:lnTo>
                    <a:cubicBezTo>
                      <a:pt x="268" y="604"/>
                      <a:pt x="251" y="652"/>
                      <a:pt x="235" y="701"/>
                    </a:cubicBezTo>
                    <a:lnTo>
                      <a:pt x="235" y="701"/>
                    </a:lnTo>
                    <a:cubicBezTo>
                      <a:pt x="212" y="677"/>
                      <a:pt x="189" y="653"/>
                      <a:pt x="164" y="630"/>
                    </a:cubicBezTo>
                    <a:lnTo>
                      <a:pt x="164" y="630"/>
                    </a:lnTo>
                    <a:cubicBezTo>
                      <a:pt x="151" y="619"/>
                      <a:pt x="139" y="608"/>
                      <a:pt x="126" y="596"/>
                    </a:cubicBezTo>
                    <a:lnTo>
                      <a:pt x="126" y="596"/>
                    </a:lnTo>
                    <a:cubicBezTo>
                      <a:pt x="115" y="584"/>
                      <a:pt x="104" y="572"/>
                      <a:pt x="94" y="560"/>
                    </a:cubicBezTo>
                    <a:lnTo>
                      <a:pt x="94" y="560"/>
                    </a:lnTo>
                    <a:cubicBezTo>
                      <a:pt x="94" y="561"/>
                      <a:pt x="94" y="561"/>
                      <a:pt x="95" y="562"/>
                    </a:cubicBezTo>
                    <a:lnTo>
                      <a:pt x="95" y="562"/>
                    </a:lnTo>
                    <a:cubicBezTo>
                      <a:pt x="94" y="561"/>
                      <a:pt x="94" y="560"/>
                      <a:pt x="94" y="559"/>
                    </a:cubicBezTo>
                    <a:lnTo>
                      <a:pt x="94" y="559"/>
                    </a:lnTo>
                    <a:cubicBezTo>
                      <a:pt x="93" y="558"/>
                      <a:pt x="91" y="557"/>
                      <a:pt x="90" y="556"/>
                    </a:cubicBezTo>
                    <a:lnTo>
                      <a:pt x="90" y="556"/>
                    </a:lnTo>
                    <a:cubicBezTo>
                      <a:pt x="91" y="557"/>
                      <a:pt x="92" y="558"/>
                      <a:pt x="93" y="559"/>
                    </a:cubicBezTo>
                    <a:lnTo>
                      <a:pt x="93" y="559"/>
                    </a:lnTo>
                    <a:cubicBezTo>
                      <a:pt x="88" y="552"/>
                      <a:pt x="83" y="546"/>
                      <a:pt x="79" y="539"/>
                    </a:cubicBezTo>
                    <a:lnTo>
                      <a:pt x="79" y="539"/>
                    </a:lnTo>
                    <a:cubicBezTo>
                      <a:pt x="152" y="531"/>
                      <a:pt x="226" y="523"/>
                      <a:pt x="300" y="515"/>
                    </a:cubicBezTo>
                    <a:close/>
                    <a:moveTo>
                      <a:pt x="607" y="481"/>
                    </a:moveTo>
                    <a:lnTo>
                      <a:pt x="607" y="481"/>
                    </a:lnTo>
                    <a:cubicBezTo>
                      <a:pt x="608" y="487"/>
                      <a:pt x="608" y="491"/>
                      <a:pt x="609" y="497"/>
                    </a:cubicBezTo>
                    <a:lnTo>
                      <a:pt x="609" y="497"/>
                    </a:lnTo>
                    <a:cubicBezTo>
                      <a:pt x="613" y="515"/>
                      <a:pt x="617" y="535"/>
                      <a:pt x="620" y="554"/>
                    </a:cubicBezTo>
                    <a:lnTo>
                      <a:pt x="620" y="554"/>
                    </a:lnTo>
                    <a:cubicBezTo>
                      <a:pt x="624" y="579"/>
                      <a:pt x="628" y="605"/>
                      <a:pt x="632" y="630"/>
                    </a:cubicBezTo>
                    <a:lnTo>
                      <a:pt x="632" y="630"/>
                    </a:lnTo>
                    <a:cubicBezTo>
                      <a:pt x="578" y="685"/>
                      <a:pt x="524" y="740"/>
                      <a:pt x="471" y="796"/>
                    </a:cubicBezTo>
                    <a:lnTo>
                      <a:pt x="471" y="796"/>
                    </a:lnTo>
                    <a:cubicBezTo>
                      <a:pt x="447" y="820"/>
                      <a:pt x="423" y="845"/>
                      <a:pt x="399" y="869"/>
                    </a:cubicBezTo>
                    <a:lnTo>
                      <a:pt x="399" y="869"/>
                    </a:lnTo>
                    <a:lnTo>
                      <a:pt x="399" y="869"/>
                    </a:lnTo>
                    <a:cubicBezTo>
                      <a:pt x="372" y="841"/>
                      <a:pt x="345" y="813"/>
                      <a:pt x="318" y="786"/>
                    </a:cubicBezTo>
                    <a:lnTo>
                      <a:pt x="318" y="786"/>
                    </a:lnTo>
                    <a:cubicBezTo>
                      <a:pt x="305" y="773"/>
                      <a:pt x="292" y="759"/>
                      <a:pt x="278" y="746"/>
                    </a:cubicBezTo>
                    <a:lnTo>
                      <a:pt x="278" y="746"/>
                    </a:lnTo>
                    <a:cubicBezTo>
                      <a:pt x="292" y="705"/>
                      <a:pt x="306" y="665"/>
                      <a:pt x="320" y="624"/>
                    </a:cubicBezTo>
                    <a:lnTo>
                      <a:pt x="320" y="624"/>
                    </a:lnTo>
                    <a:cubicBezTo>
                      <a:pt x="333" y="585"/>
                      <a:pt x="347" y="547"/>
                      <a:pt x="361" y="508"/>
                    </a:cubicBezTo>
                    <a:lnTo>
                      <a:pt x="361" y="508"/>
                    </a:lnTo>
                    <a:cubicBezTo>
                      <a:pt x="443" y="499"/>
                      <a:pt x="524" y="490"/>
                      <a:pt x="607" y="481"/>
                    </a:cubicBezTo>
                    <a:close/>
                    <a:moveTo>
                      <a:pt x="881" y="476"/>
                    </a:moveTo>
                    <a:lnTo>
                      <a:pt x="881" y="476"/>
                    </a:lnTo>
                    <a:cubicBezTo>
                      <a:pt x="880" y="477"/>
                      <a:pt x="880" y="477"/>
                      <a:pt x="879" y="478"/>
                    </a:cubicBezTo>
                    <a:lnTo>
                      <a:pt x="879" y="478"/>
                    </a:lnTo>
                    <a:cubicBezTo>
                      <a:pt x="880" y="477"/>
                      <a:pt x="880" y="477"/>
                      <a:pt x="881" y="476"/>
                    </a:cubicBezTo>
                    <a:close/>
                    <a:moveTo>
                      <a:pt x="735" y="468"/>
                    </a:moveTo>
                    <a:lnTo>
                      <a:pt x="735" y="468"/>
                    </a:lnTo>
                    <a:cubicBezTo>
                      <a:pt x="755" y="466"/>
                      <a:pt x="776" y="464"/>
                      <a:pt x="798" y="463"/>
                    </a:cubicBezTo>
                    <a:lnTo>
                      <a:pt x="798" y="463"/>
                    </a:lnTo>
                    <a:cubicBezTo>
                      <a:pt x="803" y="462"/>
                      <a:pt x="808" y="462"/>
                      <a:pt x="813" y="462"/>
                    </a:cubicBezTo>
                    <a:lnTo>
                      <a:pt x="813" y="462"/>
                    </a:lnTo>
                    <a:cubicBezTo>
                      <a:pt x="809" y="466"/>
                      <a:pt x="803" y="470"/>
                      <a:pt x="799" y="474"/>
                    </a:cubicBezTo>
                    <a:lnTo>
                      <a:pt x="799" y="474"/>
                    </a:lnTo>
                    <a:cubicBezTo>
                      <a:pt x="791" y="480"/>
                      <a:pt x="785" y="487"/>
                      <a:pt x="777" y="494"/>
                    </a:cubicBezTo>
                    <a:lnTo>
                      <a:pt x="777" y="494"/>
                    </a:lnTo>
                    <a:cubicBezTo>
                      <a:pt x="762" y="507"/>
                      <a:pt x="747" y="519"/>
                      <a:pt x="732" y="534"/>
                    </a:cubicBezTo>
                    <a:lnTo>
                      <a:pt x="732" y="534"/>
                    </a:lnTo>
                    <a:cubicBezTo>
                      <a:pt x="715" y="550"/>
                      <a:pt x="698" y="566"/>
                      <a:pt x="681" y="582"/>
                    </a:cubicBezTo>
                    <a:lnTo>
                      <a:pt x="681" y="582"/>
                    </a:lnTo>
                    <a:cubicBezTo>
                      <a:pt x="677" y="555"/>
                      <a:pt x="672" y="529"/>
                      <a:pt x="667" y="502"/>
                    </a:cubicBezTo>
                    <a:lnTo>
                      <a:pt x="667" y="502"/>
                    </a:lnTo>
                    <a:cubicBezTo>
                      <a:pt x="665" y="493"/>
                      <a:pt x="664" y="484"/>
                      <a:pt x="662" y="475"/>
                    </a:cubicBezTo>
                    <a:lnTo>
                      <a:pt x="662" y="475"/>
                    </a:lnTo>
                    <a:cubicBezTo>
                      <a:pt x="686" y="473"/>
                      <a:pt x="710" y="470"/>
                      <a:pt x="735" y="468"/>
                    </a:cubicBezTo>
                    <a:close/>
                    <a:moveTo>
                      <a:pt x="850" y="430"/>
                    </a:moveTo>
                    <a:lnTo>
                      <a:pt x="850" y="430"/>
                    </a:lnTo>
                    <a:cubicBezTo>
                      <a:pt x="849" y="431"/>
                      <a:pt x="849" y="432"/>
                      <a:pt x="848" y="432"/>
                    </a:cubicBezTo>
                    <a:lnTo>
                      <a:pt x="848" y="432"/>
                    </a:lnTo>
                    <a:cubicBezTo>
                      <a:pt x="849" y="432"/>
                      <a:pt x="849" y="431"/>
                      <a:pt x="850" y="430"/>
                    </a:cubicBezTo>
                    <a:close/>
                    <a:moveTo>
                      <a:pt x="853" y="427"/>
                    </a:moveTo>
                    <a:lnTo>
                      <a:pt x="853" y="427"/>
                    </a:lnTo>
                    <a:cubicBezTo>
                      <a:pt x="853" y="428"/>
                      <a:pt x="853" y="428"/>
                      <a:pt x="852" y="428"/>
                    </a:cubicBezTo>
                    <a:lnTo>
                      <a:pt x="852" y="428"/>
                    </a:lnTo>
                    <a:lnTo>
                      <a:pt x="852" y="428"/>
                    </a:lnTo>
                    <a:cubicBezTo>
                      <a:pt x="853" y="428"/>
                      <a:pt x="853" y="428"/>
                      <a:pt x="853" y="427"/>
                    </a:cubicBezTo>
                    <a:close/>
                    <a:moveTo>
                      <a:pt x="473" y="180"/>
                    </a:moveTo>
                    <a:lnTo>
                      <a:pt x="473" y="180"/>
                    </a:lnTo>
                    <a:cubicBezTo>
                      <a:pt x="483" y="147"/>
                      <a:pt x="493" y="114"/>
                      <a:pt x="503" y="81"/>
                    </a:cubicBezTo>
                    <a:lnTo>
                      <a:pt x="503" y="81"/>
                    </a:lnTo>
                    <a:cubicBezTo>
                      <a:pt x="509" y="97"/>
                      <a:pt x="514" y="114"/>
                      <a:pt x="518" y="131"/>
                    </a:cubicBezTo>
                    <a:lnTo>
                      <a:pt x="518" y="131"/>
                    </a:lnTo>
                    <a:cubicBezTo>
                      <a:pt x="522" y="144"/>
                      <a:pt x="526" y="157"/>
                      <a:pt x="529" y="170"/>
                    </a:cubicBezTo>
                    <a:lnTo>
                      <a:pt x="529" y="170"/>
                    </a:lnTo>
                    <a:cubicBezTo>
                      <a:pt x="535" y="192"/>
                      <a:pt x="541" y="215"/>
                      <a:pt x="547" y="238"/>
                    </a:cubicBezTo>
                    <a:lnTo>
                      <a:pt x="547" y="238"/>
                    </a:lnTo>
                    <a:cubicBezTo>
                      <a:pt x="557" y="272"/>
                      <a:pt x="566" y="307"/>
                      <a:pt x="575" y="341"/>
                    </a:cubicBezTo>
                    <a:lnTo>
                      <a:pt x="575" y="341"/>
                    </a:lnTo>
                    <a:cubicBezTo>
                      <a:pt x="579" y="356"/>
                      <a:pt x="582" y="372"/>
                      <a:pt x="585" y="387"/>
                    </a:cubicBezTo>
                    <a:lnTo>
                      <a:pt x="585" y="387"/>
                    </a:lnTo>
                    <a:cubicBezTo>
                      <a:pt x="589" y="400"/>
                      <a:pt x="592" y="413"/>
                      <a:pt x="595" y="427"/>
                    </a:cubicBezTo>
                    <a:lnTo>
                      <a:pt x="595" y="427"/>
                    </a:lnTo>
                    <a:cubicBezTo>
                      <a:pt x="531" y="433"/>
                      <a:pt x="468" y="440"/>
                      <a:pt x="405" y="447"/>
                    </a:cubicBezTo>
                    <a:lnTo>
                      <a:pt x="405" y="447"/>
                    </a:lnTo>
                    <a:cubicBezTo>
                      <a:pt x="397" y="448"/>
                      <a:pt x="389" y="449"/>
                      <a:pt x="381" y="450"/>
                    </a:cubicBezTo>
                    <a:lnTo>
                      <a:pt x="381" y="450"/>
                    </a:lnTo>
                    <a:cubicBezTo>
                      <a:pt x="413" y="360"/>
                      <a:pt x="444" y="270"/>
                      <a:pt x="473" y="180"/>
                    </a:cubicBezTo>
                    <a:close/>
                    <a:moveTo>
                      <a:pt x="498" y="0"/>
                    </a:moveTo>
                    <a:lnTo>
                      <a:pt x="498" y="0"/>
                    </a:lnTo>
                    <a:cubicBezTo>
                      <a:pt x="492" y="1"/>
                      <a:pt x="486" y="4"/>
                      <a:pt x="480" y="7"/>
                    </a:cubicBezTo>
                    <a:lnTo>
                      <a:pt x="480" y="7"/>
                    </a:lnTo>
                    <a:cubicBezTo>
                      <a:pt x="479" y="8"/>
                      <a:pt x="478" y="9"/>
                      <a:pt x="477" y="10"/>
                    </a:cubicBezTo>
                    <a:lnTo>
                      <a:pt x="477" y="10"/>
                    </a:lnTo>
                    <a:cubicBezTo>
                      <a:pt x="473" y="13"/>
                      <a:pt x="469" y="16"/>
                      <a:pt x="467" y="20"/>
                    </a:cubicBezTo>
                    <a:lnTo>
                      <a:pt x="467" y="20"/>
                    </a:lnTo>
                    <a:cubicBezTo>
                      <a:pt x="460" y="29"/>
                      <a:pt x="458" y="40"/>
                      <a:pt x="454" y="51"/>
                    </a:cubicBezTo>
                    <a:lnTo>
                      <a:pt x="454" y="51"/>
                    </a:lnTo>
                    <a:cubicBezTo>
                      <a:pt x="449" y="65"/>
                      <a:pt x="446" y="80"/>
                      <a:pt x="442" y="94"/>
                    </a:cubicBezTo>
                    <a:lnTo>
                      <a:pt x="442" y="94"/>
                    </a:lnTo>
                    <a:cubicBezTo>
                      <a:pt x="405" y="216"/>
                      <a:pt x="363" y="336"/>
                      <a:pt x="320" y="457"/>
                    </a:cubicBezTo>
                    <a:lnTo>
                      <a:pt x="320" y="457"/>
                    </a:lnTo>
                    <a:cubicBezTo>
                      <a:pt x="225" y="467"/>
                      <a:pt x="131" y="477"/>
                      <a:pt x="36" y="488"/>
                    </a:cubicBezTo>
                    <a:lnTo>
                      <a:pt x="36" y="488"/>
                    </a:lnTo>
                    <a:cubicBezTo>
                      <a:pt x="34" y="487"/>
                      <a:pt x="31" y="487"/>
                      <a:pt x="28" y="487"/>
                    </a:cubicBezTo>
                    <a:lnTo>
                      <a:pt x="28" y="487"/>
                    </a:lnTo>
                    <a:cubicBezTo>
                      <a:pt x="15" y="487"/>
                      <a:pt x="3" y="497"/>
                      <a:pt x="1" y="510"/>
                    </a:cubicBezTo>
                    <a:lnTo>
                      <a:pt x="1" y="510"/>
                    </a:lnTo>
                    <a:cubicBezTo>
                      <a:pt x="0" y="513"/>
                      <a:pt x="0" y="515"/>
                      <a:pt x="0" y="518"/>
                    </a:cubicBezTo>
                    <a:lnTo>
                      <a:pt x="0" y="518"/>
                    </a:lnTo>
                    <a:cubicBezTo>
                      <a:pt x="0" y="524"/>
                      <a:pt x="3" y="529"/>
                      <a:pt x="7" y="535"/>
                    </a:cubicBezTo>
                    <a:lnTo>
                      <a:pt x="7" y="535"/>
                    </a:lnTo>
                    <a:cubicBezTo>
                      <a:pt x="8" y="536"/>
                      <a:pt x="9" y="537"/>
                      <a:pt x="10" y="538"/>
                    </a:cubicBezTo>
                    <a:lnTo>
                      <a:pt x="10" y="538"/>
                    </a:lnTo>
                    <a:cubicBezTo>
                      <a:pt x="12" y="542"/>
                      <a:pt x="15" y="545"/>
                      <a:pt x="17" y="549"/>
                    </a:cubicBezTo>
                    <a:lnTo>
                      <a:pt x="17" y="549"/>
                    </a:lnTo>
                    <a:cubicBezTo>
                      <a:pt x="22" y="555"/>
                      <a:pt x="26" y="562"/>
                      <a:pt x="31" y="568"/>
                    </a:cubicBezTo>
                    <a:lnTo>
                      <a:pt x="31" y="568"/>
                    </a:lnTo>
                    <a:cubicBezTo>
                      <a:pt x="41" y="584"/>
                      <a:pt x="53" y="598"/>
                      <a:pt x="66" y="613"/>
                    </a:cubicBezTo>
                    <a:lnTo>
                      <a:pt x="66" y="613"/>
                    </a:lnTo>
                    <a:cubicBezTo>
                      <a:pt x="90" y="640"/>
                      <a:pt x="118" y="664"/>
                      <a:pt x="144" y="689"/>
                    </a:cubicBezTo>
                    <a:lnTo>
                      <a:pt x="144" y="689"/>
                    </a:lnTo>
                    <a:cubicBezTo>
                      <a:pt x="169" y="712"/>
                      <a:pt x="192" y="736"/>
                      <a:pt x="215" y="760"/>
                    </a:cubicBezTo>
                    <a:lnTo>
                      <a:pt x="215" y="760"/>
                    </a:lnTo>
                    <a:cubicBezTo>
                      <a:pt x="187" y="846"/>
                      <a:pt x="160" y="931"/>
                      <a:pt x="135" y="1016"/>
                    </a:cubicBezTo>
                    <a:lnTo>
                      <a:pt x="135" y="1016"/>
                    </a:lnTo>
                    <a:cubicBezTo>
                      <a:pt x="131" y="1030"/>
                      <a:pt x="127" y="1043"/>
                      <a:pt x="123" y="1057"/>
                    </a:cubicBezTo>
                    <a:lnTo>
                      <a:pt x="123" y="1057"/>
                    </a:lnTo>
                    <a:cubicBezTo>
                      <a:pt x="117" y="1074"/>
                      <a:pt x="113" y="1091"/>
                      <a:pt x="108" y="1108"/>
                    </a:cubicBezTo>
                    <a:lnTo>
                      <a:pt x="108" y="1108"/>
                    </a:lnTo>
                    <a:cubicBezTo>
                      <a:pt x="103" y="1127"/>
                      <a:pt x="102" y="1146"/>
                      <a:pt x="100" y="1166"/>
                    </a:cubicBezTo>
                    <a:lnTo>
                      <a:pt x="100" y="1166"/>
                    </a:lnTo>
                    <a:cubicBezTo>
                      <a:pt x="100" y="1172"/>
                      <a:pt x="104" y="1180"/>
                      <a:pt x="109" y="1184"/>
                    </a:cubicBezTo>
                    <a:lnTo>
                      <a:pt x="109" y="1184"/>
                    </a:lnTo>
                    <a:cubicBezTo>
                      <a:pt x="114" y="1190"/>
                      <a:pt x="122" y="1193"/>
                      <a:pt x="129" y="1192"/>
                    </a:cubicBezTo>
                    <a:lnTo>
                      <a:pt x="129" y="1192"/>
                    </a:lnTo>
                    <a:cubicBezTo>
                      <a:pt x="140" y="1192"/>
                      <a:pt x="149" y="1190"/>
                      <a:pt x="157" y="1184"/>
                    </a:cubicBezTo>
                    <a:lnTo>
                      <a:pt x="157" y="1184"/>
                    </a:lnTo>
                    <a:cubicBezTo>
                      <a:pt x="165" y="1178"/>
                      <a:pt x="170" y="1170"/>
                      <a:pt x="175" y="1162"/>
                    </a:cubicBezTo>
                    <a:lnTo>
                      <a:pt x="175" y="1162"/>
                    </a:lnTo>
                    <a:cubicBezTo>
                      <a:pt x="174" y="1164"/>
                      <a:pt x="172" y="1166"/>
                      <a:pt x="171" y="1167"/>
                    </a:cubicBezTo>
                    <a:lnTo>
                      <a:pt x="171" y="1167"/>
                    </a:lnTo>
                    <a:cubicBezTo>
                      <a:pt x="182" y="1152"/>
                      <a:pt x="195" y="1136"/>
                      <a:pt x="208" y="1122"/>
                    </a:cubicBezTo>
                    <a:lnTo>
                      <a:pt x="208" y="1122"/>
                    </a:lnTo>
                    <a:cubicBezTo>
                      <a:pt x="221" y="1107"/>
                      <a:pt x="234" y="1093"/>
                      <a:pt x="248" y="1081"/>
                    </a:cubicBezTo>
                    <a:lnTo>
                      <a:pt x="248" y="1081"/>
                    </a:lnTo>
                    <a:cubicBezTo>
                      <a:pt x="279" y="1051"/>
                      <a:pt x="311" y="1023"/>
                      <a:pt x="344" y="995"/>
                    </a:cubicBezTo>
                    <a:lnTo>
                      <a:pt x="344" y="995"/>
                    </a:lnTo>
                    <a:cubicBezTo>
                      <a:pt x="362" y="980"/>
                      <a:pt x="381" y="963"/>
                      <a:pt x="398" y="947"/>
                    </a:cubicBezTo>
                    <a:lnTo>
                      <a:pt x="398" y="947"/>
                    </a:lnTo>
                    <a:cubicBezTo>
                      <a:pt x="478" y="1026"/>
                      <a:pt x="558" y="1106"/>
                      <a:pt x="639" y="1183"/>
                    </a:cubicBezTo>
                    <a:lnTo>
                      <a:pt x="639" y="1183"/>
                    </a:lnTo>
                    <a:cubicBezTo>
                      <a:pt x="651" y="1194"/>
                      <a:pt x="662" y="1204"/>
                      <a:pt x="674" y="1214"/>
                    </a:cubicBezTo>
                    <a:lnTo>
                      <a:pt x="674" y="1214"/>
                    </a:lnTo>
                    <a:cubicBezTo>
                      <a:pt x="689" y="1228"/>
                      <a:pt x="705" y="1241"/>
                      <a:pt x="723" y="1251"/>
                    </a:cubicBezTo>
                    <a:lnTo>
                      <a:pt x="723" y="1251"/>
                    </a:lnTo>
                    <a:cubicBezTo>
                      <a:pt x="738" y="1259"/>
                      <a:pt x="756" y="1262"/>
                      <a:pt x="770" y="1253"/>
                    </a:cubicBezTo>
                    <a:lnTo>
                      <a:pt x="770" y="1253"/>
                    </a:lnTo>
                    <a:cubicBezTo>
                      <a:pt x="773" y="1251"/>
                      <a:pt x="776" y="1249"/>
                      <a:pt x="778" y="1246"/>
                    </a:cubicBezTo>
                    <a:lnTo>
                      <a:pt x="778" y="1246"/>
                    </a:lnTo>
                    <a:cubicBezTo>
                      <a:pt x="781" y="1242"/>
                      <a:pt x="785" y="1235"/>
                      <a:pt x="786" y="1230"/>
                    </a:cubicBezTo>
                    <a:lnTo>
                      <a:pt x="786" y="1230"/>
                    </a:lnTo>
                    <a:cubicBezTo>
                      <a:pt x="786" y="1226"/>
                      <a:pt x="787" y="1222"/>
                      <a:pt x="787" y="1217"/>
                    </a:cubicBezTo>
                    <a:lnTo>
                      <a:pt x="787" y="1217"/>
                    </a:lnTo>
                    <a:cubicBezTo>
                      <a:pt x="787" y="1212"/>
                      <a:pt x="786" y="1206"/>
                      <a:pt x="785" y="1200"/>
                    </a:cubicBezTo>
                    <a:lnTo>
                      <a:pt x="785" y="1200"/>
                    </a:lnTo>
                    <a:cubicBezTo>
                      <a:pt x="782" y="1183"/>
                      <a:pt x="778" y="1167"/>
                      <a:pt x="773" y="1150"/>
                    </a:cubicBezTo>
                    <a:lnTo>
                      <a:pt x="773" y="1150"/>
                    </a:lnTo>
                    <a:cubicBezTo>
                      <a:pt x="759" y="1092"/>
                      <a:pt x="746" y="1033"/>
                      <a:pt x="735" y="974"/>
                    </a:cubicBezTo>
                    <a:lnTo>
                      <a:pt x="735" y="974"/>
                    </a:lnTo>
                    <a:cubicBezTo>
                      <a:pt x="722" y="896"/>
                      <a:pt x="713" y="818"/>
                      <a:pt x="703" y="740"/>
                    </a:cubicBezTo>
                    <a:lnTo>
                      <a:pt x="703" y="740"/>
                    </a:lnTo>
                    <a:cubicBezTo>
                      <a:pt x="699" y="710"/>
                      <a:pt x="696" y="680"/>
                      <a:pt x="691" y="650"/>
                    </a:cubicBezTo>
                    <a:lnTo>
                      <a:pt x="691" y="650"/>
                    </a:lnTo>
                    <a:cubicBezTo>
                      <a:pt x="753" y="589"/>
                      <a:pt x="818" y="531"/>
                      <a:pt x="882" y="474"/>
                    </a:cubicBezTo>
                    <a:lnTo>
                      <a:pt x="882" y="474"/>
                    </a:lnTo>
                    <a:cubicBezTo>
                      <a:pt x="890" y="469"/>
                      <a:pt x="897" y="463"/>
                      <a:pt x="901" y="454"/>
                    </a:cubicBezTo>
                    <a:lnTo>
                      <a:pt x="901" y="454"/>
                    </a:lnTo>
                    <a:cubicBezTo>
                      <a:pt x="906" y="443"/>
                      <a:pt x="904" y="432"/>
                      <a:pt x="898" y="421"/>
                    </a:cubicBezTo>
                    <a:lnTo>
                      <a:pt x="898" y="421"/>
                    </a:lnTo>
                    <a:cubicBezTo>
                      <a:pt x="891" y="409"/>
                      <a:pt x="877" y="407"/>
                      <a:pt x="864" y="407"/>
                    </a:cubicBezTo>
                    <a:lnTo>
                      <a:pt x="864" y="407"/>
                    </a:lnTo>
                    <a:cubicBezTo>
                      <a:pt x="856" y="406"/>
                      <a:pt x="847" y="406"/>
                      <a:pt x="838" y="406"/>
                    </a:cubicBezTo>
                    <a:lnTo>
                      <a:pt x="838" y="406"/>
                    </a:lnTo>
                    <a:cubicBezTo>
                      <a:pt x="818" y="405"/>
                      <a:pt x="798" y="407"/>
                      <a:pt x="779" y="408"/>
                    </a:cubicBezTo>
                    <a:lnTo>
                      <a:pt x="779" y="408"/>
                    </a:lnTo>
                    <a:cubicBezTo>
                      <a:pt x="740" y="411"/>
                      <a:pt x="702" y="415"/>
                      <a:pt x="665" y="419"/>
                    </a:cubicBezTo>
                    <a:lnTo>
                      <a:pt x="665" y="419"/>
                    </a:lnTo>
                    <a:cubicBezTo>
                      <a:pt x="660" y="420"/>
                      <a:pt x="655" y="420"/>
                      <a:pt x="651" y="420"/>
                    </a:cubicBezTo>
                    <a:lnTo>
                      <a:pt x="651" y="420"/>
                    </a:lnTo>
                    <a:cubicBezTo>
                      <a:pt x="648" y="405"/>
                      <a:pt x="644" y="390"/>
                      <a:pt x="639" y="374"/>
                    </a:cubicBezTo>
                    <a:lnTo>
                      <a:pt x="639" y="374"/>
                    </a:lnTo>
                    <a:cubicBezTo>
                      <a:pt x="636" y="357"/>
                      <a:pt x="632" y="340"/>
                      <a:pt x="628" y="323"/>
                    </a:cubicBezTo>
                    <a:lnTo>
                      <a:pt x="628" y="323"/>
                    </a:lnTo>
                    <a:cubicBezTo>
                      <a:pt x="621" y="298"/>
                      <a:pt x="614" y="273"/>
                      <a:pt x="608" y="248"/>
                    </a:cubicBezTo>
                    <a:lnTo>
                      <a:pt x="608" y="248"/>
                    </a:lnTo>
                    <a:cubicBezTo>
                      <a:pt x="597" y="206"/>
                      <a:pt x="585" y="164"/>
                      <a:pt x="574" y="121"/>
                    </a:cubicBezTo>
                    <a:lnTo>
                      <a:pt x="574" y="121"/>
                    </a:lnTo>
                    <a:cubicBezTo>
                      <a:pt x="567" y="97"/>
                      <a:pt x="560" y="72"/>
                      <a:pt x="550" y="49"/>
                    </a:cubicBezTo>
                    <a:lnTo>
                      <a:pt x="550" y="49"/>
                    </a:lnTo>
                    <a:cubicBezTo>
                      <a:pt x="542" y="28"/>
                      <a:pt x="527" y="0"/>
                      <a:pt x="502" y="0"/>
                    </a:cubicBezTo>
                    <a:lnTo>
                      <a:pt x="502" y="0"/>
                    </a:lnTo>
                    <a:cubicBezTo>
                      <a:pt x="501" y="0"/>
                      <a:pt x="500" y="0"/>
                      <a:pt x="49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66C4400-D837-E741-B566-A49D58759A48}"/>
                  </a:ext>
                </a:extLst>
              </p:cNvPr>
              <p:cNvGrpSpPr/>
              <p:nvPr/>
            </p:nvGrpSpPr>
            <p:grpSpPr>
              <a:xfrm>
                <a:off x="1849498" y="3345076"/>
                <a:ext cx="192300" cy="208534"/>
                <a:chOff x="7180263" y="479425"/>
                <a:chExt cx="244475" cy="265113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90" name="Freeform 214">
                  <a:extLst>
                    <a:ext uri="{FF2B5EF4-FFF2-40B4-BE49-F238E27FC236}">
                      <a16:creationId xmlns:a16="http://schemas.microsoft.com/office/drawing/2014/main" id="{CD318B7E-39D7-E846-B147-DCA4DFBDD2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51700" y="492125"/>
                  <a:ext cx="69850" cy="236538"/>
                </a:xfrm>
                <a:custGeom>
                  <a:avLst/>
                  <a:gdLst>
                    <a:gd name="T0" fmla="*/ 20 w 195"/>
                    <a:gd name="T1" fmla="*/ 0 h 656"/>
                    <a:gd name="T2" fmla="*/ 20 w 195"/>
                    <a:gd name="T3" fmla="*/ 0 h 656"/>
                    <a:gd name="T4" fmla="*/ 3 w 195"/>
                    <a:gd name="T5" fmla="*/ 13 h 656"/>
                    <a:gd name="T6" fmla="*/ 3 w 195"/>
                    <a:gd name="T7" fmla="*/ 13 h 656"/>
                    <a:gd name="T8" fmla="*/ 1 w 195"/>
                    <a:gd name="T9" fmla="*/ 35 h 656"/>
                    <a:gd name="T10" fmla="*/ 1 w 195"/>
                    <a:gd name="T11" fmla="*/ 35 h 656"/>
                    <a:gd name="T12" fmla="*/ 71 w 195"/>
                    <a:gd name="T13" fmla="*/ 352 h 656"/>
                    <a:gd name="T14" fmla="*/ 71 w 195"/>
                    <a:gd name="T15" fmla="*/ 352 h 656"/>
                    <a:gd name="T16" fmla="*/ 129 w 195"/>
                    <a:gd name="T17" fmla="*/ 595 h 656"/>
                    <a:gd name="T18" fmla="*/ 129 w 195"/>
                    <a:gd name="T19" fmla="*/ 595 h 656"/>
                    <a:gd name="T20" fmla="*/ 138 w 195"/>
                    <a:gd name="T21" fmla="*/ 632 h 656"/>
                    <a:gd name="T22" fmla="*/ 138 w 195"/>
                    <a:gd name="T23" fmla="*/ 632 h 656"/>
                    <a:gd name="T24" fmla="*/ 172 w 195"/>
                    <a:gd name="T25" fmla="*/ 650 h 656"/>
                    <a:gd name="T26" fmla="*/ 172 w 195"/>
                    <a:gd name="T27" fmla="*/ 650 h 656"/>
                    <a:gd name="T28" fmla="*/ 191 w 195"/>
                    <a:gd name="T29" fmla="*/ 616 h 656"/>
                    <a:gd name="T30" fmla="*/ 191 w 195"/>
                    <a:gd name="T31" fmla="*/ 616 h 656"/>
                    <a:gd name="T32" fmla="*/ 127 w 195"/>
                    <a:gd name="T33" fmla="*/ 347 h 656"/>
                    <a:gd name="T34" fmla="*/ 127 w 195"/>
                    <a:gd name="T35" fmla="*/ 347 h 656"/>
                    <a:gd name="T36" fmla="*/ 103 w 195"/>
                    <a:gd name="T37" fmla="*/ 241 h 656"/>
                    <a:gd name="T38" fmla="*/ 103 w 195"/>
                    <a:gd name="T39" fmla="*/ 241 h 656"/>
                    <a:gd name="T40" fmla="*/ 70 w 195"/>
                    <a:gd name="T41" fmla="*/ 87 h 656"/>
                    <a:gd name="T42" fmla="*/ 70 w 195"/>
                    <a:gd name="T43" fmla="*/ 87 h 656"/>
                    <a:gd name="T44" fmla="*/ 55 w 195"/>
                    <a:gd name="T45" fmla="*/ 19 h 656"/>
                    <a:gd name="T46" fmla="*/ 55 w 195"/>
                    <a:gd name="T47" fmla="*/ 19 h 656"/>
                    <a:gd name="T48" fmla="*/ 27 w 195"/>
                    <a:gd name="T49" fmla="*/ 0 h 656"/>
                    <a:gd name="T50" fmla="*/ 27 w 195"/>
                    <a:gd name="T51" fmla="*/ 0 h 656"/>
                    <a:gd name="T52" fmla="*/ 20 w 195"/>
                    <a:gd name="T53" fmla="*/ 0 h 6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5" h="656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3" y="2"/>
                        <a:pt x="7" y="7"/>
                        <a:pt x="3" y="13"/>
                      </a:cubicBezTo>
                      <a:lnTo>
                        <a:pt x="3" y="13"/>
                      </a:lnTo>
                      <a:cubicBezTo>
                        <a:pt x="0" y="21"/>
                        <a:pt x="0" y="28"/>
                        <a:pt x="1" y="35"/>
                      </a:cubicBezTo>
                      <a:lnTo>
                        <a:pt x="1" y="35"/>
                      </a:lnTo>
                      <a:cubicBezTo>
                        <a:pt x="25" y="140"/>
                        <a:pt x="48" y="246"/>
                        <a:pt x="71" y="352"/>
                      </a:cubicBezTo>
                      <a:lnTo>
                        <a:pt x="71" y="352"/>
                      </a:lnTo>
                      <a:cubicBezTo>
                        <a:pt x="89" y="433"/>
                        <a:pt x="110" y="514"/>
                        <a:pt x="129" y="595"/>
                      </a:cubicBezTo>
                      <a:lnTo>
                        <a:pt x="129" y="595"/>
                      </a:lnTo>
                      <a:cubicBezTo>
                        <a:pt x="132" y="607"/>
                        <a:pt x="135" y="620"/>
                        <a:pt x="138" y="632"/>
                      </a:cubicBezTo>
                      <a:lnTo>
                        <a:pt x="138" y="632"/>
                      </a:lnTo>
                      <a:cubicBezTo>
                        <a:pt x="141" y="647"/>
                        <a:pt x="158" y="655"/>
                        <a:pt x="172" y="650"/>
                      </a:cubicBezTo>
                      <a:lnTo>
                        <a:pt x="172" y="650"/>
                      </a:lnTo>
                      <a:cubicBezTo>
                        <a:pt x="188" y="646"/>
                        <a:pt x="194" y="630"/>
                        <a:pt x="191" y="616"/>
                      </a:cubicBezTo>
                      <a:lnTo>
                        <a:pt x="191" y="616"/>
                      </a:lnTo>
                      <a:cubicBezTo>
                        <a:pt x="170" y="526"/>
                        <a:pt x="148" y="437"/>
                        <a:pt x="127" y="347"/>
                      </a:cubicBezTo>
                      <a:lnTo>
                        <a:pt x="127" y="347"/>
                      </a:lnTo>
                      <a:cubicBezTo>
                        <a:pt x="119" y="312"/>
                        <a:pt x="111" y="276"/>
                        <a:pt x="103" y="241"/>
                      </a:cubicBezTo>
                      <a:lnTo>
                        <a:pt x="103" y="241"/>
                      </a:lnTo>
                      <a:cubicBezTo>
                        <a:pt x="92" y="190"/>
                        <a:pt x="81" y="139"/>
                        <a:pt x="70" y="87"/>
                      </a:cubicBezTo>
                      <a:lnTo>
                        <a:pt x="70" y="87"/>
                      </a:lnTo>
                      <a:cubicBezTo>
                        <a:pt x="65" y="65"/>
                        <a:pt x="60" y="42"/>
                        <a:pt x="55" y="19"/>
                      </a:cubicBezTo>
                      <a:lnTo>
                        <a:pt x="55" y="19"/>
                      </a:lnTo>
                      <a:cubicBezTo>
                        <a:pt x="52" y="6"/>
                        <a:pt x="39" y="0"/>
                        <a:pt x="27" y="0"/>
                      </a:cubicBezTo>
                      <a:lnTo>
                        <a:pt x="27" y="0"/>
                      </a:lnTo>
                      <a:cubicBezTo>
                        <a:pt x="25" y="0"/>
                        <a:pt x="22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215">
                  <a:extLst>
                    <a:ext uri="{FF2B5EF4-FFF2-40B4-BE49-F238E27FC236}">
                      <a16:creationId xmlns:a16="http://schemas.microsoft.com/office/drawing/2014/main" id="{369A50EE-60D9-414E-84E0-ED400D2441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0263" y="555625"/>
                  <a:ext cx="244475" cy="61913"/>
                </a:xfrm>
                <a:custGeom>
                  <a:avLst/>
                  <a:gdLst>
                    <a:gd name="T0" fmla="*/ 632 w 677"/>
                    <a:gd name="T1" fmla="*/ 4 h 170"/>
                    <a:gd name="T2" fmla="*/ 632 w 677"/>
                    <a:gd name="T3" fmla="*/ 4 h 170"/>
                    <a:gd name="T4" fmla="*/ 582 w 677"/>
                    <a:gd name="T5" fmla="*/ 16 h 170"/>
                    <a:gd name="T6" fmla="*/ 582 w 677"/>
                    <a:gd name="T7" fmla="*/ 16 h 170"/>
                    <a:gd name="T8" fmla="*/ 547 w 677"/>
                    <a:gd name="T9" fmla="*/ 23 h 170"/>
                    <a:gd name="T10" fmla="*/ 547 w 677"/>
                    <a:gd name="T11" fmla="*/ 23 h 170"/>
                    <a:gd name="T12" fmla="*/ 463 w 677"/>
                    <a:gd name="T13" fmla="*/ 38 h 170"/>
                    <a:gd name="T14" fmla="*/ 463 w 677"/>
                    <a:gd name="T15" fmla="*/ 38 h 170"/>
                    <a:gd name="T16" fmla="*/ 312 w 677"/>
                    <a:gd name="T17" fmla="*/ 66 h 170"/>
                    <a:gd name="T18" fmla="*/ 312 w 677"/>
                    <a:gd name="T19" fmla="*/ 66 h 170"/>
                    <a:gd name="T20" fmla="*/ 313 w 677"/>
                    <a:gd name="T21" fmla="*/ 66 h 170"/>
                    <a:gd name="T22" fmla="*/ 313 w 677"/>
                    <a:gd name="T23" fmla="*/ 66 h 170"/>
                    <a:gd name="T24" fmla="*/ 27 w 677"/>
                    <a:gd name="T25" fmla="*/ 113 h 170"/>
                    <a:gd name="T26" fmla="*/ 27 w 677"/>
                    <a:gd name="T27" fmla="*/ 113 h 170"/>
                    <a:gd name="T28" fmla="*/ 8 w 677"/>
                    <a:gd name="T29" fmla="*/ 121 h 170"/>
                    <a:gd name="T30" fmla="*/ 8 w 677"/>
                    <a:gd name="T31" fmla="*/ 121 h 170"/>
                    <a:gd name="T32" fmla="*/ 0 w 677"/>
                    <a:gd name="T33" fmla="*/ 142 h 170"/>
                    <a:gd name="T34" fmla="*/ 0 w 677"/>
                    <a:gd name="T35" fmla="*/ 142 h 170"/>
                    <a:gd name="T36" fmla="*/ 9 w 677"/>
                    <a:gd name="T37" fmla="*/ 161 h 170"/>
                    <a:gd name="T38" fmla="*/ 9 w 677"/>
                    <a:gd name="T39" fmla="*/ 161 h 170"/>
                    <a:gd name="T40" fmla="*/ 29 w 677"/>
                    <a:gd name="T41" fmla="*/ 168 h 170"/>
                    <a:gd name="T42" fmla="*/ 29 w 677"/>
                    <a:gd name="T43" fmla="*/ 168 h 170"/>
                    <a:gd name="T44" fmla="*/ 590 w 677"/>
                    <a:gd name="T45" fmla="*/ 71 h 170"/>
                    <a:gd name="T46" fmla="*/ 590 w 677"/>
                    <a:gd name="T47" fmla="*/ 71 h 170"/>
                    <a:gd name="T48" fmla="*/ 613 w 677"/>
                    <a:gd name="T49" fmla="*/ 66 h 170"/>
                    <a:gd name="T50" fmla="*/ 613 w 677"/>
                    <a:gd name="T51" fmla="*/ 66 h 170"/>
                    <a:gd name="T52" fmla="*/ 629 w 677"/>
                    <a:gd name="T53" fmla="*/ 63 h 170"/>
                    <a:gd name="T54" fmla="*/ 629 w 677"/>
                    <a:gd name="T55" fmla="*/ 63 h 170"/>
                    <a:gd name="T56" fmla="*/ 662 w 677"/>
                    <a:gd name="T57" fmla="*/ 52 h 170"/>
                    <a:gd name="T58" fmla="*/ 662 w 677"/>
                    <a:gd name="T59" fmla="*/ 52 h 170"/>
                    <a:gd name="T60" fmla="*/ 674 w 677"/>
                    <a:gd name="T61" fmla="*/ 34 h 170"/>
                    <a:gd name="T62" fmla="*/ 674 w 677"/>
                    <a:gd name="T63" fmla="*/ 34 h 170"/>
                    <a:gd name="T64" fmla="*/ 671 w 677"/>
                    <a:gd name="T65" fmla="*/ 13 h 170"/>
                    <a:gd name="T66" fmla="*/ 671 w 677"/>
                    <a:gd name="T67" fmla="*/ 13 h 170"/>
                    <a:gd name="T68" fmla="*/ 653 w 677"/>
                    <a:gd name="T69" fmla="*/ 0 h 170"/>
                    <a:gd name="T70" fmla="*/ 653 w 677"/>
                    <a:gd name="T71" fmla="*/ 0 h 170"/>
                    <a:gd name="T72" fmla="*/ 648 w 677"/>
                    <a:gd name="T73" fmla="*/ 0 h 170"/>
                    <a:gd name="T74" fmla="*/ 648 w 677"/>
                    <a:gd name="T75" fmla="*/ 0 h 170"/>
                    <a:gd name="T76" fmla="*/ 632 w 677"/>
                    <a:gd name="T77" fmla="*/ 4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77" h="170">
                      <a:moveTo>
                        <a:pt x="632" y="4"/>
                      </a:moveTo>
                      <a:lnTo>
                        <a:pt x="632" y="4"/>
                      </a:lnTo>
                      <a:cubicBezTo>
                        <a:pt x="616" y="10"/>
                        <a:pt x="598" y="13"/>
                        <a:pt x="582" y="16"/>
                      </a:cubicBezTo>
                      <a:lnTo>
                        <a:pt x="582" y="16"/>
                      </a:lnTo>
                      <a:cubicBezTo>
                        <a:pt x="570" y="19"/>
                        <a:pt x="558" y="21"/>
                        <a:pt x="547" y="23"/>
                      </a:cubicBezTo>
                      <a:lnTo>
                        <a:pt x="547" y="23"/>
                      </a:lnTo>
                      <a:cubicBezTo>
                        <a:pt x="518" y="28"/>
                        <a:pt x="491" y="34"/>
                        <a:pt x="463" y="38"/>
                      </a:cubicBezTo>
                      <a:lnTo>
                        <a:pt x="463" y="38"/>
                      </a:lnTo>
                      <a:cubicBezTo>
                        <a:pt x="413" y="48"/>
                        <a:pt x="362" y="57"/>
                        <a:pt x="312" y="66"/>
                      </a:cubicBezTo>
                      <a:lnTo>
                        <a:pt x="312" y="66"/>
                      </a:lnTo>
                      <a:lnTo>
                        <a:pt x="313" y="66"/>
                      </a:lnTo>
                      <a:lnTo>
                        <a:pt x="313" y="66"/>
                      </a:lnTo>
                      <a:cubicBezTo>
                        <a:pt x="218" y="81"/>
                        <a:pt x="123" y="97"/>
                        <a:pt x="27" y="113"/>
                      </a:cubicBezTo>
                      <a:lnTo>
                        <a:pt x="27" y="113"/>
                      </a:lnTo>
                      <a:cubicBezTo>
                        <a:pt x="19" y="114"/>
                        <a:pt x="13" y="116"/>
                        <a:pt x="8" y="121"/>
                      </a:cubicBezTo>
                      <a:lnTo>
                        <a:pt x="8" y="121"/>
                      </a:lnTo>
                      <a:cubicBezTo>
                        <a:pt x="3" y="127"/>
                        <a:pt x="0" y="134"/>
                        <a:pt x="0" y="142"/>
                      </a:cubicBezTo>
                      <a:lnTo>
                        <a:pt x="0" y="142"/>
                      </a:lnTo>
                      <a:cubicBezTo>
                        <a:pt x="0" y="149"/>
                        <a:pt x="3" y="156"/>
                        <a:pt x="9" y="161"/>
                      </a:cubicBezTo>
                      <a:lnTo>
                        <a:pt x="9" y="161"/>
                      </a:lnTo>
                      <a:cubicBezTo>
                        <a:pt x="14" y="165"/>
                        <a:pt x="22" y="169"/>
                        <a:pt x="29" y="168"/>
                      </a:cubicBezTo>
                      <a:lnTo>
                        <a:pt x="29" y="168"/>
                      </a:lnTo>
                      <a:cubicBezTo>
                        <a:pt x="216" y="138"/>
                        <a:pt x="404" y="107"/>
                        <a:pt x="590" y="71"/>
                      </a:cubicBezTo>
                      <a:lnTo>
                        <a:pt x="590" y="71"/>
                      </a:lnTo>
                      <a:cubicBezTo>
                        <a:pt x="598" y="70"/>
                        <a:pt x="606" y="68"/>
                        <a:pt x="613" y="66"/>
                      </a:cubicBezTo>
                      <a:lnTo>
                        <a:pt x="613" y="66"/>
                      </a:lnTo>
                      <a:cubicBezTo>
                        <a:pt x="619" y="65"/>
                        <a:pt x="624" y="64"/>
                        <a:pt x="629" y="63"/>
                      </a:cubicBezTo>
                      <a:lnTo>
                        <a:pt x="629" y="63"/>
                      </a:lnTo>
                      <a:cubicBezTo>
                        <a:pt x="641" y="60"/>
                        <a:pt x="651" y="56"/>
                        <a:pt x="662" y="52"/>
                      </a:cubicBezTo>
                      <a:lnTo>
                        <a:pt x="662" y="52"/>
                      </a:lnTo>
                      <a:cubicBezTo>
                        <a:pt x="668" y="48"/>
                        <a:pt x="672" y="40"/>
                        <a:pt x="674" y="34"/>
                      </a:cubicBezTo>
                      <a:lnTo>
                        <a:pt x="674" y="34"/>
                      </a:lnTo>
                      <a:cubicBezTo>
                        <a:pt x="676" y="27"/>
                        <a:pt x="674" y="19"/>
                        <a:pt x="671" y="13"/>
                      </a:cubicBezTo>
                      <a:lnTo>
                        <a:pt x="671" y="13"/>
                      </a:lnTo>
                      <a:cubicBezTo>
                        <a:pt x="667" y="7"/>
                        <a:pt x="661" y="2"/>
                        <a:pt x="653" y="0"/>
                      </a:cubicBezTo>
                      <a:lnTo>
                        <a:pt x="653" y="0"/>
                      </a:lnTo>
                      <a:cubicBezTo>
                        <a:pt x="651" y="0"/>
                        <a:pt x="649" y="0"/>
                        <a:pt x="648" y="0"/>
                      </a:cubicBezTo>
                      <a:lnTo>
                        <a:pt x="648" y="0"/>
                      </a:lnTo>
                      <a:cubicBezTo>
                        <a:pt x="642" y="0"/>
                        <a:pt x="638" y="2"/>
                        <a:pt x="632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216">
                  <a:extLst>
                    <a:ext uri="{FF2B5EF4-FFF2-40B4-BE49-F238E27FC236}">
                      <a16:creationId xmlns:a16="http://schemas.microsoft.com/office/drawing/2014/main" id="{AA5C6945-3788-D546-B714-D26C73D109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04075" y="479425"/>
                  <a:ext cx="147638" cy="265113"/>
                </a:xfrm>
                <a:custGeom>
                  <a:avLst/>
                  <a:gdLst>
                    <a:gd name="T0" fmla="*/ 355 w 412"/>
                    <a:gd name="T1" fmla="*/ 14 h 736"/>
                    <a:gd name="T2" fmla="*/ 355 w 412"/>
                    <a:gd name="T3" fmla="*/ 14 h 736"/>
                    <a:gd name="T4" fmla="*/ 83 w 412"/>
                    <a:gd name="T5" fmla="*/ 535 h 736"/>
                    <a:gd name="T6" fmla="*/ 83 w 412"/>
                    <a:gd name="T7" fmla="*/ 535 h 736"/>
                    <a:gd name="T8" fmla="*/ 6 w 412"/>
                    <a:gd name="T9" fmla="*/ 691 h 736"/>
                    <a:gd name="T10" fmla="*/ 6 w 412"/>
                    <a:gd name="T11" fmla="*/ 691 h 736"/>
                    <a:gd name="T12" fmla="*/ 17 w 412"/>
                    <a:gd name="T13" fmla="*/ 728 h 736"/>
                    <a:gd name="T14" fmla="*/ 17 w 412"/>
                    <a:gd name="T15" fmla="*/ 728 h 736"/>
                    <a:gd name="T16" fmla="*/ 55 w 412"/>
                    <a:gd name="T17" fmla="*/ 717 h 736"/>
                    <a:gd name="T18" fmla="*/ 55 w 412"/>
                    <a:gd name="T19" fmla="*/ 717 h 736"/>
                    <a:gd name="T20" fmla="*/ 297 w 412"/>
                    <a:gd name="T21" fmla="*/ 242 h 736"/>
                    <a:gd name="T22" fmla="*/ 297 w 412"/>
                    <a:gd name="T23" fmla="*/ 242 h 736"/>
                    <a:gd name="T24" fmla="*/ 404 w 412"/>
                    <a:gd name="T25" fmla="*/ 42 h 736"/>
                    <a:gd name="T26" fmla="*/ 404 w 412"/>
                    <a:gd name="T27" fmla="*/ 42 h 736"/>
                    <a:gd name="T28" fmla="*/ 392 w 412"/>
                    <a:gd name="T29" fmla="*/ 3 h 736"/>
                    <a:gd name="T30" fmla="*/ 392 w 412"/>
                    <a:gd name="T31" fmla="*/ 3 h 736"/>
                    <a:gd name="T32" fmla="*/ 380 w 412"/>
                    <a:gd name="T33" fmla="*/ 0 h 736"/>
                    <a:gd name="T34" fmla="*/ 380 w 412"/>
                    <a:gd name="T35" fmla="*/ 0 h 736"/>
                    <a:gd name="T36" fmla="*/ 355 w 412"/>
                    <a:gd name="T37" fmla="*/ 14 h 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2" h="736">
                      <a:moveTo>
                        <a:pt x="355" y="14"/>
                      </a:moveTo>
                      <a:lnTo>
                        <a:pt x="355" y="14"/>
                      </a:lnTo>
                      <a:cubicBezTo>
                        <a:pt x="263" y="188"/>
                        <a:pt x="171" y="360"/>
                        <a:pt x="83" y="535"/>
                      </a:cubicBezTo>
                      <a:lnTo>
                        <a:pt x="83" y="535"/>
                      </a:lnTo>
                      <a:cubicBezTo>
                        <a:pt x="57" y="587"/>
                        <a:pt x="31" y="638"/>
                        <a:pt x="6" y="691"/>
                      </a:cubicBezTo>
                      <a:lnTo>
                        <a:pt x="6" y="691"/>
                      </a:lnTo>
                      <a:cubicBezTo>
                        <a:pt x="0" y="704"/>
                        <a:pt x="4" y="721"/>
                        <a:pt x="17" y="728"/>
                      </a:cubicBezTo>
                      <a:lnTo>
                        <a:pt x="17" y="728"/>
                      </a:lnTo>
                      <a:cubicBezTo>
                        <a:pt x="30" y="735"/>
                        <a:pt x="49" y="730"/>
                        <a:pt x="55" y="717"/>
                      </a:cubicBezTo>
                      <a:lnTo>
                        <a:pt x="55" y="717"/>
                      </a:lnTo>
                      <a:cubicBezTo>
                        <a:pt x="132" y="557"/>
                        <a:pt x="215" y="399"/>
                        <a:pt x="297" y="242"/>
                      </a:cubicBezTo>
                      <a:lnTo>
                        <a:pt x="297" y="242"/>
                      </a:lnTo>
                      <a:cubicBezTo>
                        <a:pt x="333" y="175"/>
                        <a:pt x="369" y="108"/>
                        <a:pt x="404" y="42"/>
                      </a:cubicBezTo>
                      <a:lnTo>
                        <a:pt x="404" y="42"/>
                      </a:lnTo>
                      <a:cubicBezTo>
                        <a:pt x="411" y="28"/>
                        <a:pt x="406" y="11"/>
                        <a:pt x="392" y="3"/>
                      </a:cubicBezTo>
                      <a:lnTo>
                        <a:pt x="392" y="3"/>
                      </a:lnTo>
                      <a:cubicBezTo>
                        <a:pt x="389" y="2"/>
                        <a:pt x="384" y="0"/>
                        <a:pt x="380" y="0"/>
                      </a:cubicBezTo>
                      <a:lnTo>
                        <a:pt x="380" y="0"/>
                      </a:lnTo>
                      <a:cubicBezTo>
                        <a:pt x="370" y="0"/>
                        <a:pt x="360" y="6"/>
                        <a:pt x="355" y="1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217">
                  <a:extLst>
                    <a:ext uri="{FF2B5EF4-FFF2-40B4-BE49-F238E27FC236}">
                      <a16:creationId xmlns:a16="http://schemas.microsoft.com/office/drawing/2014/main" id="{A38DD0E8-2389-D548-909A-8FAFF86EA8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3438" y="554038"/>
                  <a:ext cx="239712" cy="141287"/>
                </a:xfrm>
                <a:custGeom>
                  <a:avLst/>
                  <a:gdLst>
                    <a:gd name="T0" fmla="*/ 7 w 664"/>
                    <a:gd name="T1" fmla="*/ 15 h 391"/>
                    <a:gd name="T2" fmla="*/ 7 w 664"/>
                    <a:gd name="T3" fmla="*/ 15 h 391"/>
                    <a:gd name="T4" fmla="*/ 18 w 664"/>
                    <a:gd name="T5" fmla="*/ 53 h 391"/>
                    <a:gd name="T6" fmla="*/ 18 w 664"/>
                    <a:gd name="T7" fmla="*/ 53 h 391"/>
                    <a:gd name="T8" fmla="*/ 500 w 664"/>
                    <a:gd name="T9" fmla="*/ 316 h 391"/>
                    <a:gd name="T10" fmla="*/ 500 w 664"/>
                    <a:gd name="T11" fmla="*/ 316 h 391"/>
                    <a:gd name="T12" fmla="*/ 618 w 664"/>
                    <a:gd name="T13" fmla="*/ 383 h 391"/>
                    <a:gd name="T14" fmla="*/ 618 w 664"/>
                    <a:gd name="T15" fmla="*/ 383 h 391"/>
                    <a:gd name="T16" fmla="*/ 656 w 664"/>
                    <a:gd name="T17" fmla="*/ 372 h 391"/>
                    <a:gd name="T18" fmla="*/ 656 w 664"/>
                    <a:gd name="T19" fmla="*/ 372 h 391"/>
                    <a:gd name="T20" fmla="*/ 645 w 664"/>
                    <a:gd name="T21" fmla="*/ 334 h 391"/>
                    <a:gd name="T22" fmla="*/ 645 w 664"/>
                    <a:gd name="T23" fmla="*/ 334 h 391"/>
                    <a:gd name="T24" fmla="*/ 428 w 664"/>
                    <a:gd name="T25" fmla="*/ 213 h 391"/>
                    <a:gd name="T26" fmla="*/ 428 w 664"/>
                    <a:gd name="T27" fmla="*/ 213 h 391"/>
                    <a:gd name="T28" fmla="*/ 192 w 664"/>
                    <a:gd name="T29" fmla="*/ 84 h 391"/>
                    <a:gd name="T30" fmla="*/ 192 w 664"/>
                    <a:gd name="T31" fmla="*/ 84 h 391"/>
                    <a:gd name="T32" fmla="*/ 45 w 664"/>
                    <a:gd name="T33" fmla="*/ 4 h 391"/>
                    <a:gd name="T34" fmla="*/ 45 w 664"/>
                    <a:gd name="T35" fmla="*/ 4 h 391"/>
                    <a:gd name="T36" fmla="*/ 32 w 664"/>
                    <a:gd name="T37" fmla="*/ 0 h 391"/>
                    <a:gd name="T38" fmla="*/ 32 w 664"/>
                    <a:gd name="T39" fmla="*/ 0 h 391"/>
                    <a:gd name="T40" fmla="*/ 7 w 664"/>
                    <a:gd name="T41" fmla="*/ 15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4" h="391">
                      <a:moveTo>
                        <a:pt x="7" y="15"/>
                      </a:moveTo>
                      <a:lnTo>
                        <a:pt x="7" y="15"/>
                      </a:lnTo>
                      <a:cubicBezTo>
                        <a:pt x="0" y="29"/>
                        <a:pt x="5" y="46"/>
                        <a:pt x="18" y="53"/>
                      </a:cubicBezTo>
                      <a:lnTo>
                        <a:pt x="18" y="53"/>
                      </a:lnTo>
                      <a:cubicBezTo>
                        <a:pt x="179" y="140"/>
                        <a:pt x="340" y="228"/>
                        <a:pt x="500" y="316"/>
                      </a:cubicBezTo>
                      <a:lnTo>
                        <a:pt x="500" y="316"/>
                      </a:lnTo>
                      <a:cubicBezTo>
                        <a:pt x="540" y="338"/>
                        <a:pt x="580" y="360"/>
                        <a:pt x="618" y="383"/>
                      </a:cubicBezTo>
                      <a:lnTo>
                        <a:pt x="618" y="383"/>
                      </a:lnTo>
                      <a:cubicBezTo>
                        <a:pt x="632" y="390"/>
                        <a:pt x="649" y="385"/>
                        <a:pt x="656" y="372"/>
                      </a:cubicBezTo>
                      <a:lnTo>
                        <a:pt x="656" y="372"/>
                      </a:lnTo>
                      <a:cubicBezTo>
                        <a:pt x="663" y="358"/>
                        <a:pt x="658" y="342"/>
                        <a:pt x="645" y="334"/>
                      </a:cubicBezTo>
                      <a:lnTo>
                        <a:pt x="645" y="334"/>
                      </a:lnTo>
                      <a:cubicBezTo>
                        <a:pt x="573" y="292"/>
                        <a:pt x="500" y="254"/>
                        <a:pt x="428" y="213"/>
                      </a:cubicBezTo>
                      <a:lnTo>
                        <a:pt x="428" y="213"/>
                      </a:lnTo>
                      <a:cubicBezTo>
                        <a:pt x="350" y="170"/>
                        <a:pt x="271" y="127"/>
                        <a:pt x="192" y="84"/>
                      </a:cubicBezTo>
                      <a:lnTo>
                        <a:pt x="192" y="84"/>
                      </a:lnTo>
                      <a:cubicBezTo>
                        <a:pt x="143" y="58"/>
                        <a:pt x="94" y="30"/>
                        <a:pt x="45" y="4"/>
                      </a:cubicBezTo>
                      <a:lnTo>
                        <a:pt x="45" y="4"/>
                      </a:lnTo>
                      <a:cubicBezTo>
                        <a:pt x="41" y="2"/>
                        <a:pt x="36" y="0"/>
                        <a:pt x="32" y="0"/>
                      </a:cubicBezTo>
                      <a:lnTo>
                        <a:pt x="32" y="0"/>
                      </a:lnTo>
                      <a:cubicBezTo>
                        <a:pt x="22" y="0"/>
                        <a:pt x="12" y="6"/>
                        <a:pt x="7" y="1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308FB492-62E9-404B-B9FF-BD0C0BD4ECA4}"/>
                  </a:ext>
                </a:extLst>
              </p:cNvPr>
              <p:cNvGrpSpPr/>
              <p:nvPr/>
            </p:nvGrpSpPr>
            <p:grpSpPr>
              <a:xfrm>
                <a:off x="2483370" y="3689631"/>
                <a:ext cx="708015" cy="1077632"/>
                <a:chOff x="5649913" y="4943475"/>
                <a:chExt cx="900112" cy="1370013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sp>
              <p:nvSpPr>
                <p:cNvPr id="78" name="Freeform 256">
                  <a:extLst>
                    <a:ext uri="{FF2B5EF4-FFF2-40B4-BE49-F238E27FC236}">
                      <a16:creationId xmlns:a16="http://schemas.microsoft.com/office/drawing/2014/main" id="{67D0B348-C26D-0747-B142-10B5971A1F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84863" y="5114925"/>
                  <a:ext cx="425450" cy="882650"/>
                </a:xfrm>
                <a:custGeom>
                  <a:avLst/>
                  <a:gdLst>
                    <a:gd name="T0" fmla="*/ 703 w 1182"/>
                    <a:gd name="T1" fmla="*/ 1323 h 2453"/>
                    <a:gd name="T2" fmla="*/ 717 w 1182"/>
                    <a:gd name="T3" fmla="*/ 1300 h 2453"/>
                    <a:gd name="T4" fmla="*/ 284 w 1182"/>
                    <a:gd name="T5" fmla="*/ 1299 h 2453"/>
                    <a:gd name="T6" fmla="*/ 51 w 1182"/>
                    <a:gd name="T7" fmla="*/ 1214 h 2453"/>
                    <a:gd name="T8" fmla="*/ 433 w 1182"/>
                    <a:gd name="T9" fmla="*/ 839 h 2453"/>
                    <a:gd name="T10" fmla="*/ 91 w 1182"/>
                    <a:gd name="T11" fmla="*/ 1189 h 2453"/>
                    <a:gd name="T12" fmla="*/ 166 w 1182"/>
                    <a:gd name="T13" fmla="*/ 1143 h 2453"/>
                    <a:gd name="T14" fmla="*/ 264 w 1182"/>
                    <a:gd name="T15" fmla="*/ 1073 h 2453"/>
                    <a:gd name="T16" fmla="*/ 357 w 1182"/>
                    <a:gd name="T17" fmla="*/ 996 h 2453"/>
                    <a:gd name="T18" fmla="*/ 481 w 1182"/>
                    <a:gd name="T19" fmla="*/ 866 h 2453"/>
                    <a:gd name="T20" fmla="*/ 509 w 1182"/>
                    <a:gd name="T21" fmla="*/ 789 h 2453"/>
                    <a:gd name="T22" fmla="*/ 500 w 1182"/>
                    <a:gd name="T23" fmla="*/ 626 h 2453"/>
                    <a:gd name="T24" fmla="*/ 474 w 1182"/>
                    <a:gd name="T25" fmla="*/ 380 h 2453"/>
                    <a:gd name="T26" fmla="*/ 508 w 1182"/>
                    <a:gd name="T27" fmla="*/ 360 h 2453"/>
                    <a:gd name="T28" fmla="*/ 609 w 1182"/>
                    <a:gd name="T29" fmla="*/ 581 h 2453"/>
                    <a:gd name="T30" fmla="*/ 706 w 1182"/>
                    <a:gd name="T31" fmla="*/ 738 h 2453"/>
                    <a:gd name="T32" fmla="*/ 853 w 1182"/>
                    <a:gd name="T33" fmla="*/ 849 h 2453"/>
                    <a:gd name="T34" fmla="*/ 1073 w 1182"/>
                    <a:gd name="T35" fmla="*/ 948 h 2453"/>
                    <a:gd name="T36" fmla="*/ 1067 w 1182"/>
                    <a:gd name="T37" fmla="*/ 999 h 2453"/>
                    <a:gd name="T38" fmla="*/ 804 w 1182"/>
                    <a:gd name="T39" fmla="*/ 1155 h 2453"/>
                    <a:gd name="T40" fmla="*/ 662 w 1182"/>
                    <a:gd name="T41" fmla="*/ 1282 h 2453"/>
                    <a:gd name="T42" fmla="*/ 640 w 1182"/>
                    <a:gd name="T43" fmla="*/ 1388 h 2453"/>
                    <a:gd name="T44" fmla="*/ 653 w 1182"/>
                    <a:gd name="T45" fmla="*/ 1625 h 2453"/>
                    <a:gd name="T46" fmla="*/ 689 w 1182"/>
                    <a:gd name="T47" fmla="*/ 2138 h 2453"/>
                    <a:gd name="T48" fmla="*/ 599 w 1182"/>
                    <a:gd name="T49" fmla="*/ 1817 h 2453"/>
                    <a:gd name="T50" fmla="*/ 411 w 1182"/>
                    <a:gd name="T51" fmla="*/ 1354 h 2453"/>
                    <a:gd name="T52" fmla="*/ 309 w 1182"/>
                    <a:gd name="T53" fmla="*/ 1249 h 2453"/>
                    <a:gd name="T54" fmla="*/ 106 w 1182"/>
                    <a:gd name="T55" fmla="*/ 1196 h 2453"/>
                    <a:gd name="T56" fmla="*/ 373 w 1182"/>
                    <a:gd name="T57" fmla="*/ 22 h 2453"/>
                    <a:gd name="T58" fmla="*/ 390 w 1182"/>
                    <a:gd name="T59" fmla="*/ 94 h 2453"/>
                    <a:gd name="T60" fmla="*/ 419 w 1182"/>
                    <a:gd name="T61" fmla="*/ 392 h 2453"/>
                    <a:gd name="T62" fmla="*/ 453 w 1182"/>
                    <a:gd name="T63" fmla="*/ 780 h 2453"/>
                    <a:gd name="T64" fmla="*/ 327 w 1182"/>
                    <a:gd name="T65" fmla="*/ 948 h 2453"/>
                    <a:gd name="T66" fmla="*/ 187 w 1182"/>
                    <a:gd name="T67" fmla="*/ 1062 h 2453"/>
                    <a:gd name="T68" fmla="*/ 10 w 1182"/>
                    <a:gd name="T69" fmla="*/ 1178 h 2453"/>
                    <a:gd name="T70" fmla="*/ 2 w 1182"/>
                    <a:gd name="T71" fmla="*/ 1196 h 2453"/>
                    <a:gd name="T72" fmla="*/ 29 w 1182"/>
                    <a:gd name="T73" fmla="*/ 1238 h 2453"/>
                    <a:gd name="T74" fmla="*/ 84 w 1182"/>
                    <a:gd name="T75" fmla="*/ 1249 h 2453"/>
                    <a:gd name="T76" fmla="*/ 283 w 1182"/>
                    <a:gd name="T77" fmla="*/ 1299 h 2453"/>
                    <a:gd name="T78" fmla="*/ 420 w 1182"/>
                    <a:gd name="T79" fmla="*/ 1484 h 2453"/>
                    <a:gd name="T80" fmla="*/ 523 w 1182"/>
                    <a:gd name="T81" fmla="*/ 1761 h 2453"/>
                    <a:gd name="T82" fmla="*/ 650 w 1182"/>
                    <a:gd name="T83" fmla="*/ 2209 h 2453"/>
                    <a:gd name="T84" fmla="*/ 698 w 1182"/>
                    <a:gd name="T85" fmla="*/ 2398 h 2453"/>
                    <a:gd name="T86" fmla="*/ 707 w 1182"/>
                    <a:gd name="T87" fmla="*/ 2430 h 2453"/>
                    <a:gd name="T88" fmla="*/ 765 w 1182"/>
                    <a:gd name="T89" fmla="*/ 2428 h 2453"/>
                    <a:gd name="T90" fmla="*/ 765 w 1182"/>
                    <a:gd name="T91" fmla="*/ 2387 h 2453"/>
                    <a:gd name="T92" fmla="*/ 755 w 1182"/>
                    <a:gd name="T93" fmla="*/ 2270 h 2453"/>
                    <a:gd name="T94" fmla="*/ 731 w 1182"/>
                    <a:gd name="T95" fmla="*/ 1916 h 2453"/>
                    <a:gd name="T96" fmla="*/ 696 w 1182"/>
                    <a:gd name="T97" fmla="*/ 1351 h 2453"/>
                    <a:gd name="T98" fmla="*/ 718 w 1182"/>
                    <a:gd name="T99" fmla="*/ 1298 h 2453"/>
                    <a:gd name="T100" fmla="*/ 1010 w 1182"/>
                    <a:gd name="T101" fmla="*/ 1097 h 2453"/>
                    <a:gd name="T102" fmla="*/ 1138 w 1182"/>
                    <a:gd name="T103" fmla="*/ 1020 h 2453"/>
                    <a:gd name="T104" fmla="*/ 1160 w 1182"/>
                    <a:gd name="T105" fmla="*/ 930 h 2453"/>
                    <a:gd name="T106" fmla="*/ 1093 w 1182"/>
                    <a:gd name="T107" fmla="*/ 896 h 2453"/>
                    <a:gd name="T108" fmla="*/ 781 w 1182"/>
                    <a:gd name="T109" fmla="*/ 736 h 2453"/>
                    <a:gd name="T110" fmla="*/ 722 w 1182"/>
                    <a:gd name="T111" fmla="*/ 668 h 2453"/>
                    <a:gd name="T112" fmla="*/ 540 w 1182"/>
                    <a:gd name="T113" fmla="*/ 295 h 2453"/>
                    <a:gd name="T114" fmla="*/ 453 w 1182"/>
                    <a:gd name="T115" fmla="*/ 95 h 2453"/>
                    <a:gd name="T116" fmla="*/ 428 w 1182"/>
                    <a:gd name="T117" fmla="*/ 34 h 2453"/>
                    <a:gd name="T118" fmla="*/ 400 w 1182"/>
                    <a:gd name="T119" fmla="*/ 0 h 2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82" h="2453">
                      <a:moveTo>
                        <a:pt x="703" y="1323"/>
                      </a:moveTo>
                      <a:lnTo>
                        <a:pt x="703" y="1323"/>
                      </a:lnTo>
                      <a:cubicBezTo>
                        <a:pt x="703" y="1325"/>
                        <a:pt x="702" y="1326"/>
                        <a:pt x="702" y="1328"/>
                      </a:cubicBezTo>
                      <a:lnTo>
                        <a:pt x="702" y="1328"/>
                      </a:lnTo>
                      <a:cubicBezTo>
                        <a:pt x="702" y="1326"/>
                        <a:pt x="702" y="1325"/>
                        <a:pt x="703" y="1323"/>
                      </a:cubicBezTo>
                      <a:close/>
                      <a:moveTo>
                        <a:pt x="717" y="1300"/>
                      </a:moveTo>
                      <a:lnTo>
                        <a:pt x="717" y="1300"/>
                      </a:lnTo>
                      <a:cubicBezTo>
                        <a:pt x="716" y="1301"/>
                        <a:pt x="715" y="1302"/>
                        <a:pt x="715" y="1303"/>
                      </a:cubicBezTo>
                      <a:lnTo>
                        <a:pt x="715" y="1303"/>
                      </a:lnTo>
                      <a:cubicBezTo>
                        <a:pt x="715" y="1302"/>
                        <a:pt x="716" y="1301"/>
                        <a:pt x="717" y="1300"/>
                      </a:cubicBezTo>
                      <a:close/>
                      <a:moveTo>
                        <a:pt x="284" y="1299"/>
                      </a:moveTo>
                      <a:lnTo>
                        <a:pt x="284" y="1299"/>
                      </a:lnTo>
                      <a:cubicBezTo>
                        <a:pt x="285" y="1300"/>
                        <a:pt x="287" y="1301"/>
                        <a:pt x="289" y="1302"/>
                      </a:cubicBezTo>
                      <a:lnTo>
                        <a:pt x="289" y="1302"/>
                      </a:lnTo>
                      <a:cubicBezTo>
                        <a:pt x="287" y="1301"/>
                        <a:pt x="285" y="1300"/>
                        <a:pt x="284" y="1299"/>
                      </a:cubicBezTo>
                      <a:close/>
                      <a:moveTo>
                        <a:pt x="51" y="1214"/>
                      </a:moveTo>
                      <a:lnTo>
                        <a:pt x="51" y="1214"/>
                      </a:lnTo>
                      <a:cubicBezTo>
                        <a:pt x="50" y="1215"/>
                        <a:pt x="50" y="1216"/>
                        <a:pt x="50" y="1216"/>
                      </a:cubicBezTo>
                      <a:lnTo>
                        <a:pt x="50" y="1216"/>
                      </a:lnTo>
                      <a:cubicBezTo>
                        <a:pt x="50" y="1216"/>
                        <a:pt x="50" y="1215"/>
                        <a:pt x="51" y="1214"/>
                      </a:cubicBezTo>
                      <a:close/>
                      <a:moveTo>
                        <a:pt x="433" y="839"/>
                      </a:moveTo>
                      <a:lnTo>
                        <a:pt x="433" y="839"/>
                      </a:lnTo>
                      <a:cubicBezTo>
                        <a:pt x="433" y="840"/>
                        <a:pt x="432" y="840"/>
                        <a:pt x="431" y="841"/>
                      </a:cubicBezTo>
                      <a:lnTo>
                        <a:pt x="431" y="841"/>
                      </a:lnTo>
                      <a:cubicBezTo>
                        <a:pt x="432" y="840"/>
                        <a:pt x="433" y="840"/>
                        <a:pt x="433" y="839"/>
                      </a:cubicBezTo>
                      <a:close/>
                      <a:moveTo>
                        <a:pt x="809" y="759"/>
                      </a:moveTo>
                      <a:lnTo>
                        <a:pt x="809" y="759"/>
                      </a:lnTo>
                      <a:cubicBezTo>
                        <a:pt x="810" y="759"/>
                        <a:pt x="811" y="759"/>
                        <a:pt x="812" y="760"/>
                      </a:cubicBezTo>
                      <a:lnTo>
                        <a:pt x="809" y="759"/>
                      </a:lnTo>
                      <a:close/>
                      <a:moveTo>
                        <a:pt x="91" y="1189"/>
                      </a:moveTo>
                      <a:lnTo>
                        <a:pt x="91" y="1189"/>
                      </a:lnTo>
                      <a:cubicBezTo>
                        <a:pt x="100" y="1183"/>
                        <a:pt x="109" y="1178"/>
                        <a:pt x="118" y="1173"/>
                      </a:cubicBezTo>
                      <a:lnTo>
                        <a:pt x="118" y="1173"/>
                      </a:lnTo>
                      <a:cubicBezTo>
                        <a:pt x="134" y="1163"/>
                        <a:pt x="149" y="1153"/>
                        <a:pt x="166" y="1143"/>
                      </a:cubicBezTo>
                      <a:lnTo>
                        <a:pt x="166" y="1143"/>
                      </a:lnTo>
                      <a:cubicBezTo>
                        <a:pt x="184" y="1130"/>
                        <a:pt x="202" y="1118"/>
                        <a:pt x="221" y="1105"/>
                      </a:cubicBezTo>
                      <a:lnTo>
                        <a:pt x="221" y="1105"/>
                      </a:lnTo>
                      <a:cubicBezTo>
                        <a:pt x="227" y="1102"/>
                        <a:pt x="233" y="1097"/>
                        <a:pt x="239" y="1092"/>
                      </a:cubicBezTo>
                      <a:lnTo>
                        <a:pt x="239" y="1092"/>
                      </a:lnTo>
                      <a:cubicBezTo>
                        <a:pt x="247" y="1086"/>
                        <a:pt x="256" y="1080"/>
                        <a:pt x="264" y="1073"/>
                      </a:cubicBezTo>
                      <a:lnTo>
                        <a:pt x="264" y="1073"/>
                      </a:lnTo>
                      <a:cubicBezTo>
                        <a:pt x="279" y="1060"/>
                        <a:pt x="295" y="1048"/>
                        <a:pt x="310" y="1035"/>
                      </a:cubicBezTo>
                      <a:lnTo>
                        <a:pt x="310" y="1035"/>
                      </a:lnTo>
                      <a:cubicBezTo>
                        <a:pt x="326" y="1022"/>
                        <a:pt x="342" y="1009"/>
                        <a:pt x="357" y="996"/>
                      </a:cubicBezTo>
                      <a:lnTo>
                        <a:pt x="357" y="996"/>
                      </a:lnTo>
                      <a:cubicBezTo>
                        <a:pt x="373" y="981"/>
                        <a:pt x="390" y="966"/>
                        <a:pt x="406" y="951"/>
                      </a:cubicBezTo>
                      <a:lnTo>
                        <a:pt x="406" y="951"/>
                      </a:lnTo>
                      <a:cubicBezTo>
                        <a:pt x="425" y="934"/>
                        <a:pt x="443" y="915"/>
                        <a:pt x="459" y="896"/>
                      </a:cubicBezTo>
                      <a:lnTo>
                        <a:pt x="459" y="896"/>
                      </a:lnTo>
                      <a:cubicBezTo>
                        <a:pt x="467" y="886"/>
                        <a:pt x="474" y="876"/>
                        <a:pt x="481" y="866"/>
                      </a:cubicBezTo>
                      <a:lnTo>
                        <a:pt x="481" y="866"/>
                      </a:lnTo>
                      <a:cubicBezTo>
                        <a:pt x="490" y="854"/>
                        <a:pt x="496" y="840"/>
                        <a:pt x="500" y="825"/>
                      </a:cubicBezTo>
                      <a:lnTo>
                        <a:pt x="500" y="825"/>
                      </a:lnTo>
                      <a:cubicBezTo>
                        <a:pt x="504" y="814"/>
                        <a:pt x="507" y="802"/>
                        <a:pt x="509" y="789"/>
                      </a:cubicBezTo>
                      <a:lnTo>
                        <a:pt x="509" y="789"/>
                      </a:lnTo>
                      <a:cubicBezTo>
                        <a:pt x="510" y="776"/>
                        <a:pt x="510" y="763"/>
                        <a:pt x="510" y="749"/>
                      </a:cubicBezTo>
                      <a:lnTo>
                        <a:pt x="510" y="749"/>
                      </a:lnTo>
                      <a:cubicBezTo>
                        <a:pt x="510" y="730"/>
                        <a:pt x="509" y="712"/>
                        <a:pt x="507" y="693"/>
                      </a:cubicBezTo>
                      <a:lnTo>
                        <a:pt x="507" y="693"/>
                      </a:lnTo>
                      <a:cubicBezTo>
                        <a:pt x="504" y="670"/>
                        <a:pt x="502" y="648"/>
                        <a:pt x="500" y="626"/>
                      </a:cubicBezTo>
                      <a:lnTo>
                        <a:pt x="500" y="626"/>
                      </a:lnTo>
                      <a:cubicBezTo>
                        <a:pt x="495" y="589"/>
                        <a:pt x="491" y="553"/>
                        <a:pt x="488" y="517"/>
                      </a:cubicBezTo>
                      <a:lnTo>
                        <a:pt x="488" y="517"/>
                      </a:lnTo>
                      <a:cubicBezTo>
                        <a:pt x="483" y="471"/>
                        <a:pt x="479" y="425"/>
                        <a:pt x="474" y="380"/>
                      </a:cubicBezTo>
                      <a:lnTo>
                        <a:pt x="474" y="380"/>
                      </a:lnTo>
                      <a:cubicBezTo>
                        <a:pt x="472" y="366"/>
                        <a:pt x="471" y="351"/>
                        <a:pt x="470" y="336"/>
                      </a:cubicBezTo>
                      <a:lnTo>
                        <a:pt x="470" y="336"/>
                      </a:lnTo>
                      <a:cubicBezTo>
                        <a:pt x="469" y="313"/>
                        <a:pt x="467" y="289"/>
                        <a:pt x="465" y="266"/>
                      </a:cubicBezTo>
                      <a:lnTo>
                        <a:pt x="465" y="266"/>
                      </a:lnTo>
                      <a:cubicBezTo>
                        <a:pt x="480" y="297"/>
                        <a:pt x="494" y="329"/>
                        <a:pt x="508" y="360"/>
                      </a:cubicBezTo>
                      <a:lnTo>
                        <a:pt x="508" y="360"/>
                      </a:lnTo>
                      <a:cubicBezTo>
                        <a:pt x="524" y="396"/>
                        <a:pt x="540" y="433"/>
                        <a:pt x="556" y="469"/>
                      </a:cubicBezTo>
                      <a:lnTo>
                        <a:pt x="556" y="469"/>
                      </a:lnTo>
                      <a:cubicBezTo>
                        <a:pt x="572" y="507"/>
                        <a:pt x="590" y="544"/>
                        <a:pt x="609" y="581"/>
                      </a:cubicBezTo>
                      <a:lnTo>
                        <a:pt x="609" y="581"/>
                      </a:lnTo>
                      <a:cubicBezTo>
                        <a:pt x="618" y="599"/>
                        <a:pt x="626" y="616"/>
                        <a:pt x="636" y="634"/>
                      </a:cubicBezTo>
                      <a:lnTo>
                        <a:pt x="636" y="634"/>
                      </a:lnTo>
                      <a:cubicBezTo>
                        <a:pt x="646" y="652"/>
                        <a:pt x="656" y="670"/>
                        <a:pt x="667" y="687"/>
                      </a:cubicBezTo>
                      <a:lnTo>
                        <a:pt x="667" y="687"/>
                      </a:lnTo>
                      <a:cubicBezTo>
                        <a:pt x="679" y="704"/>
                        <a:pt x="692" y="722"/>
                        <a:pt x="706" y="738"/>
                      </a:cubicBezTo>
                      <a:lnTo>
                        <a:pt x="706" y="738"/>
                      </a:lnTo>
                      <a:cubicBezTo>
                        <a:pt x="719" y="753"/>
                        <a:pt x="732" y="769"/>
                        <a:pt x="747" y="781"/>
                      </a:cubicBezTo>
                      <a:lnTo>
                        <a:pt x="747" y="781"/>
                      </a:lnTo>
                      <a:cubicBezTo>
                        <a:pt x="780" y="808"/>
                        <a:pt x="817" y="829"/>
                        <a:pt x="853" y="849"/>
                      </a:cubicBezTo>
                      <a:lnTo>
                        <a:pt x="853" y="849"/>
                      </a:lnTo>
                      <a:cubicBezTo>
                        <a:pt x="893" y="871"/>
                        <a:pt x="934" y="890"/>
                        <a:pt x="975" y="907"/>
                      </a:cubicBezTo>
                      <a:lnTo>
                        <a:pt x="975" y="907"/>
                      </a:lnTo>
                      <a:cubicBezTo>
                        <a:pt x="997" y="916"/>
                        <a:pt x="1019" y="925"/>
                        <a:pt x="1040" y="935"/>
                      </a:cubicBezTo>
                      <a:lnTo>
                        <a:pt x="1040" y="935"/>
                      </a:lnTo>
                      <a:cubicBezTo>
                        <a:pt x="1051" y="939"/>
                        <a:pt x="1062" y="944"/>
                        <a:pt x="1073" y="948"/>
                      </a:cubicBezTo>
                      <a:lnTo>
                        <a:pt x="1073" y="948"/>
                      </a:lnTo>
                      <a:cubicBezTo>
                        <a:pt x="1087" y="954"/>
                        <a:pt x="1102" y="960"/>
                        <a:pt x="1116" y="967"/>
                      </a:cubicBezTo>
                      <a:lnTo>
                        <a:pt x="1116" y="967"/>
                      </a:lnTo>
                      <a:cubicBezTo>
                        <a:pt x="1100" y="978"/>
                        <a:pt x="1083" y="989"/>
                        <a:pt x="1067" y="999"/>
                      </a:cubicBezTo>
                      <a:lnTo>
                        <a:pt x="1067" y="999"/>
                      </a:lnTo>
                      <a:cubicBezTo>
                        <a:pt x="1050" y="1009"/>
                        <a:pt x="1033" y="1019"/>
                        <a:pt x="1016" y="1029"/>
                      </a:cubicBezTo>
                      <a:lnTo>
                        <a:pt x="1016" y="1029"/>
                      </a:lnTo>
                      <a:cubicBezTo>
                        <a:pt x="981" y="1050"/>
                        <a:pt x="945" y="1070"/>
                        <a:pt x="910" y="1091"/>
                      </a:cubicBezTo>
                      <a:lnTo>
                        <a:pt x="910" y="1091"/>
                      </a:lnTo>
                      <a:cubicBezTo>
                        <a:pt x="874" y="1112"/>
                        <a:pt x="839" y="1133"/>
                        <a:pt x="804" y="1155"/>
                      </a:cubicBezTo>
                      <a:lnTo>
                        <a:pt x="804" y="1155"/>
                      </a:lnTo>
                      <a:cubicBezTo>
                        <a:pt x="761" y="1181"/>
                        <a:pt x="719" y="1211"/>
                        <a:pt x="686" y="1249"/>
                      </a:cubicBezTo>
                      <a:lnTo>
                        <a:pt x="686" y="1249"/>
                      </a:lnTo>
                      <a:cubicBezTo>
                        <a:pt x="677" y="1259"/>
                        <a:pt x="669" y="1271"/>
                        <a:pt x="662" y="1282"/>
                      </a:cubicBezTo>
                      <a:lnTo>
                        <a:pt x="662" y="1282"/>
                      </a:lnTo>
                      <a:cubicBezTo>
                        <a:pt x="655" y="1293"/>
                        <a:pt x="651" y="1305"/>
                        <a:pt x="646" y="1318"/>
                      </a:cubicBezTo>
                      <a:lnTo>
                        <a:pt x="646" y="1318"/>
                      </a:lnTo>
                      <a:cubicBezTo>
                        <a:pt x="642" y="1329"/>
                        <a:pt x="641" y="1342"/>
                        <a:pt x="641" y="1355"/>
                      </a:cubicBezTo>
                      <a:lnTo>
                        <a:pt x="641" y="1355"/>
                      </a:lnTo>
                      <a:cubicBezTo>
                        <a:pt x="640" y="1366"/>
                        <a:pt x="640" y="1377"/>
                        <a:pt x="640" y="1388"/>
                      </a:cubicBezTo>
                      <a:lnTo>
                        <a:pt x="640" y="1388"/>
                      </a:lnTo>
                      <a:cubicBezTo>
                        <a:pt x="640" y="1428"/>
                        <a:pt x="642" y="1467"/>
                        <a:pt x="645" y="1507"/>
                      </a:cubicBezTo>
                      <a:lnTo>
                        <a:pt x="645" y="1507"/>
                      </a:lnTo>
                      <a:cubicBezTo>
                        <a:pt x="647" y="1546"/>
                        <a:pt x="651" y="1585"/>
                        <a:pt x="653" y="1625"/>
                      </a:cubicBezTo>
                      <a:lnTo>
                        <a:pt x="653" y="1625"/>
                      </a:lnTo>
                      <a:cubicBezTo>
                        <a:pt x="661" y="1706"/>
                        <a:pt x="667" y="1787"/>
                        <a:pt x="672" y="1868"/>
                      </a:cubicBezTo>
                      <a:lnTo>
                        <a:pt x="672" y="1868"/>
                      </a:lnTo>
                      <a:cubicBezTo>
                        <a:pt x="678" y="1951"/>
                        <a:pt x="682" y="2032"/>
                        <a:pt x="688" y="2115"/>
                      </a:cubicBezTo>
                      <a:lnTo>
                        <a:pt x="688" y="2115"/>
                      </a:lnTo>
                      <a:cubicBezTo>
                        <a:pt x="688" y="2122"/>
                        <a:pt x="689" y="2130"/>
                        <a:pt x="689" y="2138"/>
                      </a:cubicBezTo>
                      <a:lnTo>
                        <a:pt x="689" y="2138"/>
                      </a:lnTo>
                      <a:cubicBezTo>
                        <a:pt x="670" y="2069"/>
                        <a:pt x="651" y="1999"/>
                        <a:pt x="632" y="1930"/>
                      </a:cubicBezTo>
                      <a:lnTo>
                        <a:pt x="632" y="1930"/>
                      </a:lnTo>
                      <a:cubicBezTo>
                        <a:pt x="622" y="1893"/>
                        <a:pt x="611" y="1855"/>
                        <a:pt x="599" y="1817"/>
                      </a:cubicBezTo>
                      <a:lnTo>
                        <a:pt x="599" y="1817"/>
                      </a:lnTo>
                      <a:cubicBezTo>
                        <a:pt x="588" y="1779"/>
                        <a:pt x="576" y="1742"/>
                        <a:pt x="563" y="1704"/>
                      </a:cubicBezTo>
                      <a:lnTo>
                        <a:pt x="563" y="1704"/>
                      </a:lnTo>
                      <a:cubicBezTo>
                        <a:pt x="550" y="1665"/>
                        <a:pt x="537" y="1626"/>
                        <a:pt x="522" y="1588"/>
                      </a:cubicBezTo>
                      <a:lnTo>
                        <a:pt x="522" y="1588"/>
                      </a:lnTo>
                      <a:cubicBezTo>
                        <a:pt x="492" y="1507"/>
                        <a:pt x="460" y="1426"/>
                        <a:pt x="411" y="1354"/>
                      </a:cubicBezTo>
                      <a:lnTo>
                        <a:pt x="411" y="1354"/>
                      </a:lnTo>
                      <a:cubicBezTo>
                        <a:pt x="398" y="1333"/>
                        <a:pt x="382" y="1315"/>
                        <a:pt x="366" y="1297"/>
                      </a:cubicBezTo>
                      <a:lnTo>
                        <a:pt x="366" y="1297"/>
                      </a:lnTo>
                      <a:cubicBezTo>
                        <a:pt x="349" y="1279"/>
                        <a:pt x="329" y="1264"/>
                        <a:pt x="309" y="1249"/>
                      </a:cubicBezTo>
                      <a:lnTo>
                        <a:pt x="309" y="1249"/>
                      </a:lnTo>
                      <a:cubicBezTo>
                        <a:pt x="275" y="1226"/>
                        <a:pt x="233" y="1211"/>
                        <a:pt x="191" y="1206"/>
                      </a:cubicBezTo>
                      <a:lnTo>
                        <a:pt x="191" y="1206"/>
                      </a:lnTo>
                      <a:cubicBezTo>
                        <a:pt x="173" y="1203"/>
                        <a:pt x="154" y="1201"/>
                        <a:pt x="136" y="1199"/>
                      </a:cubicBezTo>
                      <a:lnTo>
                        <a:pt x="136" y="1199"/>
                      </a:lnTo>
                      <a:cubicBezTo>
                        <a:pt x="126" y="1198"/>
                        <a:pt x="116" y="1197"/>
                        <a:pt x="106" y="1196"/>
                      </a:cubicBezTo>
                      <a:lnTo>
                        <a:pt x="106" y="1196"/>
                      </a:lnTo>
                      <a:cubicBezTo>
                        <a:pt x="98" y="1196"/>
                        <a:pt x="90" y="1195"/>
                        <a:pt x="83" y="1194"/>
                      </a:cubicBezTo>
                      <a:lnTo>
                        <a:pt x="83" y="1194"/>
                      </a:lnTo>
                      <a:cubicBezTo>
                        <a:pt x="85" y="1192"/>
                        <a:pt x="88" y="1190"/>
                        <a:pt x="91" y="1189"/>
                      </a:cubicBezTo>
                      <a:close/>
                      <a:moveTo>
                        <a:pt x="373" y="22"/>
                      </a:moveTo>
                      <a:lnTo>
                        <a:pt x="373" y="22"/>
                      </a:lnTo>
                      <a:cubicBezTo>
                        <a:pt x="368" y="37"/>
                        <a:pt x="374" y="52"/>
                        <a:pt x="379" y="66"/>
                      </a:cubicBezTo>
                      <a:lnTo>
                        <a:pt x="379" y="66"/>
                      </a:lnTo>
                      <a:cubicBezTo>
                        <a:pt x="383" y="75"/>
                        <a:pt x="386" y="85"/>
                        <a:pt x="390" y="94"/>
                      </a:cubicBezTo>
                      <a:lnTo>
                        <a:pt x="390" y="94"/>
                      </a:lnTo>
                      <a:cubicBezTo>
                        <a:pt x="393" y="101"/>
                        <a:pt x="396" y="108"/>
                        <a:pt x="398" y="115"/>
                      </a:cubicBezTo>
                      <a:lnTo>
                        <a:pt x="398" y="115"/>
                      </a:lnTo>
                      <a:cubicBezTo>
                        <a:pt x="402" y="170"/>
                        <a:pt x="406" y="225"/>
                        <a:pt x="410" y="280"/>
                      </a:cubicBezTo>
                      <a:lnTo>
                        <a:pt x="410" y="280"/>
                      </a:lnTo>
                      <a:cubicBezTo>
                        <a:pt x="413" y="317"/>
                        <a:pt x="415" y="355"/>
                        <a:pt x="419" y="392"/>
                      </a:cubicBezTo>
                      <a:lnTo>
                        <a:pt x="419" y="392"/>
                      </a:lnTo>
                      <a:cubicBezTo>
                        <a:pt x="428" y="475"/>
                        <a:pt x="436" y="558"/>
                        <a:pt x="445" y="641"/>
                      </a:cubicBezTo>
                      <a:lnTo>
                        <a:pt x="445" y="641"/>
                      </a:lnTo>
                      <a:cubicBezTo>
                        <a:pt x="450" y="688"/>
                        <a:pt x="456" y="733"/>
                        <a:pt x="453" y="780"/>
                      </a:cubicBezTo>
                      <a:lnTo>
                        <a:pt x="453" y="780"/>
                      </a:lnTo>
                      <a:cubicBezTo>
                        <a:pt x="452" y="791"/>
                        <a:pt x="450" y="801"/>
                        <a:pt x="446" y="812"/>
                      </a:cubicBezTo>
                      <a:lnTo>
                        <a:pt x="446" y="812"/>
                      </a:lnTo>
                      <a:cubicBezTo>
                        <a:pt x="442" y="823"/>
                        <a:pt x="437" y="833"/>
                        <a:pt x="430" y="843"/>
                      </a:cubicBezTo>
                      <a:lnTo>
                        <a:pt x="430" y="843"/>
                      </a:lnTo>
                      <a:cubicBezTo>
                        <a:pt x="400" y="883"/>
                        <a:pt x="363" y="915"/>
                        <a:pt x="327" y="948"/>
                      </a:cubicBezTo>
                      <a:lnTo>
                        <a:pt x="327" y="948"/>
                      </a:lnTo>
                      <a:cubicBezTo>
                        <a:pt x="308" y="965"/>
                        <a:pt x="289" y="981"/>
                        <a:pt x="270" y="996"/>
                      </a:cubicBezTo>
                      <a:lnTo>
                        <a:pt x="270" y="996"/>
                      </a:lnTo>
                      <a:cubicBezTo>
                        <a:pt x="243" y="1019"/>
                        <a:pt x="216" y="1042"/>
                        <a:pt x="187" y="1062"/>
                      </a:cubicBezTo>
                      <a:lnTo>
                        <a:pt x="187" y="1062"/>
                      </a:lnTo>
                      <a:cubicBezTo>
                        <a:pt x="154" y="1084"/>
                        <a:pt x="121" y="1105"/>
                        <a:pt x="88" y="1126"/>
                      </a:cubicBezTo>
                      <a:lnTo>
                        <a:pt x="88" y="1126"/>
                      </a:lnTo>
                      <a:cubicBezTo>
                        <a:pt x="66" y="1138"/>
                        <a:pt x="44" y="1150"/>
                        <a:pt x="24" y="1165"/>
                      </a:cubicBezTo>
                      <a:lnTo>
                        <a:pt x="24" y="1165"/>
                      </a:lnTo>
                      <a:cubicBezTo>
                        <a:pt x="19" y="1169"/>
                        <a:pt x="15" y="1173"/>
                        <a:pt x="10" y="1178"/>
                      </a:cubicBezTo>
                      <a:lnTo>
                        <a:pt x="10" y="1178"/>
                      </a:lnTo>
                      <a:cubicBezTo>
                        <a:pt x="9" y="1180"/>
                        <a:pt x="8" y="1181"/>
                        <a:pt x="7" y="1184"/>
                      </a:cubicBezTo>
                      <a:lnTo>
                        <a:pt x="7" y="1184"/>
                      </a:lnTo>
                      <a:cubicBezTo>
                        <a:pt x="5" y="1188"/>
                        <a:pt x="4" y="1191"/>
                        <a:pt x="2" y="1196"/>
                      </a:cubicBezTo>
                      <a:lnTo>
                        <a:pt x="2" y="1196"/>
                      </a:lnTo>
                      <a:cubicBezTo>
                        <a:pt x="0" y="1201"/>
                        <a:pt x="2" y="1210"/>
                        <a:pt x="3" y="1215"/>
                      </a:cubicBezTo>
                      <a:lnTo>
                        <a:pt x="3" y="1215"/>
                      </a:lnTo>
                      <a:cubicBezTo>
                        <a:pt x="5" y="1221"/>
                        <a:pt x="10" y="1226"/>
                        <a:pt x="14" y="1230"/>
                      </a:cubicBezTo>
                      <a:lnTo>
                        <a:pt x="14" y="1230"/>
                      </a:lnTo>
                      <a:cubicBezTo>
                        <a:pt x="17" y="1234"/>
                        <a:pt x="24" y="1237"/>
                        <a:pt x="29" y="1238"/>
                      </a:cubicBezTo>
                      <a:lnTo>
                        <a:pt x="29" y="1238"/>
                      </a:lnTo>
                      <a:cubicBezTo>
                        <a:pt x="35" y="1241"/>
                        <a:pt x="41" y="1243"/>
                        <a:pt x="47" y="1244"/>
                      </a:cubicBezTo>
                      <a:lnTo>
                        <a:pt x="47" y="1244"/>
                      </a:lnTo>
                      <a:cubicBezTo>
                        <a:pt x="60" y="1247"/>
                        <a:pt x="72" y="1248"/>
                        <a:pt x="84" y="1249"/>
                      </a:cubicBezTo>
                      <a:lnTo>
                        <a:pt x="84" y="1249"/>
                      </a:lnTo>
                      <a:cubicBezTo>
                        <a:pt x="106" y="1252"/>
                        <a:pt x="127" y="1254"/>
                        <a:pt x="148" y="1256"/>
                      </a:cubicBezTo>
                      <a:lnTo>
                        <a:pt x="148" y="1256"/>
                      </a:lnTo>
                      <a:cubicBezTo>
                        <a:pt x="176" y="1259"/>
                        <a:pt x="204" y="1262"/>
                        <a:pt x="231" y="1271"/>
                      </a:cubicBezTo>
                      <a:lnTo>
                        <a:pt x="231" y="1271"/>
                      </a:lnTo>
                      <a:cubicBezTo>
                        <a:pt x="249" y="1278"/>
                        <a:pt x="267" y="1288"/>
                        <a:pt x="283" y="1299"/>
                      </a:cubicBezTo>
                      <a:lnTo>
                        <a:pt x="283" y="1299"/>
                      </a:lnTo>
                      <a:cubicBezTo>
                        <a:pt x="304" y="1314"/>
                        <a:pt x="323" y="1332"/>
                        <a:pt x="340" y="1351"/>
                      </a:cubicBezTo>
                      <a:lnTo>
                        <a:pt x="340" y="1351"/>
                      </a:lnTo>
                      <a:cubicBezTo>
                        <a:pt x="373" y="1392"/>
                        <a:pt x="398" y="1438"/>
                        <a:pt x="420" y="1484"/>
                      </a:cubicBezTo>
                      <a:lnTo>
                        <a:pt x="420" y="1484"/>
                      </a:lnTo>
                      <a:cubicBezTo>
                        <a:pt x="435" y="1516"/>
                        <a:pt x="448" y="1549"/>
                        <a:pt x="460" y="1582"/>
                      </a:cubicBezTo>
                      <a:lnTo>
                        <a:pt x="460" y="1582"/>
                      </a:lnTo>
                      <a:cubicBezTo>
                        <a:pt x="468" y="1601"/>
                        <a:pt x="476" y="1621"/>
                        <a:pt x="483" y="1641"/>
                      </a:cubicBezTo>
                      <a:lnTo>
                        <a:pt x="483" y="1641"/>
                      </a:lnTo>
                      <a:cubicBezTo>
                        <a:pt x="496" y="1681"/>
                        <a:pt x="510" y="1721"/>
                        <a:pt x="523" y="1761"/>
                      </a:cubicBezTo>
                      <a:lnTo>
                        <a:pt x="523" y="1761"/>
                      </a:lnTo>
                      <a:cubicBezTo>
                        <a:pt x="548" y="1840"/>
                        <a:pt x="571" y="1920"/>
                        <a:pt x="594" y="2000"/>
                      </a:cubicBezTo>
                      <a:lnTo>
                        <a:pt x="594" y="2000"/>
                      </a:lnTo>
                      <a:cubicBezTo>
                        <a:pt x="613" y="2069"/>
                        <a:pt x="632" y="2139"/>
                        <a:pt x="650" y="2209"/>
                      </a:cubicBezTo>
                      <a:lnTo>
                        <a:pt x="650" y="2209"/>
                      </a:lnTo>
                      <a:cubicBezTo>
                        <a:pt x="660" y="2244"/>
                        <a:pt x="669" y="2280"/>
                        <a:pt x="678" y="2316"/>
                      </a:cubicBezTo>
                      <a:lnTo>
                        <a:pt x="678" y="2316"/>
                      </a:lnTo>
                      <a:cubicBezTo>
                        <a:pt x="683" y="2334"/>
                        <a:pt x="687" y="2351"/>
                        <a:pt x="691" y="2369"/>
                      </a:cubicBezTo>
                      <a:lnTo>
                        <a:pt x="691" y="2369"/>
                      </a:lnTo>
                      <a:cubicBezTo>
                        <a:pt x="693" y="2379"/>
                        <a:pt x="696" y="2388"/>
                        <a:pt x="698" y="2398"/>
                      </a:cubicBezTo>
                      <a:lnTo>
                        <a:pt x="698" y="2398"/>
                      </a:lnTo>
                      <a:cubicBezTo>
                        <a:pt x="699" y="2403"/>
                        <a:pt x="701" y="2409"/>
                        <a:pt x="702" y="2414"/>
                      </a:cubicBezTo>
                      <a:lnTo>
                        <a:pt x="702" y="2414"/>
                      </a:lnTo>
                      <a:cubicBezTo>
                        <a:pt x="703" y="2420"/>
                        <a:pt x="705" y="2424"/>
                        <a:pt x="707" y="2430"/>
                      </a:cubicBezTo>
                      <a:lnTo>
                        <a:pt x="707" y="2430"/>
                      </a:lnTo>
                      <a:cubicBezTo>
                        <a:pt x="711" y="2435"/>
                        <a:pt x="714" y="2438"/>
                        <a:pt x="718" y="2442"/>
                      </a:cubicBezTo>
                      <a:lnTo>
                        <a:pt x="718" y="2442"/>
                      </a:lnTo>
                      <a:cubicBezTo>
                        <a:pt x="726" y="2449"/>
                        <a:pt x="736" y="2452"/>
                        <a:pt x="746" y="2448"/>
                      </a:cubicBezTo>
                      <a:lnTo>
                        <a:pt x="746" y="2448"/>
                      </a:lnTo>
                      <a:cubicBezTo>
                        <a:pt x="755" y="2446"/>
                        <a:pt x="763" y="2437"/>
                        <a:pt x="765" y="2428"/>
                      </a:cubicBezTo>
                      <a:lnTo>
                        <a:pt x="765" y="2428"/>
                      </a:lnTo>
                      <a:cubicBezTo>
                        <a:pt x="765" y="2421"/>
                        <a:pt x="766" y="2415"/>
                        <a:pt x="766" y="2408"/>
                      </a:cubicBezTo>
                      <a:lnTo>
                        <a:pt x="766" y="2408"/>
                      </a:lnTo>
                      <a:cubicBezTo>
                        <a:pt x="766" y="2401"/>
                        <a:pt x="766" y="2394"/>
                        <a:pt x="765" y="2387"/>
                      </a:cubicBezTo>
                      <a:lnTo>
                        <a:pt x="765" y="2387"/>
                      </a:lnTo>
                      <a:cubicBezTo>
                        <a:pt x="765" y="2382"/>
                        <a:pt x="765" y="2377"/>
                        <a:pt x="764" y="2371"/>
                      </a:cubicBezTo>
                      <a:lnTo>
                        <a:pt x="764" y="2371"/>
                      </a:lnTo>
                      <a:cubicBezTo>
                        <a:pt x="763" y="2360"/>
                        <a:pt x="762" y="2348"/>
                        <a:pt x="761" y="2337"/>
                      </a:cubicBezTo>
                      <a:lnTo>
                        <a:pt x="761" y="2337"/>
                      </a:lnTo>
                      <a:cubicBezTo>
                        <a:pt x="759" y="2314"/>
                        <a:pt x="756" y="2292"/>
                        <a:pt x="755" y="2270"/>
                      </a:cubicBezTo>
                      <a:lnTo>
                        <a:pt x="755" y="2270"/>
                      </a:lnTo>
                      <a:cubicBezTo>
                        <a:pt x="751" y="2234"/>
                        <a:pt x="749" y="2199"/>
                        <a:pt x="746" y="2163"/>
                      </a:cubicBezTo>
                      <a:lnTo>
                        <a:pt x="746" y="2163"/>
                      </a:lnTo>
                      <a:cubicBezTo>
                        <a:pt x="741" y="2081"/>
                        <a:pt x="736" y="1998"/>
                        <a:pt x="731" y="1916"/>
                      </a:cubicBezTo>
                      <a:lnTo>
                        <a:pt x="731" y="1916"/>
                      </a:lnTo>
                      <a:cubicBezTo>
                        <a:pt x="726" y="1833"/>
                        <a:pt x="720" y="1751"/>
                        <a:pt x="713" y="1669"/>
                      </a:cubicBezTo>
                      <a:lnTo>
                        <a:pt x="713" y="1669"/>
                      </a:lnTo>
                      <a:cubicBezTo>
                        <a:pt x="707" y="1588"/>
                        <a:pt x="699" y="1508"/>
                        <a:pt x="696" y="1428"/>
                      </a:cubicBezTo>
                      <a:lnTo>
                        <a:pt x="696" y="1428"/>
                      </a:lnTo>
                      <a:cubicBezTo>
                        <a:pt x="695" y="1402"/>
                        <a:pt x="695" y="1376"/>
                        <a:pt x="696" y="1351"/>
                      </a:cubicBezTo>
                      <a:lnTo>
                        <a:pt x="696" y="1351"/>
                      </a:lnTo>
                      <a:cubicBezTo>
                        <a:pt x="697" y="1343"/>
                        <a:pt x="699" y="1337"/>
                        <a:pt x="701" y="1329"/>
                      </a:cubicBezTo>
                      <a:lnTo>
                        <a:pt x="701" y="1329"/>
                      </a:lnTo>
                      <a:cubicBezTo>
                        <a:pt x="706" y="1318"/>
                        <a:pt x="711" y="1308"/>
                        <a:pt x="718" y="1298"/>
                      </a:cubicBezTo>
                      <a:lnTo>
                        <a:pt x="718" y="1298"/>
                      </a:lnTo>
                      <a:cubicBezTo>
                        <a:pt x="731" y="1282"/>
                        <a:pt x="745" y="1268"/>
                        <a:pt x="760" y="1254"/>
                      </a:cubicBezTo>
                      <a:lnTo>
                        <a:pt x="760" y="1254"/>
                      </a:lnTo>
                      <a:cubicBezTo>
                        <a:pt x="806" y="1216"/>
                        <a:pt x="859" y="1186"/>
                        <a:pt x="911" y="1156"/>
                      </a:cubicBezTo>
                      <a:lnTo>
                        <a:pt x="911" y="1156"/>
                      </a:lnTo>
                      <a:cubicBezTo>
                        <a:pt x="944" y="1136"/>
                        <a:pt x="977" y="1116"/>
                        <a:pt x="1010" y="1097"/>
                      </a:cubicBezTo>
                      <a:lnTo>
                        <a:pt x="1010" y="1097"/>
                      </a:lnTo>
                      <a:cubicBezTo>
                        <a:pt x="1045" y="1076"/>
                        <a:pt x="1080" y="1056"/>
                        <a:pt x="1114" y="1035"/>
                      </a:cubicBezTo>
                      <a:lnTo>
                        <a:pt x="1114" y="1035"/>
                      </a:lnTo>
                      <a:cubicBezTo>
                        <a:pt x="1122" y="1030"/>
                        <a:pt x="1130" y="1025"/>
                        <a:pt x="1138" y="1020"/>
                      </a:cubicBezTo>
                      <a:lnTo>
                        <a:pt x="1138" y="1020"/>
                      </a:lnTo>
                      <a:cubicBezTo>
                        <a:pt x="1148" y="1014"/>
                        <a:pt x="1158" y="1006"/>
                        <a:pt x="1166" y="997"/>
                      </a:cubicBezTo>
                      <a:lnTo>
                        <a:pt x="1166" y="997"/>
                      </a:lnTo>
                      <a:cubicBezTo>
                        <a:pt x="1176" y="988"/>
                        <a:pt x="1181" y="975"/>
                        <a:pt x="1180" y="961"/>
                      </a:cubicBezTo>
                      <a:lnTo>
                        <a:pt x="1180" y="961"/>
                      </a:lnTo>
                      <a:cubicBezTo>
                        <a:pt x="1179" y="948"/>
                        <a:pt x="1170" y="938"/>
                        <a:pt x="1160" y="930"/>
                      </a:cubicBezTo>
                      <a:lnTo>
                        <a:pt x="1160" y="930"/>
                      </a:lnTo>
                      <a:cubicBezTo>
                        <a:pt x="1151" y="923"/>
                        <a:pt x="1141" y="917"/>
                        <a:pt x="1130" y="913"/>
                      </a:cubicBezTo>
                      <a:lnTo>
                        <a:pt x="1130" y="913"/>
                      </a:lnTo>
                      <a:cubicBezTo>
                        <a:pt x="1118" y="906"/>
                        <a:pt x="1105" y="901"/>
                        <a:pt x="1093" y="896"/>
                      </a:cubicBezTo>
                      <a:lnTo>
                        <a:pt x="1093" y="896"/>
                      </a:lnTo>
                      <a:cubicBezTo>
                        <a:pt x="1044" y="875"/>
                        <a:pt x="995" y="855"/>
                        <a:pt x="947" y="834"/>
                      </a:cubicBezTo>
                      <a:lnTo>
                        <a:pt x="947" y="834"/>
                      </a:lnTo>
                      <a:cubicBezTo>
                        <a:pt x="898" y="811"/>
                        <a:pt x="852" y="786"/>
                        <a:pt x="807" y="757"/>
                      </a:cubicBezTo>
                      <a:lnTo>
                        <a:pt x="807" y="757"/>
                      </a:lnTo>
                      <a:cubicBezTo>
                        <a:pt x="798" y="750"/>
                        <a:pt x="789" y="744"/>
                        <a:pt x="781" y="736"/>
                      </a:cubicBezTo>
                      <a:lnTo>
                        <a:pt x="781" y="736"/>
                      </a:lnTo>
                      <a:cubicBezTo>
                        <a:pt x="772" y="727"/>
                        <a:pt x="762" y="718"/>
                        <a:pt x="753" y="708"/>
                      </a:cubicBezTo>
                      <a:lnTo>
                        <a:pt x="753" y="708"/>
                      </a:lnTo>
                      <a:cubicBezTo>
                        <a:pt x="742" y="695"/>
                        <a:pt x="732" y="682"/>
                        <a:pt x="722" y="668"/>
                      </a:cubicBezTo>
                      <a:lnTo>
                        <a:pt x="722" y="668"/>
                      </a:lnTo>
                      <a:cubicBezTo>
                        <a:pt x="710" y="650"/>
                        <a:pt x="699" y="633"/>
                        <a:pt x="689" y="615"/>
                      </a:cubicBezTo>
                      <a:lnTo>
                        <a:pt x="689" y="615"/>
                      </a:lnTo>
                      <a:cubicBezTo>
                        <a:pt x="671" y="582"/>
                        <a:pt x="654" y="548"/>
                        <a:pt x="638" y="514"/>
                      </a:cubicBezTo>
                      <a:lnTo>
                        <a:pt x="638" y="514"/>
                      </a:lnTo>
                      <a:cubicBezTo>
                        <a:pt x="604" y="441"/>
                        <a:pt x="572" y="367"/>
                        <a:pt x="540" y="295"/>
                      </a:cubicBezTo>
                      <a:lnTo>
                        <a:pt x="540" y="295"/>
                      </a:lnTo>
                      <a:cubicBezTo>
                        <a:pt x="510" y="231"/>
                        <a:pt x="480" y="168"/>
                        <a:pt x="453" y="103"/>
                      </a:cubicBezTo>
                      <a:lnTo>
                        <a:pt x="453" y="103"/>
                      </a:lnTo>
                      <a:cubicBezTo>
                        <a:pt x="453" y="100"/>
                        <a:pt x="453" y="98"/>
                        <a:pt x="453" y="95"/>
                      </a:cubicBezTo>
                      <a:lnTo>
                        <a:pt x="453" y="95"/>
                      </a:lnTo>
                      <a:cubicBezTo>
                        <a:pt x="452" y="86"/>
                        <a:pt x="448" y="79"/>
                        <a:pt x="442" y="74"/>
                      </a:cubicBezTo>
                      <a:lnTo>
                        <a:pt x="442" y="74"/>
                      </a:lnTo>
                      <a:cubicBezTo>
                        <a:pt x="437" y="61"/>
                        <a:pt x="431" y="48"/>
                        <a:pt x="428" y="34"/>
                      </a:cubicBezTo>
                      <a:lnTo>
                        <a:pt x="428" y="34"/>
                      </a:lnTo>
                      <a:lnTo>
                        <a:pt x="428" y="34"/>
                      </a:lnTo>
                      <a:lnTo>
                        <a:pt x="428" y="34"/>
                      </a:lnTo>
                      <a:cubicBezTo>
                        <a:pt x="431" y="19"/>
                        <a:pt x="420" y="3"/>
                        <a:pt x="406" y="0"/>
                      </a:cubicBezTo>
                      <a:lnTo>
                        <a:pt x="406" y="0"/>
                      </a:lnTo>
                      <a:cubicBezTo>
                        <a:pt x="404" y="0"/>
                        <a:pt x="402" y="0"/>
                        <a:pt x="400" y="0"/>
                      </a:cubicBezTo>
                      <a:lnTo>
                        <a:pt x="400" y="0"/>
                      </a:lnTo>
                      <a:cubicBezTo>
                        <a:pt x="387" y="0"/>
                        <a:pt x="376" y="9"/>
                        <a:pt x="373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257">
                  <a:extLst>
                    <a:ext uri="{FF2B5EF4-FFF2-40B4-BE49-F238E27FC236}">
                      <a16:creationId xmlns:a16="http://schemas.microsoft.com/office/drawing/2014/main" id="{864DE36B-4EFE-F840-BA2C-DE88CDD719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40438" y="5440363"/>
                  <a:ext cx="73025" cy="93662"/>
                </a:xfrm>
                <a:custGeom>
                  <a:avLst/>
                  <a:gdLst>
                    <a:gd name="T0" fmla="*/ 58 w 201"/>
                    <a:gd name="T1" fmla="*/ 203 h 258"/>
                    <a:gd name="T2" fmla="*/ 59 w 201"/>
                    <a:gd name="T3" fmla="*/ 207 h 258"/>
                    <a:gd name="T4" fmla="*/ 59 w 201"/>
                    <a:gd name="T5" fmla="*/ 201 h 258"/>
                    <a:gd name="T6" fmla="*/ 60 w 201"/>
                    <a:gd name="T7" fmla="*/ 201 h 258"/>
                    <a:gd name="T8" fmla="*/ 59 w 201"/>
                    <a:gd name="T9" fmla="*/ 201 h 258"/>
                    <a:gd name="T10" fmla="*/ 56 w 201"/>
                    <a:gd name="T11" fmla="*/ 199 h 258"/>
                    <a:gd name="T12" fmla="*/ 56 w 201"/>
                    <a:gd name="T13" fmla="*/ 200 h 258"/>
                    <a:gd name="T14" fmla="*/ 56 w 201"/>
                    <a:gd name="T15" fmla="*/ 199 h 258"/>
                    <a:gd name="T16" fmla="*/ 120 w 201"/>
                    <a:gd name="T17" fmla="*/ 176 h 258"/>
                    <a:gd name="T18" fmla="*/ 119 w 201"/>
                    <a:gd name="T19" fmla="*/ 177 h 258"/>
                    <a:gd name="T20" fmla="*/ 140 w 201"/>
                    <a:gd name="T21" fmla="*/ 84 h 258"/>
                    <a:gd name="T22" fmla="*/ 139 w 201"/>
                    <a:gd name="T23" fmla="*/ 104 h 258"/>
                    <a:gd name="T24" fmla="*/ 143 w 201"/>
                    <a:gd name="T25" fmla="*/ 121 h 258"/>
                    <a:gd name="T26" fmla="*/ 144 w 201"/>
                    <a:gd name="T27" fmla="*/ 136 h 258"/>
                    <a:gd name="T28" fmla="*/ 141 w 201"/>
                    <a:gd name="T29" fmla="*/ 148 h 258"/>
                    <a:gd name="T30" fmla="*/ 136 w 201"/>
                    <a:gd name="T31" fmla="*/ 159 h 258"/>
                    <a:gd name="T32" fmla="*/ 122 w 201"/>
                    <a:gd name="T33" fmla="*/ 174 h 258"/>
                    <a:gd name="T34" fmla="*/ 94 w 201"/>
                    <a:gd name="T35" fmla="*/ 191 h 258"/>
                    <a:gd name="T36" fmla="*/ 69 w 201"/>
                    <a:gd name="T37" fmla="*/ 200 h 258"/>
                    <a:gd name="T38" fmla="*/ 59 w 201"/>
                    <a:gd name="T39" fmla="*/ 200 h 258"/>
                    <a:gd name="T40" fmla="*/ 58 w 201"/>
                    <a:gd name="T41" fmla="*/ 200 h 258"/>
                    <a:gd name="T42" fmla="*/ 60 w 201"/>
                    <a:gd name="T43" fmla="*/ 192 h 258"/>
                    <a:gd name="T44" fmla="*/ 86 w 201"/>
                    <a:gd name="T45" fmla="*/ 147 h 258"/>
                    <a:gd name="T46" fmla="*/ 140 w 201"/>
                    <a:gd name="T47" fmla="*/ 84 h 258"/>
                    <a:gd name="T48" fmla="*/ 151 w 201"/>
                    <a:gd name="T49" fmla="*/ 5 h 258"/>
                    <a:gd name="T50" fmla="*/ 119 w 201"/>
                    <a:gd name="T51" fmla="*/ 29 h 258"/>
                    <a:gd name="T52" fmla="*/ 85 w 201"/>
                    <a:gd name="T53" fmla="*/ 60 h 258"/>
                    <a:gd name="T54" fmla="*/ 49 w 201"/>
                    <a:gd name="T55" fmla="*/ 104 h 258"/>
                    <a:gd name="T56" fmla="*/ 26 w 201"/>
                    <a:gd name="T57" fmla="*/ 136 h 258"/>
                    <a:gd name="T58" fmla="*/ 2 w 201"/>
                    <a:gd name="T59" fmla="*/ 209 h 258"/>
                    <a:gd name="T60" fmla="*/ 20 w 201"/>
                    <a:gd name="T61" fmla="*/ 242 h 258"/>
                    <a:gd name="T62" fmla="*/ 59 w 201"/>
                    <a:gd name="T63" fmla="*/ 256 h 258"/>
                    <a:gd name="T64" fmla="*/ 144 w 201"/>
                    <a:gd name="T65" fmla="*/ 227 h 258"/>
                    <a:gd name="T66" fmla="*/ 177 w 201"/>
                    <a:gd name="T67" fmla="*/ 197 h 258"/>
                    <a:gd name="T68" fmla="*/ 196 w 201"/>
                    <a:gd name="T69" fmla="*/ 160 h 258"/>
                    <a:gd name="T70" fmla="*/ 200 w 201"/>
                    <a:gd name="T71" fmla="*/ 123 h 258"/>
                    <a:gd name="T72" fmla="*/ 191 w 201"/>
                    <a:gd name="T73" fmla="*/ 87 h 258"/>
                    <a:gd name="T74" fmla="*/ 157 w 201"/>
                    <a:gd name="T75" fmla="*/ 69 h 258"/>
                    <a:gd name="T76" fmla="*/ 181 w 201"/>
                    <a:gd name="T77" fmla="*/ 51 h 258"/>
                    <a:gd name="T78" fmla="*/ 190 w 201"/>
                    <a:gd name="T79" fmla="*/ 13 h 258"/>
                    <a:gd name="T80" fmla="*/ 166 w 201"/>
                    <a:gd name="T81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1" h="258">
                      <a:moveTo>
                        <a:pt x="58" y="203"/>
                      </a:moveTo>
                      <a:lnTo>
                        <a:pt x="58" y="203"/>
                      </a:lnTo>
                      <a:cubicBezTo>
                        <a:pt x="58" y="205"/>
                        <a:pt x="59" y="206"/>
                        <a:pt x="59" y="207"/>
                      </a:cubicBezTo>
                      <a:lnTo>
                        <a:pt x="59" y="207"/>
                      </a:lnTo>
                      <a:cubicBezTo>
                        <a:pt x="59" y="206"/>
                        <a:pt x="58" y="205"/>
                        <a:pt x="58" y="203"/>
                      </a:cubicBezTo>
                      <a:close/>
                      <a:moveTo>
                        <a:pt x="59" y="201"/>
                      </a:moveTo>
                      <a:lnTo>
                        <a:pt x="59" y="201"/>
                      </a:lnTo>
                      <a:cubicBezTo>
                        <a:pt x="59" y="201"/>
                        <a:pt x="59" y="201"/>
                        <a:pt x="60" y="201"/>
                      </a:cubicBezTo>
                      <a:lnTo>
                        <a:pt x="60" y="201"/>
                      </a:lnTo>
                      <a:cubicBezTo>
                        <a:pt x="59" y="201"/>
                        <a:pt x="59" y="201"/>
                        <a:pt x="59" y="201"/>
                      </a:cubicBezTo>
                      <a:close/>
                      <a:moveTo>
                        <a:pt x="56" y="199"/>
                      </a:moveTo>
                      <a:lnTo>
                        <a:pt x="56" y="199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199"/>
                      </a:lnTo>
                      <a:close/>
                      <a:moveTo>
                        <a:pt x="120" y="176"/>
                      </a:moveTo>
                      <a:lnTo>
                        <a:pt x="120" y="176"/>
                      </a:lnTo>
                      <a:lnTo>
                        <a:pt x="119" y="177"/>
                      </a:lnTo>
                      <a:lnTo>
                        <a:pt x="119" y="177"/>
                      </a:lnTo>
                      <a:cubicBezTo>
                        <a:pt x="119" y="176"/>
                        <a:pt x="120" y="176"/>
                        <a:pt x="120" y="176"/>
                      </a:cubicBezTo>
                      <a:close/>
                      <a:moveTo>
                        <a:pt x="140" y="84"/>
                      </a:moveTo>
                      <a:lnTo>
                        <a:pt x="140" y="84"/>
                      </a:lnTo>
                      <a:cubicBezTo>
                        <a:pt x="137" y="90"/>
                        <a:pt x="136" y="98"/>
                        <a:pt x="139" y="104"/>
                      </a:cubicBezTo>
                      <a:lnTo>
                        <a:pt x="139" y="104"/>
                      </a:lnTo>
                      <a:cubicBezTo>
                        <a:pt x="140" y="110"/>
                        <a:pt x="142" y="115"/>
                        <a:pt x="143" y="121"/>
                      </a:cubicBezTo>
                      <a:lnTo>
                        <a:pt x="143" y="121"/>
                      </a:lnTo>
                      <a:cubicBezTo>
                        <a:pt x="144" y="126"/>
                        <a:pt x="144" y="131"/>
                        <a:pt x="144" y="136"/>
                      </a:cubicBezTo>
                      <a:lnTo>
                        <a:pt x="144" y="136"/>
                      </a:lnTo>
                      <a:cubicBezTo>
                        <a:pt x="144" y="140"/>
                        <a:pt x="143" y="144"/>
                        <a:pt x="141" y="148"/>
                      </a:cubicBezTo>
                      <a:lnTo>
                        <a:pt x="141" y="148"/>
                      </a:lnTo>
                      <a:cubicBezTo>
                        <a:pt x="140" y="151"/>
                        <a:pt x="139" y="155"/>
                        <a:pt x="136" y="159"/>
                      </a:cubicBezTo>
                      <a:lnTo>
                        <a:pt x="136" y="159"/>
                      </a:lnTo>
                      <a:cubicBezTo>
                        <a:pt x="132" y="164"/>
                        <a:pt x="127" y="169"/>
                        <a:pt x="122" y="174"/>
                      </a:cubicBezTo>
                      <a:lnTo>
                        <a:pt x="122" y="174"/>
                      </a:lnTo>
                      <a:cubicBezTo>
                        <a:pt x="113" y="180"/>
                        <a:pt x="104" y="186"/>
                        <a:pt x="94" y="191"/>
                      </a:cubicBezTo>
                      <a:lnTo>
                        <a:pt x="94" y="191"/>
                      </a:lnTo>
                      <a:cubicBezTo>
                        <a:pt x="86" y="194"/>
                        <a:pt x="78" y="197"/>
                        <a:pt x="69" y="200"/>
                      </a:cubicBezTo>
                      <a:lnTo>
                        <a:pt x="69" y="200"/>
                      </a:lnTo>
                      <a:cubicBezTo>
                        <a:pt x="66" y="200"/>
                        <a:pt x="62" y="200"/>
                        <a:pt x="59" y="200"/>
                      </a:cubicBezTo>
                      <a:lnTo>
                        <a:pt x="59" y="200"/>
                      </a:lnTo>
                      <a:cubicBezTo>
                        <a:pt x="58" y="200"/>
                        <a:pt x="58" y="200"/>
                        <a:pt x="58" y="200"/>
                      </a:cubicBezTo>
                      <a:lnTo>
                        <a:pt x="58" y="200"/>
                      </a:lnTo>
                      <a:cubicBezTo>
                        <a:pt x="58" y="197"/>
                        <a:pt x="59" y="195"/>
                        <a:pt x="60" y="192"/>
                      </a:cubicBezTo>
                      <a:lnTo>
                        <a:pt x="60" y="192"/>
                      </a:lnTo>
                      <a:cubicBezTo>
                        <a:pt x="66" y="176"/>
                        <a:pt x="76" y="161"/>
                        <a:pt x="86" y="147"/>
                      </a:cubicBezTo>
                      <a:lnTo>
                        <a:pt x="86" y="147"/>
                      </a:lnTo>
                      <a:cubicBezTo>
                        <a:pt x="103" y="125"/>
                        <a:pt x="120" y="103"/>
                        <a:pt x="140" y="84"/>
                      </a:cubicBezTo>
                      <a:close/>
                      <a:moveTo>
                        <a:pt x="151" y="5"/>
                      </a:moveTo>
                      <a:lnTo>
                        <a:pt x="151" y="5"/>
                      </a:lnTo>
                      <a:cubicBezTo>
                        <a:pt x="140" y="12"/>
                        <a:pt x="129" y="20"/>
                        <a:pt x="119" y="29"/>
                      </a:cubicBezTo>
                      <a:lnTo>
                        <a:pt x="119" y="29"/>
                      </a:lnTo>
                      <a:cubicBezTo>
                        <a:pt x="106" y="38"/>
                        <a:pt x="95" y="49"/>
                        <a:pt x="85" y="60"/>
                      </a:cubicBezTo>
                      <a:lnTo>
                        <a:pt x="85" y="60"/>
                      </a:lnTo>
                      <a:cubicBezTo>
                        <a:pt x="71" y="75"/>
                        <a:pt x="60" y="90"/>
                        <a:pt x="49" y="104"/>
                      </a:cubicBezTo>
                      <a:lnTo>
                        <a:pt x="49" y="104"/>
                      </a:lnTo>
                      <a:cubicBezTo>
                        <a:pt x="40" y="115"/>
                        <a:pt x="33" y="126"/>
                        <a:pt x="26" y="136"/>
                      </a:cubicBezTo>
                      <a:lnTo>
                        <a:pt x="26" y="136"/>
                      </a:lnTo>
                      <a:cubicBezTo>
                        <a:pt x="12" y="157"/>
                        <a:pt x="0" y="183"/>
                        <a:pt x="2" y="209"/>
                      </a:cubicBezTo>
                      <a:lnTo>
                        <a:pt x="2" y="209"/>
                      </a:lnTo>
                      <a:cubicBezTo>
                        <a:pt x="2" y="222"/>
                        <a:pt x="10" y="234"/>
                        <a:pt x="20" y="242"/>
                      </a:cubicBezTo>
                      <a:lnTo>
                        <a:pt x="20" y="242"/>
                      </a:lnTo>
                      <a:cubicBezTo>
                        <a:pt x="30" y="252"/>
                        <a:pt x="45" y="255"/>
                        <a:pt x="59" y="256"/>
                      </a:cubicBezTo>
                      <a:lnTo>
                        <a:pt x="59" y="256"/>
                      </a:lnTo>
                      <a:cubicBezTo>
                        <a:pt x="89" y="257"/>
                        <a:pt x="119" y="243"/>
                        <a:pt x="144" y="227"/>
                      </a:cubicBezTo>
                      <a:lnTo>
                        <a:pt x="144" y="227"/>
                      </a:lnTo>
                      <a:cubicBezTo>
                        <a:pt x="156" y="219"/>
                        <a:pt x="167" y="209"/>
                        <a:pt x="177" y="197"/>
                      </a:cubicBezTo>
                      <a:lnTo>
                        <a:pt x="177" y="197"/>
                      </a:lnTo>
                      <a:cubicBezTo>
                        <a:pt x="186" y="186"/>
                        <a:pt x="191" y="174"/>
                        <a:pt x="196" y="160"/>
                      </a:cubicBezTo>
                      <a:lnTo>
                        <a:pt x="196" y="160"/>
                      </a:lnTo>
                      <a:cubicBezTo>
                        <a:pt x="200" y="149"/>
                        <a:pt x="200" y="135"/>
                        <a:pt x="200" y="123"/>
                      </a:cubicBezTo>
                      <a:lnTo>
                        <a:pt x="200" y="123"/>
                      </a:lnTo>
                      <a:cubicBezTo>
                        <a:pt x="199" y="111"/>
                        <a:pt x="195" y="99"/>
                        <a:pt x="191" y="87"/>
                      </a:cubicBezTo>
                      <a:lnTo>
                        <a:pt x="191" y="87"/>
                      </a:lnTo>
                      <a:cubicBezTo>
                        <a:pt x="187" y="73"/>
                        <a:pt x="171" y="65"/>
                        <a:pt x="157" y="69"/>
                      </a:cubicBezTo>
                      <a:lnTo>
                        <a:pt x="157" y="69"/>
                      </a:lnTo>
                      <a:cubicBezTo>
                        <a:pt x="165" y="63"/>
                        <a:pt x="173" y="58"/>
                        <a:pt x="181" y="51"/>
                      </a:cubicBezTo>
                      <a:lnTo>
                        <a:pt x="181" y="51"/>
                      </a:lnTo>
                      <a:cubicBezTo>
                        <a:pt x="194" y="43"/>
                        <a:pt x="198" y="26"/>
                        <a:pt x="190" y="13"/>
                      </a:cubicBezTo>
                      <a:lnTo>
                        <a:pt x="190" y="13"/>
                      </a:lnTo>
                      <a:cubicBezTo>
                        <a:pt x="184" y="5"/>
                        <a:pt x="175" y="0"/>
                        <a:pt x="166" y="0"/>
                      </a:cubicBezTo>
                      <a:lnTo>
                        <a:pt x="166" y="0"/>
                      </a:lnTo>
                      <a:cubicBezTo>
                        <a:pt x="161" y="0"/>
                        <a:pt x="156" y="2"/>
                        <a:pt x="151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258">
                  <a:extLst>
                    <a:ext uri="{FF2B5EF4-FFF2-40B4-BE49-F238E27FC236}">
                      <a16:creationId xmlns:a16="http://schemas.microsoft.com/office/drawing/2014/main" id="{552BD087-E917-CE43-A497-DAFEC0FBBD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1363" y="5121275"/>
                  <a:ext cx="63500" cy="74613"/>
                </a:xfrm>
                <a:custGeom>
                  <a:avLst/>
                  <a:gdLst>
                    <a:gd name="T0" fmla="*/ 17 w 176"/>
                    <a:gd name="T1" fmla="*/ 4 h 207"/>
                    <a:gd name="T2" fmla="*/ 17 w 176"/>
                    <a:gd name="T3" fmla="*/ 4 h 207"/>
                    <a:gd name="T4" fmla="*/ 8 w 176"/>
                    <a:gd name="T5" fmla="*/ 43 h 207"/>
                    <a:gd name="T6" fmla="*/ 8 w 176"/>
                    <a:gd name="T7" fmla="*/ 43 h 207"/>
                    <a:gd name="T8" fmla="*/ 122 w 176"/>
                    <a:gd name="T9" fmla="*/ 192 h 207"/>
                    <a:gd name="T10" fmla="*/ 122 w 176"/>
                    <a:gd name="T11" fmla="*/ 192 h 207"/>
                    <a:gd name="T12" fmla="*/ 140 w 176"/>
                    <a:gd name="T13" fmla="*/ 204 h 207"/>
                    <a:gd name="T14" fmla="*/ 140 w 176"/>
                    <a:gd name="T15" fmla="*/ 204 h 207"/>
                    <a:gd name="T16" fmla="*/ 161 w 176"/>
                    <a:gd name="T17" fmla="*/ 200 h 207"/>
                    <a:gd name="T18" fmla="*/ 161 w 176"/>
                    <a:gd name="T19" fmla="*/ 200 h 207"/>
                    <a:gd name="T20" fmla="*/ 174 w 176"/>
                    <a:gd name="T21" fmla="*/ 183 h 207"/>
                    <a:gd name="T22" fmla="*/ 174 w 176"/>
                    <a:gd name="T23" fmla="*/ 183 h 207"/>
                    <a:gd name="T24" fmla="*/ 170 w 176"/>
                    <a:gd name="T25" fmla="*/ 162 h 207"/>
                    <a:gd name="T26" fmla="*/ 170 w 176"/>
                    <a:gd name="T27" fmla="*/ 162 h 207"/>
                    <a:gd name="T28" fmla="*/ 55 w 176"/>
                    <a:gd name="T29" fmla="*/ 12 h 207"/>
                    <a:gd name="T30" fmla="*/ 55 w 176"/>
                    <a:gd name="T31" fmla="*/ 12 h 207"/>
                    <a:gd name="T32" fmla="*/ 37 w 176"/>
                    <a:gd name="T33" fmla="*/ 1 h 207"/>
                    <a:gd name="T34" fmla="*/ 37 w 176"/>
                    <a:gd name="T35" fmla="*/ 1 h 207"/>
                    <a:gd name="T36" fmla="*/ 31 w 176"/>
                    <a:gd name="T37" fmla="*/ 0 h 207"/>
                    <a:gd name="T38" fmla="*/ 31 w 176"/>
                    <a:gd name="T39" fmla="*/ 0 h 207"/>
                    <a:gd name="T40" fmla="*/ 17 w 176"/>
                    <a:gd name="T41" fmla="*/ 4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207">
                      <a:moveTo>
                        <a:pt x="17" y="4"/>
                      </a:moveTo>
                      <a:lnTo>
                        <a:pt x="17" y="4"/>
                      </a:lnTo>
                      <a:cubicBezTo>
                        <a:pt x="4" y="12"/>
                        <a:pt x="0" y="31"/>
                        <a:pt x="8" y="43"/>
                      </a:cubicBezTo>
                      <a:lnTo>
                        <a:pt x="8" y="43"/>
                      </a:lnTo>
                      <a:cubicBezTo>
                        <a:pt x="45" y="93"/>
                        <a:pt x="83" y="143"/>
                        <a:pt x="122" y="192"/>
                      </a:cubicBezTo>
                      <a:lnTo>
                        <a:pt x="122" y="192"/>
                      </a:lnTo>
                      <a:cubicBezTo>
                        <a:pt x="128" y="198"/>
                        <a:pt x="132" y="202"/>
                        <a:pt x="140" y="204"/>
                      </a:cubicBezTo>
                      <a:lnTo>
                        <a:pt x="140" y="204"/>
                      </a:lnTo>
                      <a:cubicBezTo>
                        <a:pt x="147" y="206"/>
                        <a:pt x="155" y="204"/>
                        <a:pt x="161" y="200"/>
                      </a:cubicBezTo>
                      <a:lnTo>
                        <a:pt x="161" y="200"/>
                      </a:lnTo>
                      <a:cubicBezTo>
                        <a:pt x="168" y="196"/>
                        <a:pt x="172" y="190"/>
                        <a:pt x="174" y="183"/>
                      </a:cubicBezTo>
                      <a:lnTo>
                        <a:pt x="174" y="183"/>
                      </a:lnTo>
                      <a:cubicBezTo>
                        <a:pt x="175" y="176"/>
                        <a:pt x="174" y="167"/>
                        <a:pt x="170" y="162"/>
                      </a:cubicBezTo>
                      <a:lnTo>
                        <a:pt x="170" y="162"/>
                      </a:lnTo>
                      <a:cubicBezTo>
                        <a:pt x="130" y="113"/>
                        <a:pt x="93" y="63"/>
                        <a:pt x="55" y="12"/>
                      </a:cubicBezTo>
                      <a:lnTo>
                        <a:pt x="55" y="12"/>
                      </a:lnTo>
                      <a:cubicBezTo>
                        <a:pt x="50" y="6"/>
                        <a:pt x="45" y="3"/>
                        <a:pt x="37" y="1"/>
                      </a:cubicBezTo>
                      <a:lnTo>
                        <a:pt x="37" y="1"/>
                      </a:lnTo>
                      <a:cubicBezTo>
                        <a:pt x="35" y="0"/>
                        <a:pt x="34" y="0"/>
                        <a:pt x="31" y="0"/>
                      </a:cubicBezTo>
                      <a:lnTo>
                        <a:pt x="31" y="0"/>
                      </a:lnTo>
                      <a:cubicBezTo>
                        <a:pt x="26" y="0"/>
                        <a:pt x="21" y="1"/>
                        <a:pt x="1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259">
                  <a:extLst>
                    <a:ext uri="{FF2B5EF4-FFF2-40B4-BE49-F238E27FC236}">
                      <a16:creationId xmlns:a16="http://schemas.microsoft.com/office/drawing/2014/main" id="{A4A1727C-1C48-164E-9A86-1928D9A48E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07063" y="5300663"/>
                  <a:ext cx="88900" cy="33337"/>
                </a:xfrm>
                <a:custGeom>
                  <a:avLst/>
                  <a:gdLst>
                    <a:gd name="T0" fmla="*/ 4 w 248"/>
                    <a:gd name="T1" fmla="*/ 22 h 92"/>
                    <a:gd name="T2" fmla="*/ 4 w 248"/>
                    <a:gd name="T3" fmla="*/ 22 h 92"/>
                    <a:gd name="T4" fmla="*/ 25 w 248"/>
                    <a:gd name="T5" fmla="*/ 56 h 92"/>
                    <a:gd name="T6" fmla="*/ 25 w 248"/>
                    <a:gd name="T7" fmla="*/ 56 h 92"/>
                    <a:gd name="T8" fmla="*/ 211 w 248"/>
                    <a:gd name="T9" fmla="*/ 88 h 92"/>
                    <a:gd name="T10" fmla="*/ 211 w 248"/>
                    <a:gd name="T11" fmla="*/ 88 h 92"/>
                    <a:gd name="T12" fmla="*/ 245 w 248"/>
                    <a:gd name="T13" fmla="*/ 67 h 92"/>
                    <a:gd name="T14" fmla="*/ 245 w 248"/>
                    <a:gd name="T15" fmla="*/ 67 h 92"/>
                    <a:gd name="T16" fmla="*/ 223 w 248"/>
                    <a:gd name="T17" fmla="*/ 33 h 92"/>
                    <a:gd name="T18" fmla="*/ 223 w 248"/>
                    <a:gd name="T19" fmla="*/ 33 h 92"/>
                    <a:gd name="T20" fmla="*/ 36 w 248"/>
                    <a:gd name="T21" fmla="*/ 1 h 92"/>
                    <a:gd name="T22" fmla="*/ 36 w 248"/>
                    <a:gd name="T23" fmla="*/ 1 h 92"/>
                    <a:gd name="T24" fmla="*/ 31 w 248"/>
                    <a:gd name="T25" fmla="*/ 0 h 92"/>
                    <a:gd name="T26" fmla="*/ 31 w 248"/>
                    <a:gd name="T27" fmla="*/ 0 h 92"/>
                    <a:gd name="T28" fmla="*/ 4 w 248"/>
                    <a:gd name="T29" fmla="*/ 2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8" h="92">
                      <a:moveTo>
                        <a:pt x="4" y="22"/>
                      </a:moveTo>
                      <a:lnTo>
                        <a:pt x="4" y="22"/>
                      </a:lnTo>
                      <a:cubicBezTo>
                        <a:pt x="0" y="37"/>
                        <a:pt x="10" y="53"/>
                        <a:pt x="25" y="56"/>
                      </a:cubicBezTo>
                      <a:lnTo>
                        <a:pt x="25" y="56"/>
                      </a:lnTo>
                      <a:cubicBezTo>
                        <a:pt x="87" y="66"/>
                        <a:pt x="149" y="77"/>
                        <a:pt x="211" y="88"/>
                      </a:cubicBezTo>
                      <a:lnTo>
                        <a:pt x="211" y="88"/>
                      </a:lnTo>
                      <a:cubicBezTo>
                        <a:pt x="226" y="91"/>
                        <a:pt x="241" y="82"/>
                        <a:pt x="245" y="67"/>
                      </a:cubicBezTo>
                      <a:lnTo>
                        <a:pt x="245" y="67"/>
                      </a:lnTo>
                      <a:cubicBezTo>
                        <a:pt x="247" y="53"/>
                        <a:pt x="238" y="36"/>
                        <a:pt x="223" y="33"/>
                      </a:cubicBezTo>
                      <a:lnTo>
                        <a:pt x="223" y="33"/>
                      </a:lnTo>
                      <a:cubicBezTo>
                        <a:pt x="161" y="23"/>
                        <a:pt x="99" y="12"/>
                        <a:pt x="36" y="1"/>
                      </a:cubicBezTo>
                      <a:lnTo>
                        <a:pt x="36" y="1"/>
                      </a:lnTo>
                      <a:cubicBezTo>
                        <a:pt x="35" y="1"/>
                        <a:pt x="33" y="0"/>
                        <a:pt x="31" y="0"/>
                      </a:cubicBezTo>
                      <a:lnTo>
                        <a:pt x="31" y="0"/>
                      </a:lnTo>
                      <a:cubicBezTo>
                        <a:pt x="18" y="0"/>
                        <a:pt x="7" y="9"/>
                        <a:pt x="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260">
                  <a:extLst>
                    <a:ext uri="{FF2B5EF4-FFF2-40B4-BE49-F238E27FC236}">
                      <a16:creationId xmlns:a16="http://schemas.microsoft.com/office/drawing/2014/main" id="{B0E8C45A-BCF6-6447-ABED-20FF75EF1B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49913" y="5651500"/>
                  <a:ext cx="82550" cy="23813"/>
                </a:xfrm>
                <a:custGeom>
                  <a:avLst/>
                  <a:gdLst>
                    <a:gd name="T0" fmla="*/ 197 w 229"/>
                    <a:gd name="T1" fmla="*/ 0 h 67"/>
                    <a:gd name="T2" fmla="*/ 197 w 229"/>
                    <a:gd name="T3" fmla="*/ 0 h 67"/>
                    <a:gd name="T4" fmla="*/ 27 w 229"/>
                    <a:gd name="T5" fmla="*/ 9 h 67"/>
                    <a:gd name="T6" fmla="*/ 27 w 229"/>
                    <a:gd name="T7" fmla="*/ 9 h 67"/>
                    <a:gd name="T8" fmla="*/ 0 w 229"/>
                    <a:gd name="T9" fmla="*/ 38 h 67"/>
                    <a:gd name="T10" fmla="*/ 0 w 229"/>
                    <a:gd name="T11" fmla="*/ 38 h 67"/>
                    <a:gd name="T12" fmla="*/ 30 w 229"/>
                    <a:gd name="T13" fmla="*/ 64 h 67"/>
                    <a:gd name="T14" fmla="*/ 30 w 229"/>
                    <a:gd name="T15" fmla="*/ 64 h 67"/>
                    <a:gd name="T16" fmla="*/ 200 w 229"/>
                    <a:gd name="T17" fmla="*/ 56 h 67"/>
                    <a:gd name="T18" fmla="*/ 200 w 229"/>
                    <a:gd name="T19" fmla="*/ 56 h 67"/>
                    <a:gd name="T20" fmla="*/ 226 w 229"/>
                    <a:gd name="T21" fmla="*/ 26 h 67"/>
                    <a:gd name="T22" fmla="*/ 226 w 229"/>
                    <a:gd name="T23" fmla="*/ 26 h 67"/>
                    <a:gd name="T24" fmla="*/ 198 w 229"/>
                    <a:gd name="T25" fmla="*/ 0 h 67"/>
                    <a:gd name="T26" fmla="*/ 198 w 229"/>
                    <a:gd name="T27" fmla="*/ 0 h 67"/>
                    <a:gd name="T28" fmla="*/ 197 w 229"/>
                    <a:gd name="T2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9" h="67">
                      <a:moveTo>
                        <a:pt x="197" y="0"/>
                      </a:moveTo>
                      <a:lnTo>
                        <a:pt x="197" y="0"/>
                      </a:lnTo>
                      <a:cubicBezTo>
                        <a:pt x="141" y="1"/>
                        <a:pt x="84" y="5"/>
                        <a:pt x="27" y="9"/>
                      </a:cubicBezTo>
                      <a:lnTo>
                        <a:pt x="27" y="9"/>
                      </a:lnTo>
                      <a:cubicBezTo>
                        <a:pt x="11" y="10"/>
                        <a:pt x="0" y="23"/>
                        <a:pt x="0" y="38"/>
                      </a:cubicBezTo>
                      <a:lnTo>
                        <a:pt x="0" y="38"/>
                      </a:lnTo>
                      <a:cubicBezTo>
                        <a:pt x="1" y="53"/>
                        <a:pt x="15" y="66"/>
                        <a:pt x="30" y="64"/>
                      </a:cubicBezTo>
                      <a:lnTo>
                        <a:pt x="30" y="64"/>
                      </a:lnTo>
                      <a:cubicBezTo>
                        <a:pt x="87" y="61"/>
                        <a:pt x="144" y="57"/>
                        <a:pt x="200" y="56"/>
                      </a:cubicBezTo>
                      <a:lnTo>
                        <a:pt x="200" y="56"/>
                      </a:lnTo>
                      <a:cubicBezTo>
                        <a:pt x="215" y="56"/>
                        <a:pt x="228" y="41"/>
                        <a:pt x="226" y="26"/>
                      </a:cubicBezTo>
                      <a:lnTo>
                        <a:pt x="226" y="26"/>
                      </a:lnTo>
                      <a:cubicBezTo>
                        <a:pt x="226" y="11"/>
                        <a:pt x="213" y="0"/>
                        <a:pt x="198" y="0"/>
                      </a:cubicBezTo>
                      <a:lnTo>
                        <a:pt x="198" y="0"/>
                      </a:lnTo>
                      <a:cubicBezTo>
                        <a:pt x="198" y="0"/>
                        <a:pt x="198" y="0"/>
                        <a:pt x="197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261">
                  <a:extLst>
                    <a:ext uri="{FF2B5EF4-FFF2-40B4-BE49-F238E27FC236}">
                      <a16:creationId xmlns:a16="http://schemas.microsoft.com/office/drawing/2014/main" id="{6DC4AB8B-72FA-DC4D-B358-30140AD1F2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53100" y="5854700"/>
                  <a:ext cx="112713" cy="90488"/>
                </a:xfrm>
                <a:custGeom>
                  <a:avLst/>
                  <a:gdLst>
                    <a:gd name="T0" fmla="*/ 267 w 315"/>
                    <a:gd name="T1" fmla="*/ 4 h 250"/>
                    <a:gd name="T2" fmla="*/ 267 w 315"/>
                    <a:gd name="T3" fmla="*/ 4 h 250"/>
                    <a:gd name="T4" fmla="*/ 15 w 315"/>
                    <a:gd name="T5" fmla="*/ 197 h 250"/>
                    <a:gd name="T6" fmla="*/ 15 w 315"/>
                    <a:gd name="T7" fmla="*/ 197 h 250"/>
                    <a:gd name="T8" fmla="*/ 2 w 315"/>
                    <a:gd name="T9" fmla="*/ 215 h 250"/>
                    <a:gd name="T10" fmla="*/ 2 w 315"/>
                    <a:gd name="T11" fmla="*/ 215 h 250"/>
                    <a:gd name="T12" fmla="*/ 6 w 315"/>
                    <a:gd name="T13" fmla="*/ 235 h 250"/>
                    <a:gd name="T14" fmla="*/ 6 w 315"/>
                    <a:gd name="T15" fmla="*/ 235 h 250"/>
                    <a:gd name="T16" fmla="*/ 24 w 315"/>
                    <a:gd name="T17" fmla="*/ 248 h 250"/>
                    <a:gd name="T18" fmla="*/ 24 w 315"/>
                    <a:gd name="T19" fmla="*/ 248 h 250"/>
                    <a:gd name="T20" fmla="*/ 45 w 315"/>
                    <a:gd name="T21" fmla="*/ 244 h 250"/>
                    <a:gd name="T22" fmla="*/ 45 w 315"/>
                    <a:gd name="T23" fmla="*/ 244 h 250"/>
                    <a:gd name="T24" fmla="*/ 297 w 315"/>
                    <a:gd name="T25" fmla="*/ 52 h 250"/>
                    <a:gd name="T26" fmla="*/ 297 w 315"/>
                    <a:gd name="T27" fmla="*/ 52 h 250"/>
                    <a:gd name="T28" fmla="*/ 305 w 315"/>
                    <a:gd name="T29" fmla="*/ 13 h 250"/>
                    <a:gd name="T30" fmla="*/ 305 w 315"/>
                    <a:gd name="T31" fmla="*/ 13 h 250"/>
                    <a:gd name="T32" fmla="*/ 281 w 315"/>
                    <a:gd name="T33" fmla="*/ 0 h 250"/>
                    <a:gd name="T34" fmla="*/ 281 w 315"/>
                    <a:gd name="T35" fmla="*/ 0 h 250"/>
                    <a:gd name="T36" fmla="*/ 267 w 315"/>
                    <a:gd name="T37" fmla="*/ 4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5" h="250">
                      <a:moveTo>
                        <a:pt x="267" y="4"/>
                      </a:moveTo>
                      <a:lnTo>
                        <a:pt x="267" y="4"/>
                      </a:lnTo>
                      <a:cubicBezTo>
                        <a:pt x="182" y="67"/>
                        <a:pt x="96" y="130"/>
                        <a:pt x="15" y="197"/>
                      </a:cubicBezTo>
                      <a:lnTo>
                        <a:pt x="15" y="197"/>
                      </a:lnTo>
                      <a:cubicBezTo>
                        <a:pt x="9" y="202"/>
                        <a:pt x="4" y="207"/>
                        <a:pt x="2" y="215"/>
                      </a:cubicBezTo>
                      <a:lnTo>
                        <a:pt x="2" y="215"/>
                      </a:lnTo>
                      <a:cubicBezTo>
                        <a:pt x="0" y="222"/>
                        <a:pt x="2" y="229"/>
                        <a:pt x="6" y="235"/>
                      </a:cubicBezTo>
                      <a:lnTo>
                        <a:pt x="6" y="235"/>
                      </a:lnTo>
                      <a:cubicBezTo>
                        <a:pt x="10" y="242"/>
                        <a:pt x="16" y="246"/>
                        <a:pt x="24" y="248"/>
                      </a:cubicBezTo>
                      <a:lnTo>
                        <a:pt x="24" y="248"/>
                      </a:lnTo>
                      <a:cubicBezTo>
                        <a:pt x="30" y="249"/>
                        <a:pt x="39" y="248"/>
                        <a:pt x="45" y="244"/>
                      </a:cubicBezTo>
                      <a:lnTo>
                        <a:pt x="45" y="244"/>
                      </a:lnTo>
                      <a:cubicBezTo>
                        <a:pt x="126" y="177"/>
                        <a:pt x="211" y="114"/>
                        <a:pt x="297" y="52"/>
                      </a:cubicBezTo>
                      <a:lnTo>
                        <a:pt x="297" y="52"/>
                      </a:lnTo>
                      <a:cubicBezTo>
                        <a:pt x="309" y="43"/>
                        <a:pt x="314" y="26"/>
                        <a:pt x="305" y="13"/>
                      </a:cubicBezTo>
                      <a:lnTo>
                        <a:pt x="305" y="13"/>
                      </a:lnTo>
                      <a:cubicBezTo>
                        <a:pt x="300" y="5"/>
                        <a:pt x="290" y="0"/>
                        <a:pt x="281" y="0"/>
                      </a:cubicBezTo>
                      <a:lnTo>
                        <a:pt x="281" y="0"/>
                      </a:lnTo>
                      <a:cubicBezTo>
                        <a:pt x="276" y="0"/>
                        <a:pt x="271" y="2"/>
                        <a:pt x="26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262">
                  <a:extLst>
                    <a:ext uri="{FF2B5EF4-FFF2-40B4-BE49-F238E27FC236}">
                      <a16:creationId xmlns:a16="http://schemas.microsoft.com/office/drawing/2014/main" id="{C355B91D-959F-CF4F-ACC6-B44F2FDEB1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54725" y="6175375"/>
                  <a:ext cx="55563" cy="138113"/>
                </a:xfrm>
                <a:custGeom>
                  <a:avLst/>
                  <a:gdLst>
                    <a:gd name="T0" fmla="*/ 94 w 154"/>
                    <a:gd name="T1" fmla="*/ 22 h 382"/>
                    <a:gd name="T2" fmla="*/ 94 w 154"/>
                    <a:gd name="T3" fmla="*/ 22 h 382"/>
                    <a:gd name="T4" fmla="*/ 3 w 154"/>
                    <a:gd name="T5" fmla="*/ 344 h 382"/>
                    <a:gd name="T6" fmla="*/ 3 w 154"/>
                    <a:gd name="T7" fmla="*/ 344 h 382"/>
                    <a:gd name="T8" fmla="*/ 24 w 154"/>
                    <a:gd name="T9" fmla="*/ 377 h 382"/>
                    <a:gd name="T10" fmla="*/ 24 w 154"/>
                    <a:gd name="T11" fmla="*/ 377 h 382"/>
                    <a:gd name="T12" fmla="*/ 58 w 154"/>
                    <a:gd name="T13" fmla="*/ 356 h 382"/>
                    <a:gd name="T14" fmla="*/ 58 w 154"/>
                    <a:gd name="T15" fmla="*/ 356 h 382"/>
                    <a:gd name="T16" fmla="*/ 148 w 154"/>
                    <a:gd name="T17" fmla="*/ 34 h 382"/>
                    <a:gd name="T18" fmla="*/ 148 w 154"/>
                    <a:gd name="T19" fmla="*/ 34 h 382"/>
                    <a:gd name="T20" fmla="*/ 127 w 154"/>
                    <a:gd name="T21" fmla="*/ 1 h 382"/>
                    <a:gd name="T22" fmla="*/ 127 w 154"/>
                    <a:gd name="T23" fmla="*/ 1 h 382"/>
                    <a:gd name="T24" fmla="*/ 121 w 154"/>
                    <a:gd name="T25" fmla="*/ 0 h 382"/>
                    <a:gd name="T26" fmla="*/ 121 w 154"/>
                    <a:gd name="T27" fmla="*/ 0 h 382"/>
                    <a:gd name="T28" fmla="*/ 94 w 154"/>
                    <a:gd name="T29" fmla="*/ 22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4" h="382">
                      <a:moveTo>
                        <a:pt x="94" y="22"/>
                      </a:moveTo>
                      <a:lnTo>
                        <a:pt x="94" y="22"/>
                      </a:lnTo>
                      <a:cubicBezTo>
                        <a:pt x="63" y="129"/>
                        <a:pt x="32" y="236"/>
                        <a:pt x="3" y="344"/>
                      </a:cubicBezTo>
                      <a:lnTo>
                        <a:pt x="3" y="344"/>
                      </a:lnTo>
                      <a:cubicBezTo>
                        <a:pt x="0" y="359"/>
                        <a:pt x="10" y="374"/>
                        <a:pt x="24" y="377"/>
                      </a:cubicBezTo>
                      <a:lnTo>
                        <a:pt x="24" y="377"/>
                      </a:lnTo>
                      <a:cubicBezTo>
                        <a:pt x="40" y="381"/>
                        <a:pt x="53" y="371"/>
                        <a:pt x="58" y="356"/>
                      </a:cubicBezTo>
                      <a:lnTo>
                        <a:pt x="58" y="356"/>
                      </a:lnTo>
                      <a:cubicBezTo>
                        <a:pt x="86" y="248"/>
                        <a:pt x="118" y="141"/>
                        <a:pt x="148" y="34"/>
                      </a:cubicBezTo>
                      <a:lnTo>
                        <a:pt x="148" y="34"/>
                      </a:lnTo>
                      <a:cubicBezTo>
                        <a:pt x="153" y="19"/>
                        <a:pt x="141" y="4"/>
                        <a:pt x="127" y="1"/>
                      </a:cubicBezTo>
                      <a:lnTo>
                        <a:pt x="127" y="1"/>
                      </a:lnTo>
                      <a:cubicBezTo>
                        <a:pt x="125" y="0"/>
                        <a:pt x="123" y="0"/>
                        <a:pt x="121" y="0"/>
                      </a:cubicBezTo>
                      <a:lnTo>
                        <a:pt x="121" y="0"/>
                      </a:lnTo>
                      <a:cubicBezTo>
                        <a:pt x="108" y="0"/>
                        <a:pt x="98" y="10"/>
                        <a:pt x="9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263">
                  <a:extLst>
                    <a:ext uri="{FF2B5EF4-FFF2-40B4-BE49-F238E27FC236}">
                      <a16:creationId xmlns:a16="http://schemas.microsoft.com/office/drawing/2014/main" id="{FB566A32-6558-7640-9CC9-CDFA34F703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92850" y="6043613"/>
                  <a:ext cx="46038" cy="114300"/>
                </a:xfrm>
                <a:custGeom>
                  <a:avLst/>
                  <a:gdLst>
                    <a:gd name="T0" fmla="*/ 22 w 126"/>
                    <a:gd name="T1" fmla="*/ 2 h 316"/>
                    <a:gd name="T2" fmla="*/ 22 w 126"/>
                    <a:gd name="T3" fmla="*/ 2 h 316"/>
                    <a:gd name="T4" fmla="*/ 4 w 126"/>
                    <a:gd name="T5" fmla="*/ 36 h 316"/>
                    <a:gd name="T6" fmla="*/ 4 w 126"/>
                    <a:gd name="T7" fmla="*/ 36 h 316"/>
                    <a:gd name="T8" fmla="*/ 69 w 126"/>
                    <a:gd name="T9" fmla="*/ 293 h 316"/>
                    <a:gd name="T10" fmla="*/ 69 w 126"/>
                    <a:gd name="T11" fmla="*/ 293 h 316"/>
                    <a:gd name="T12" fmla="*/ 103 w 126"/>
                    <a:gd name="T13" fmla="*/ 311 h 316"/>
                    <a:gd name="T14" fmla="*/ 103 w 126"/>
                    <a:gd name="T15" fmla="*/ 311 h 316"/>
                    <a:gd name="T16" fmla="*/ 121 w 126"/>
                    <a:gd name="T17" fmla="*/ 276 h 316"/>
                    <a:gd name="T18" fmla="*/ 121 w 126"/>
                    <a:gd name="T19" fmla="*/ 276 h 316"/>
                    <a:gd name="T20" fmla="*/ 57 w 126"/>
                    <a:gd name="T21" fmla="*/ 20 h 316"/>
                    <a:gd name="T22" fmla="*/ 57 w 126"/>
                    <a:gd name="T23" fmla="*/ 20 h 316"/>
                    <a:gd name="T24" fmla="*/ 30 w 126"/>
                    <a:gd name="T25" fmla="*/ 0 h 316"/>
                    <a:gd name="T26" fmla="*/ 30 w 126"/>
                    <a:gd name="T27" fmla="*/ 0 h 316"/>
                    <a:gd name="T28" fmla="*/ 22 w 126"/>
                    <a:gd name="T29" fmla="*/ 2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6" h="316">
                      <a:moveTo>
                        <a:pt x="22" y="2"/>
                      </a:moveTo>
                      <a:lnTo>
                        <a:pt x="22" y="2"/>
                      </a:lnTo>
                      <a:cubicBezTo>
                        <a:pt x="7" y="7"/>
                        <a:pt x="0" y="22"/>
                        <a:pt x="4" y="36"/>
                      </a:cubicBezTo>
                      <a:lnTo>
                        <a:pt x="4" y="36"/>
                      </a:lnTo>
                      <a:cubicBezTo>
                        <a:pt x="26" y="122"/>
                        <a:pt x="47" y="207"/>
                        <a:pt x="69" y="293"/>
                      </a:cubicBezTo>
                      <a:lnTo>
                        <a:pt x="69" y="293"/>
                      </a:lnTo>
                      <a:cubicBezTo>
                        <a:pt x="72" y="307"/>
                        <a:pt x="90" y="315"/>
                        <a:pt x="103" y="311"/>
                      </a:cubicBezTo>
                      <a:lnTo>
                        <a:pt x="103" y="311"/>
                      </a:lnTo>
                      <a:cubicBezTo>
                        <a:pt x="119" y="306"/>
                        <a:pt x="125" y="290"/>
                        <a:pt x="121" y="276"/>
                      </a:cubicBezTo>
                      <a:lnTo>
                        <a:pt x="121" y="276"/>
                      </a:lnTo>
                      <a:cubicBezTo>
                        <a:pt x="100" y="190"/>
                        <a:pt x="79" y="105"/>
                        <a:pt x="57" y="20"/>
                      </a:cubicBezTo>
                      <a:lnTo>
                        <a:pt x="57" y="20"/>
                      </a:lnTo>
                      <a:cubicBezTo>
                        <a:pt x="54" y="8"/>
                        <a:pt x="42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5" y="1"/>
                        <a:pt x="2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264">
                  <a:extLst>
                    <a:ext uri="{FF2B5EF4-FFF2-40B4-BE49-F238E27FC236}">
                      <a16:creationId xmlns:a16="http://schemas.microsoft.com/office/drawing/2014/main" id="{64C69719-06F9-5743-8759-5B113F15AA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4775" y="5759450"/>
                  <a:ext cx="95250" cy="23813"/>
                </a:xfrm>
                <a:custGeom>
                  <a:avLst/>
                  <a:gdLst>
                    <a:gd name="T0" fmla="*/ 8 w 263"/>
                    <a:gd name="T1" fmla="*/ 9 h 64"/>
                    <a:gd name="T2" fmla="*/ 8 w 263"/>
                    <a:gd name="T3" fmla="*/ 9 h 64"/>
                    <a:gd name="T4" fmla="*/ 0 w 263"/>
                    <a:gd name="T5" fmla="*/ 29 h 64"/>
                    <a:gd name="T6" fmla="*/ 0 w 263"/>
                    <a:gd name="T7" fmla="*/ 29 h 64"/>
                    <a:gd name="T8" fmla="*/ 9 w 263"/>
                    <a:gd name="T9" fmla="*/ 48 h 64"/>
                    <a:gd name="T10" fmla="*/ 9 w 263"/>
                    <a:gd name="T11" fmla="*/ 48 h 64"/>
                    <a:gd name="T12" fmla="*/ 30 w 263"/>
                    <a:gd name="T13" fmla="*/ 55 h 64"/>
                    <a:gd name="T14" fmla="*/ 30 w 263"/>
                    <a:gd name="T15" fmla="*/ 55 h 64"/>
                    <a:gd name="T16" fmla="*/ 235 w 263"/>
                    <a:gd name="T17" fmla="*/ 58 h 64"/>
                    <a:gd name="T18" fmla="*/ 235 w 263"/>
                    <a:gd name="T19" fmla="*/ 58 h 64"/>
                    <a:gd name="T20" fmla="*/ 261 w 263"/>
                    <a:gd name="T21" fmla="*/ 29 h 64"/>
                    <a:gd name="T22" fmla="*/ 261 w 263"/>
                    <a:gd name="T23" fmla="*/ 29 h 64"/>
                    <a:gd name="T24" fmla="*/ 232 w 263"/>
                    <a:gd name="T25" fmla="*/ 3 h 64"/>
                    <a:gd name="T26" fmla="*/ 232 w 263"/>
                    <a:gd name="T27" fmla="*/ 3 h 64"/>
                    <a:gd name="T28" fmla="*/ 27 w 263"/>
                    <a:gd name="T29" fmla="*/ 0 h 64"/>
                    <a:gd name="T30" fmla="*/ 27 w 263"/>
                    <a:gd name="T31" fmla="*/ 0 h 64"/>
                    <a:gd name="T32" fmla="*/ 26 w 263"/>
                    <a:gd name="T33" fmla="*/ 0 h 64"/>
                    <a:gd name="T34" fmla="*/ 26 w 263"/>
                    <a:gd name="T35" fmla="*/ 0 h 64"/>
                    <a:gd name="T36" fmla="*/ 8 w 263"/>
                    <a:gd name="T37" fmla="*/ 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3" h="64">
                      <a:moveTo>
                        <a:pt x="8" y="9"/>
                      </a:moveTo>
                      <a:lnTo>
                        <a:pt x="8" y="9"/>
                      </a:lnTo>
                      <a:cubicBezTo>
                        <a:pt x="3" y="14"/>
                        <a:pt x="0" y="22"/>
                        <a:pt x="0" y="29"/>
                      </a:cubicBezTo>
                      <a:lnTo>
                        <a:pt x="0" y="29"/>
                      </a:lnTo>
                      <a:cubicBezTo>
                        <a:pt x="0" y="36"/>
                        <a:pt x="4" y="43"/>
                        <a:pt x="9" y="48"/>
                      </a:cubicBezTo>
                      <a:lnTo>
                        <a:pt x="9" y="48"/>
                      </a:lnTo>
                      <a:cubicBezTo>
                        <a:pt x="15" y="53"/>
                        <a:pt x="21" y="55"/>
                        <a:pt x="30" y="55"/>
                      </a:cubicBezTo>
                      <a:lnTo>
                        <a:pt x="30" y="55"/>
                      </a:lnTo>
                      <a:cubicBezTo>
                        <a:pt x="98" y="59"/>
                        <a:pt x="167" y="63"/>
                        <a:pt x="235" y="58"/>
                      </a:cubicBezTo>
                      <a:lnTo>
                        <a:pt x="235" y="58"/>
                      </a:lnTo>
                      <a:cubicBezTo>
                        <a:pt x="250" y="57"/>
                        <a:pt x="262" y="44"/>
                        <a:pt x="261" y="29"/>
                      </a:cubicBezTo>
                      <a:lnTo>
                        <a:pt x="261" y="29"/>
                      </a:lnTo>
                      <a:cubicBezTo>
                        <a:pt x="261" y="14"/>
                        <a:pt x="247" y="2"/>
                        <a:pt x="232" y="3"/>
                      </a:cubicBezTo>
                      <a:lnTo>
                        <a:pt x="232" y="3"/>
                      </a:lnTo>
                      <a:cubicBezTo>
                        <a:pt x="164" y="7"/>
                        <a:pt x="95" y="3"/>
                        <a:pt x="27" y="0"/>
                      </a:cubicBezTo>
                      <a:lnTo>
                        <a:pt x="27" y="0"/>
                      </a:lnTo>
                      <a:cubicBezTo>
                        <a:pt x="26" y="0"/>
                        <a:pt x="26" y="0"/>
                        <a:pt x="26" y="0"/>
                      </a:cubicBezTo>
                      <a:lnTo>
                        <a:pt x="26" y="0"/>
                      </a:lnTo>
                      <a:cubicBezTo>
                        <a:pt x="19" y="0"/>
                        <a:pt x="12" y="4"/>
                        <a:pt x="8" y="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265">
                  <a:extLst>
                    <a:ext uri="{FF2B5EF4-FFF2-40B4-BE49-F238E27FC236}">
                      <a16:creationId xmlns:a16="http://schemas.microsoft.com/office/drawing/2014/main" id="{0B3A1006-7F0A-FF4A-9D92-966EB0C557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16675" y="5556250"/>
                  <a:ext cx="57150" cy="33338"/>
                </a:xfrm>
                <a:custGeom>
                  <a:avLst/>
                  <a:gdLst>
                    <a:gd name="T0" fmla="*/ 116 w 157"/>
                    <a:gd name="T1" fmla="*/ 1 h 92"/>
                    <a:gd name="T2" fmla="*/ 116 w 157"/>
                    <a:gd name="T3" fmla="*/ 1 h 92"/>
                    <a:gd name="T4" fmla="*/ 22 w 157"/>
                    <a:gd name="T5" fmla="*/ 33 h 92"/>
                    <a:gd name="T6" fmla="*/ 22 w 157"/>
                    <a:gd name="T7" fmla="*/ 33 h 92"/>
                    <a:gd name="T8" fmla="*/ 5 w 157"/>
                    <a:gd name="T9" fmla="*/ 68 h 92"/>
                    <a:gd name="T10" fmla="*/ 5 w 157"/>
                    <a:gd name="T11" fmla="*/ 68 h 92"/>
                    <a:gd name="T12" fmla="*/ 39 w 157"/>
                    <a:gd name="T13" fmla="*/ 86 h 92"/>
                    <a:gd name="T14" fmla="*/ 39 w 157"/>
                    <a:gd name="T15" fmla="*/ 86 h 92"/>
                    <a:gd name="T16" fmla="*/ 133 w 157"/>
                    <a:gd name="T17" fmla="*/ 54 h 92"/>
                    <a:gd name="T18" fmla="*/ 133 w 157"/>
                    <a:gd name="T19" fmla="*/ 54 h 92"/>
                    <a:gd name="T20" fmla="*/ 151 w 157"/>
                    <a:gd name="T21" fmla="*/ 20 h 92"/>
                    <a:gd name="T22" fmla="*/ 151 w 157"/>
                    <a:gd name="T23" fmla="*/ 20 h 92"/>
                    <a:gd name="T24" fmla="*/ 124 w 157"/>
                    <a:gd name="T25" fmla="*/ 0 h 92"/>
                    <a:gd name="T26" fmla="*/ 124 w 157"/>
                    <a:gd name="T27" fmla="*/ 0 h 92"/>
                    <a:gd name="T28" fmla="*/ 116 w 157"/>
                    <a:gd name="T29" fmla="*/ 1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7" h="92">
                      <a:moveTo>
                        <a:pt x="116" y="1"/>
                      </a:moveTo>
                      <a:lnTo>
                        <a:pt x="116" y="1"/>
                      </a:lnTo>
                      <a:cubicBezTo>
                        <a:pt x="85" y="12"/>
                        <a:pt x="54" y="23"/>
                        <a:pt x="22" y="33"/>
                      </a:cubicBezTo>
                      <a:lnTo>
                        <a:pt x="22" y="33"/>
                      </a:lnTo>
                      <a:cubicBezTo>
                        <a:pt x="8" y="38"/>
                        <a:pt x="0" y="54"/>
                        <a:pt x="5" y="68"/>
                      </a:cubicBezTo>
                      <a:lnTo>
                        <a:pt x="5" y="68"/>
                      </a:lnTo>
                      <a:cubicBezTo>
                        <a:pt x="9" y="83"/>
                        <a:pt x="25" y="91"/>
                        <a:pt x="39" y="86"/>
                      </a:cubicBezTo>
                      <a:lnTo>
                        <a:pt x="39" y="86"/>
                      </a:lnTo>
                      <a:cubicBezTo>
                        <a:pt x="71" y="76"/>
                        <a:pt x="102" y="66"/>
                        <a:pt x="133" y="54"/>
                      </a:cubicBezTo>
                      <a:lnTo>
                        <a:pt x="133" y="54"/>
                      </a:lnTo>
                      <a:cubicBezTo>
                        <a:pt x="148" y="49"/>
                        <a:pt x="156" y="34"/>
                        <a:pt x="151" y="20"/>
                      </a:cubicBezTo>
                      <a:lnTo>
                        <a:pt x="151" y="20"/>
                      </a:lnTo>
                      <a:cubicBezTo>
                        <a:pt x="148" y="8"/>
                        <a:pt x="136" y="0"/>
                        <a:pt x="124" y="0"/>
                      </a:cubicBezTo>
                      <a:lnTo>
                        <a:pt x="124" y="0"/>
                      </a:lnTo>
                      <a:cubicBezTo>
                        <a:pt x="122" y="0"/>
                        <a:pt x="119" y="0"/>
                        <a:pt x="1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266">
                  <a:extLst>
                    <a:ext uri="{FF2B5EF4-FFF2-40B4-BE49-F238E27FC236}">
                      <a16:creationId xmlns:a16="http://schemas.microsoft.com/office/drawing/2014/main" id="{DD4CF431-5A0E-0348-A8AE-4D106E92E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27775" y="5111750"/>
                  <a:ext cx="57150" cy="71438"/>
                </a:xfrm>
                <a:custGeom>
                  <a:avLst/>
                  <a:gdLst>
                    <a:gd name="T0" fmla="*/ 119 w 157"/>
                    <a:gd name="T1" fmla="*/ 2 h 198"/>
                    <a:gd name="T2" fmla="*/ 119 w 157"/>
                    <a:gd name="T3" fmla="*/ 2 h 198"/>
                    <a:gd name="T4" fmla="*/ 103 w 157"/>
                    <a:gd name="T5" fmla="*/ 15 h 198"/>
                    <a:gd name="T6" fmla="*/ 103 w 157"/>
                    <a:gd name="T7" fmla="*/ 15 h 198"/>
                    <a:gd name="T8" fmla="*/ 57 w 157"/>
                    <a:gd name="T9" fmla="*/ 80 h 198"/>
                    <a:gd name="T10" fmla="*/ 57 w 157"/>
                    <a:gd name="T11" fmla="*/ 80 h 198"/>
                    <a:gd name="T12" fmla="*/ 62 w 157"/>
                    <a:gd name="T13" fmla="*/ 74 h 198"/>
                    <a:gd name="T14" fmla="*/ 62 w 157"/>
                    <a:gd name="T15" fmla="*/ 74 h 198"/>
                    <a:gd name="T16" fmla="*/ 8 w 157"/>
                    <a:gd name="T17" fmla="*/ 150 h 198"/>
                    <a:gd name="T18" fmla="*/ 8 w 157"/>
                    <a:gd name="T19" fmla="*/ 150 h 198"/>
                    <a:gd name="T20" fmla="*/ 1 w 157"/>
                    <a:gd name="T21" fmla="*/ 170 h 198"/>
                    <a:gd name="T22" fmla="*/ 1 w 157"/>
                    <a:gd name="T23" fmla="*/ 170 h 198"/>
                    <a:gd name="T24" fmla="*/ 9 w 157"/>
                    <a:gd name="T25" fmla="*/ 189 h 198"/>
                    <a:gd name="T26" fmla="*/ 9 w 157"/>
                    <a:gd name="T27" fmla="*/ 189 h 198"/>
                    <a:gd name="T28" fmla="*/ 30 w 157"/>
                    <a:gd name="T29" fmla="*/ 197 h 198"/>
                    <a:gd name="T30" fmla="*/ 30 w 157"/>
                    <a:gd name="T31" fmla="*/ 197 h 198"/>
                    <a:gd name="T32" fmla="*/ 49 w 157"/>
                    <a:gd name="T33" fmla="*/ 187 h 198"/>
                    <a:gd name="T34" fmla="*/ 49 w 157"/>
                    <a:gd name="T35" fmla="*/ 187 h 198"/>
                    <a:gd name="T36" fmla="*/ 152 w 157"/>
                    <a:gd name="T37" fmla="*/ 41 h 198"/>
                    <a:gd name="T38" fmla="*/ 152 w 157"/>
                    <a:gd name="T39" fmla="*/ 41 h 198"/>
                    <a:gd name="T40" fmla="*/ 154 w 157"/>
                    <a:gd name="T41" fmla="*/ 19 h 198"/>
                    <a:gd name="T42" fmla="*/ 154 w 157"/>
                    <a:gd name="T43" fmla="*/ 19 h 198"/>
                    <a:gd name="T44" fmla="*/ 141 w 157"/>
                    <a:gd name="T45" fmla="*/ 3 h 198"/>
                    <a:gd name="T46" fmla="*/ 141 w 157"/>
                    <a:gd name="T47" fmla="*/ 3 h 198"/>
                    <a:gd name="T48" fmla="*/ 128 w 157"/>
                    <a:gd name="T49" fmla="*/ 0 h 198"/>
                    <a:gd name="T50" fmla="*/ 128 w 157"/>
                    <a:gd name="T51" fmla="*/ 0 h 198"/>
                    <a:gd name="T52" fmla="*/ 119 w 157"/>
                    <a:gd name="T53" fmla="*/ 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7" h="198">
                      <a:moveTo>
                        <a:pt x="119" y="2"/>
                      </a:moveTo>
                      <a:lnTo>
                        <a:pt x="119" y="2"/>
                      </a:lnTo>
                      <a:cubicBezTo>
                        <a:pt x="112" y="4"/>
                        <a:pt x="107" y="9"/>
                        <a:pt x="103" y="15"/>
                      </a:cubicBezTo>
                      <a:lnTo>
                        <a:pt x="103" y="15"/>
                      </a:lnTo>
                      <a:cubicBezTo>
                        <a:pt x="88" y="37"/>
                        <a:pt x="73" y="58"/>
                        <a:pt x="57" y="80"/>
                      </a:cubicBezTo>
                      <a:lnTo>
                        <a:pt x="57" y="80"/>
                      </a:lnTo>
                      <a:cubicBezTo>
                        <a:pt x="59" y="78"/>
                        <a:pt x="61" y="76"/>
                        <a:pt x="62" y="74"/>
                      </a:cubicBezTo>
                      <a:lnTo>
                        <a:pt x="62" y="74"/>
                      </a:lnTo>
                      <a:cubicBezTo>
                        <a:pt x="43" y="99"/>
                        <a:pt x="26" y="124"/>
                        <a:pt x="8" y="150"/>
                      </a:cubicBezTo>
                      <a:lnTo>
                        <a:pt x="8" y="150"/>
                      </a:lnTo>
                      <a:cubicBezTo>
                        <a:pt x="3" y="156"/>
                        <a:pt x="0" y="162"/>
                        <a:pt x="1" y="170"/>
                      </a:cubicBezTo>
                      <a:lnTo>
                        <a:pt x="1" y="170"/>
                      </a:lnTo>
                      <a:cubicBezTo>
                        <a:pt x="1" y="177"/>
                        <a:pt x="4" y="184"/>
                        <a:pt x="9" y="189"/>
                      </a:cubicBezTo>
                      <a:lnTo>
                        <a:pt x="9" y="189"/>
                      </a:lnTo>
                      <a:cubicBezTo>
                        <a:pt x="15" y="194"/>
                        <a:pt x="22" y="197"/>
                        <a:pt x="30" y="197"/>
                      </a:cubicBezTo>
                      <a:lnTo>
                        <a:pt x="30" y="197"/>
                      </a:lnTo>
                      <a:cubicBezTo>
                        <a:pt x="36" y="196"/>
                        <a:pt x="45" y="193"/>
                        <a:pt x="49" y="187"/>
                      </a:cubicBezTo>
                      <a:lnTo>
                        <a:pt x="49" y="187"/>
                      </a:lnTo>
                      <a:cubicBezTo>
                        <a:pt x="83" y="138"/>
                        <a:pt x="118" y="90"/>
                        <a:pt x="152" y="41"/>
                      </a:cubicBezTo>
                      <a:lnTo>
                        <a:pt x="152" y="41"/>
                      </a:lnTo>
                      <a:cubicBezTo>
                        <a:pt x="156" y="35"/>
                        <a:pt x="156" y="26"/>
                        <a:pt x="154" y="19"/>
                      </a:cubicBezTo>
                      <a:lnTo>
                        <a:pt x="154" y="19"/>
                      </a:lnTo>
                      <a:cubicBezTo>
                        <a:pt x="152" y="13"/>
                        <a:pt x="147" y="7"/>
                        <a:pt x="141" y="3"/>
                      </a:cubicBezTo>
                      <a:lnTo>
                        <a:pt x="141" y="3"/>
                      </a:lnTo>
                      <a:cubicBezTo>
                        <a:pt x="137" y="1"/>
                        <a:pt x="132" y="0"/>
                        <a:pt x="128" y="0"/>
                      </a:cubicBezTo>
                      <a:lnTo>
                        <a:pt x="128" y="0"/>
                      </a:lnTo>
                      <a:cubicBezTo>
                        <a:pt x="125" y="0"/>
                        <a:pt x="122" y="1"/>
                        <a:pt x="1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267">
                  <a:extLst>
                    <a:ext uri="{FF2B5EF4-FFF2-40B4-BE49-F238E27FC236}">
                      <a16:creationId xmlns:a16="http://schemas.microsoft.com/office/drawing/2014/main" id="{A2ED8831-C31D-5544-9C80-60922E6176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83313" y="4943475"/>
                  <a:ext cx="53975" cy="149225"/>
                </a:xfrm>
                <a:custGeom>
                  <a:avLst/>
                  <a:gdLst>
                    <a:gd name="T0" fmla="*/ 89 w 149"/>
                    <a:gd name="T1" fmla="*/ 23 h 416"/>
                    <a:gd name="T2" fmla="*/ 89 w 149"/>
                    <a:gd name="T3" fmla="*/ 23 h 416"/>
                    <a:gd name="T4" fmla="*/ 4 w 149"/>
                    <a:gd name="T5" fmla="*/ 378 h 416"/>
                    <a:gd name="T6" fmla="*/ 4 w 149"/>
                    <a:gd name="T7" fmla="*/ 378 h 416"/>
                    <a:gd name="T8" fmla="*/ 26 w 149"/>
                    <a:gd name="T9" fmla="*/ 412 h 416"/>
                    <a:gd name="T10" fmla="*/ 26 w 149"/>
                    <a:gd name="T11" fmla="*/ 412 h 416"/>
                    <a:gd name="T12" fmla="*/ 59 w 149"/>
                    <a:gd name="T13" fmla="*/ 390 h 416"/>
                    <a:gd name="T14" fmla="*/ 59 w 149"/>
                    <a:gd name="T15" fmla="*/ 390 h 416"/>
                    <a:gd name="T16" fmla="*/ 144 w 149"/>
                    <a:gd name="T17" fmla="*/ 34 h 416"/>
                    <a:gd name="T18" fmla="*/ 144 w 149"/>
                    <a:gd name="T19" fmla="*/ 34 h 416"/>
                    <a:gd name="T20" fmla="*/ 123 w 149"/>
                    <a:gd name="T21" fmla="*/ 1 h 416"/>
                    <a:gd name="T22" fmla="*/ 123 w 149"/>
                    <a:gd name="T23" fmla="*/ 1 h 416"/>
                    <a:gd name="T24" fmla="*/ 117 w 149"/>
                    <a:gd name="T25" fmla="*/ 0 h 416"/>
                    <a:gd name="T26" fmla="*/ 117 w 149"/>
                    <a:gd name="T27" fmla="*/ 0 h 416"/>
                    <a:gd name="T28" fmla="*/ 89 w 149"/>
                    <a:gd name="T29" fmla="*/ 23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9" h="416">
                      <a:moveTo>
                        <a:pt x="89" y="23"/>
                      </a:moveTo>
                      <a:lnTo>
                        <a:pt x="89" y="23"/>
                      </a:lnTo>
                      <a:cubicBezTo>
                        <a:pt x="60" y="141"/>
                        <a:pt x="32" y="260"/>
                        <a:pt x="4" y="378"/>
                      </a:cubicBezTo>
                      <a:lnTo>
                        <a:pt x="4" y="378"/>
                      </a:lnTo>
                      <a:cubicBezTo>
                        <a:pt x="0" y="393"/>
                        <a:pt x="11" y="408"/>
                        <a:pt x="26" y="412"/>
                      </a:cubicBezTo>
                      <a:lnTo>
                        <a:pt x="26" y="412"/>
                      </a:lnTo>
                      <a:cubicBezTo>
                        <a:pt x="40" y="415"/>
                        <a:pt x="55" y="406"/>
                        <a:pt x="59" y="390"/>
                      </a:cubicBezTo>
                      <a:lnTo>
                        <a:pt x="59" y="390"/>
                      </a:lnTo>
                      <a:cubicBezTo>
                        <a:pt x="86" y="272"/>
                        <a:pt x="114" y="153"/>
                        <a:pt x="144" y="34"/>
                      </a:cubicBezTo>
                      <a:lnTo>
                        <a:pt x="144" y="34"/>
                      </a:lnTo>
                      <a:cubicBezTo>
                        <a:pt x="148" y="20"/>
                        <a:pt x="137" y="4"/>
                        <a:pt x="123" y="1"/>
                      </a:cubicBezTo>
                      <a:lnTo>
                        <a:pt x="123" y="1"/>
                      </a:lnTo>
                      <a:cubicBezTo>
                        <a:pt x="121" y="1"/>
                        <a:pt x="119" y="0"/>
                        <a:pt x="117" y="0"/>
                      </a:cubicBezTo>
                      <a:lnTo>
                        <a:pt x="117" y="0"/>
                      </a:lnTo>
                      <a:cubicBezTo>
                        <a:pt x="104" y="0"/>
                        <a:pt x="93" y="10"/>
                        <a:pt x="89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8E82CCA-DDEF-4143-9E92-8B74F134156F}"/>
                  </a:ext>
                </a:extLst>
              </p:cNvPr>
              <p:cNvGrpSpPr/>
              <p:nvPr/>
            </p:nvGrpSpPr>
            <p:grpSpPr>
              <a:xfrm>
                <a:off x="3587225" y="4341176"/>
                <a:ext cx="387098" cy="395840"/>
                <a:chOff x="6376988" y="2530475"/>
                <a:chExt cx="492125" cy="50323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67" name="Freeform 370">
                  <a:extLst>
                    <a:ext uri="{FF2B5EF4-FFF2-40B4-BE49-F238E27FC236}">
                      <a16:creationId xmlns:a16="http://schemas.microsoft.com/office/drawing/2014/main" id="{801C4A20-AAD0-5044-B3E7-39A7E503B6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76988" y="2530475"/>
                  <a:ext cx="492125" cy="503238"/>
                </a:xfrm>
                <a:custGeom>
                  <a:avLst/>
                  <a:gdLst>
                    <a:gd name="T0" fmla="*/ 370 w 1369"/>
                    <a:gd name="T1" fmla="*/ 163 h 1397"/>
                    <a:gd name="T2" fmla="*/ 1209 w 1369"/>
                    <a:gd name="T3" fmla="*/ 1069 h 1397"/>
                    <a:gd name="T4" fmla="*/ 687 w 1369"/>
                    <a:gd name="T5" fmla="*/ 1338 h 1397"/>
                    <a:gd name="T6" fmla="*/ 1122 w 1369"/>
                    <a:gd name="T7" fmla="*/ 1181 h 1397"/>
                    <a:gd name="T8" fmla="*/ 272 w 1369"/>
                    <a:gd name="T9" fmla="*/ 1156 h 1397"/>
                    <a:gd name="T10" fmla="*/ 1311 w 1369"/>
                    <a:gd name="T11" fmla="*/ 751 h 1397"/>
                    <a:gd name="T12" fmla="*/ 1083 w 1369"/>
                    <a:gd name="T13" fmla="*/ 239 h 1397"/>
                    <a:gd name="T14" fmla="*/ 979 w 1369"/>
                    <a:gd name="T15" fmla="*/ 142 h 1397"/>
                    <a:gd name="T16" fmla="*/ 626 w 1369"/>
                    <a:gd name="T17" fmla="*/ 66 h 1397"/>
                    <a:gd name="T18" fmla="*/ 712 w 1369"/>
                    <a:gd name="T19" fmla="*/ 70 h 1397"/>
                    <a:gd name="T20" fmla="*/ 730 w 1369"/>
                    <a:gd name="T21" fmla="*/ 58 h 1397"/>
                    <a:gd name="T22" fmla="*/ 905 w 1369"/>
                    <a:gd name="T23" fmla="*/ 105 h 1397"/>
                    <a:gd name="T24" fmla="*/ 1083 w 1369"/>
                    <a:gd name="T25" fmla="*/ 239 h 1397"/>
                    <a:gd name="T26" fmla="*/ 1155 w 1369"/>
                    <a:gd name="T27" fmla="*/ 323 h 1397"/>
                    <a:gd name="T28" fmla="*/ 1207 w 1369"/>
                    <a:gd name="T29" fmla="*/ 394 h 1397"/>
                    <a:gd name="T30" fmla="*/ 1258 w 1369"/>
                    <a:gd name="T31" fmla="*/ 504 h 1397"/>
                    <a:gd name="T32" fmla="*/ 1297 w 1369"/>
                    <a:gd name="T33" fmla="*/ 651 h 1397"/>
                    <a:gd name="T34" fmla="*/ 1282 w 1369"/>
                    <a:gd name="T35" fmla="*/ 904 h 1397"/>
                    <a:gd name="T36" fmla="*/ 1210 w 1369"/>
                    <a:gd name="T37" fmla="*/ 1069 h 1397"/>
                    <a:gd name="T38" fmla="*/ 1206 w 1369"/>
                    <a:gd name="T39" fmla="*/ 1074 h 1397"/>
                    <a:gd name="T40" fmla="*/ 1118 w 1369"/>
                    <a:gd name="T41" fmla="*/ 1185 h 1397"/>
                    <a:gd name="T42" fmla="*/ 686 w 1369"/>
                    <a:gd name="T43" fmla="*/ 1338 h 1397"/>
                    <a:gd name="T44" fmla="*/ 536 w 1369"/>
                    <a:gd name="T45" fmla="*/ 1315 h 1397"/>
                    <a:gd name="T46" fmla="*/ 276 w 1369"/>
                    <a:gd name="T47" fmla="*/ 1161 h 1397"/>
                    <a:gd name="T48" fmla="*/ 130 w 1369"/>
                    <a:gd name="T49" fmla="*/ 962 h 1397"/>
                    <a:gd name="T50" fmla="*/ 58 w 1369"/>
                    <a:gd name="T51" fmla="*/ 661 h 1397"/>
                    <a:gd name="T52" fmla="*/ 83 w 1369"/>
                    <a:gd name="T53" fmla="*/ 510 h 1397"/>
                    <a:gd name="T54" fmla="*/ 137 w 1369"/>
                    <a:gd name="T55" fmla="*/ 384 h 1397"/>
                    <a:gd name="T56" fmla="*/ 138 w 1369"/>
                    <a:gd name="T57" fmla="*/ 383 h 1397"/>
                    <a:gd name="T58" fmla="*/ 234 w 1369"/>
                    <a:gd name="T59" fmla="*/ 261 h 1397"/>
                    <a:gd name="T60" fmla="*/ 367 w 1369"/>
                    <a:gd name="T61" fmla="*/ 164 h 1397"/>
                    <a:gd name="T62" fmla="*/ 373 w 1369"/>
                    <a:gd name="T63" fmla="*/ 161 h 1397"/>
                    <a:gd name="T64" fmla="*/ 584 w 1369"/>
                    <a:gd name="T65" fmla="*/ 73 h 1397"/>
                    <a:gd name="T66" fmla="*/ 692 w 1369"/>
                    <a:gd name="T67" fmla="*/ 75 h 1397"/>
                    <a:gd name="T68" fmla="*/ 673 w 1369"/>
                    <a:gd name="T69" fmla="*/ 5 h 1397"/>
                    <a:gd name="T70" fmla="*/ 579 w 1369"/>
                    <a:gd name="T71" fmla="*/ 17 h 1397"/>
                    <a:gd name="T72" fmla="*/ 454 w 1369"/>
                    <a:gd name="T73" fmla="*/ 60 h 1397"/>
                    <a:gd name="T74" fmla="*/ 116 w 1369"/>
                    <a:gd name="T75" fmla="*/ 316 h 1397"/>
                    <a:gd name="T76" fmla="*/ 40 w 1369"/>
                    <a:gd name="T77" fmla="*/ 462 h 1397"/>
                    <a:gd name="T78" fmla="*/ 37 w 1369"/>
                    <a:gd name="T79" fmla="*/ 891 h 1397"/>
                    <a:gd name="T80" fmla="*/ 117 w 1369"/>
                    <a:gd name="T81" fmla="*/ 1045 h 1397"/>
                    <a:gd name="T82" fmla="*/ 435 w 1369"/>
                    <a:gd name="T83" fmla="*/ 1337 h 1397"/>
                    <a:gd name="T84" fmla="*/ 769 w 1369"/>
                    <a:gd name="T85" fmla="*/ 1391 h 1397"/>
                    <a:gd name="T86" fmla="*/ 1088 w 1369"/>
                    <a:gd name="T87" fmla="*/ 1280 h 1397"/>
                    <a:gd name="T88" fmla="*/ 1300 w 1369"/>
                    <a:gd name="T89" fmla="*/ 1019 h 1397"/>
                    <a:gd name="T90" fmla="*/ 1360 w 1369"/>
                    <a:gd name="T91" fmla="*/ 816 h 1397"/>
                    <a:gd name="T92" fmla="*/ 1335 w 1369"/>
                    <a:gd name="T93" fmla="*/ 569 h 1397"/>
                    <a:gd name="T94" fmla="*/ 1166 w 1369"/>
                    <a:gd name="T95" fmla="*/ 248 h 1397"/>
                    <a:gd name="T96" fmla="*/ 1042 w 1369"/>
                    <a:gd name="T97" fmla="*/ 120 h 1397"/>
                    <a:gd name="T98" fmla="*/ 855 w 1369"/>
                    <a:gd name="T99" fmla="*/ 28 h 1397"/>
                    <a:gd name="T100" fmla="*/ 745 w 1369"/>
                    <a:gd name="T101" fmla="*/ 3 h 1397"/>
                    <a:gd name="T102" fmla="*/ 673 w 1369"/>
                    <a:gd name="T103" fmla="*/ 5 h 1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369" h="1397">
                      <a:moveTo>
                        <a:pt x="369" y="164"/>
                      </a:moveTo>
                      <a:lnTo>
                        <a:pt x="369" y="164"/>
                      </a:lnTo>
                      <a:cubicBezTo>
                        <a:pt x="368" y="164"/>
                        <a:pt x="368" y="164"/>
                        <a:pt x="368" y="164"/>
                      </a:cubicBezTo>
                      <a:lnTo>
                        <a:pt x="368" y="164"/>
                      </a:lnTo>
                      <a:cubicBezTo>
                        <a:pt x="369" y="164"/>
                        <a:pt x="369" y="164"/>
                        <a:pt x="370" y="163"/>
                      </a:cubicBezTo>
                      <a:lnTo>
                        <a:pt x="370" y="163"/>
                      </a:lnTo>
                      <a:cubicBezTo>
                        <a:pt x="369" y="163"/>
                        <a:pt x="369" y="164"/>
                        <a:pt x="369" y="164"/>
                      </a:cubicBezTo>
                      <a:close/>
                      <a:moveTo>
                        <a:pt x="137" y="384"/>
                      </a:moveTo>
                      <a:lnTo>
                        <a:pt x="137" y="384"/>
                      </a:lnTo>
                      <a:close/>
                      <a:moveTo>
                        <a:pt x="1209" y="1069"/>
                      </a:moveTo>
                      <a:lnTo>
                        <a:pt x="1209" y="1069"/>
                      </a:lnTo>
                      <a:lnTo>
                        <a:pt x="1210" y="1069"/>
                      </a:lnTo>
                      <a:lnTo>
                        <a:pt x="1210" y="1069"/>
                      </a:lnTo>
                      <a:lnTo>
                        <a:pt x="1209" y="1069"/>
                      </a:lnTo>
                      <a:close/>
                      <a:moveTo>
                        <a:pt x="687" y="1338"/>
                      </a:moveTo>
                      <a:lnTo>
                        <a:pt x="687" y="1338"/>
                      </a:lnTo>
                      <a:lnTo>
                        <a:pt x="689" y="1338"/>
                      </a:lnTo>
                      <a:lnTo>
                        <a:pt x="689" y="1338"/>
                      </a:lnTo>
                      <a:lnTo>
                        <a:pt x="687" y="1338"/>
                      </a:lnTo>
                      <a:close/>
                      <a:moveTo>
                        <a:pt x="1122" y="1181"/>
                      </a:moveTo>
                      <a:lnTo>
                        <a:pt x="1122" y="1181"/>
                      </a:lnTo>
                      <a:cubicBezTo>
                        <a:pt x="1120" y="1183"/>
                        <a:pt x="1119" y="1184"/>
                        <a:pt x="1118" y="1185"/>
                      </a:cubicBezTo>
                      <a:lnTo>
                        <a:pt x="1118" y="1185"/>
                      </a:lnTo>
                      <a:cubicBezTo>
                        <a:pt x="1119" y="1184"/>
                        <a:pt x="1120" y="1182"/>
                        <a:pt x="1122" y="1181"/>
                      </a:cubicBezTo>
                      <a:close/>
                      <a:moveTo>
                        <a:pt x="272" y="1156"/>
                      </a:moveTo>
                      <a:lnTo>
                        <a:pt x="272" y="1156"/>
                      </a:lnTo>
                      <a:cubicBezTo>
                        <a:pt x="273" y="1157"/>
                        <a:pt x="273" y="1157"/>
                        <a:pt x="274" y="1158"/>
                      </a:cubicBezTo>
                      <a:lnTo>
                        <a:pt x="274" y="1158"/>
                      </a:lnTo>
                      <a:cubicBezTo>
                        <a:pt x="273" y="1157"/>
                        <a:pt x="273" y="1157"/>
                        <a:pt x="272" y="1156"/>
                      </a:cubicBezTo>
                      <a:close/>
                      <a:moveTo>
                        <a:pt x="1311" y="751"/>
                      </a:moveTo>
                      <a:lnTo>
                        <a:pt x="1311" y="751"/>
                      </a:lnTo>
                      <a:cubicBezTo>
                        <a:pt x="1311" y="752"/>
                        <a:pt x="1311" y="753"/>
                        <a:pt x="1311" y="755"/>
                      </a:cubicBezTo>
                      <a:lnTo>
                        <a:pt x="1311" y="755"/>
                      </a:lnTo>
                      <a:cubicBezTo>
                        <a:pt x="1311" y="753"/>
                        <a:pt x="1311" y="752"/>
                        <a:pt x="1311" y="751"/>
                      </a:cubicBezTo>
                      <a:close/>
                      <a:moveTo>
                        <a:pt x="1083" y="239"/>
                      </a:moveTo>
                      <a:lnTo>
                        <a:pt x="1083" y="239"/>
                      </a:lnTo>
                      <a:cubicBezTo>
                        <a:pt x="1084" y="240"/>
                        <a:pt x="1085" y="241"/>
                        <a:pt x="1086" y="242"/>
                      </a:cubicBezTo>
                      <a:lnTo>
                        <a:pt x="1086" y="242"/>
                      </a:lnTo>
                      <a:cubicBezTo>
                        <a:pt x="1085" y="241"/>
                        <a:pt x="1084" y="240"/>
                        <a:pt x="1083" y="239"/>
                      </a:cubicBezTo>
                      <a:close/>
                      <a:moveTo>
                        <a:pt x="979" y="142"/>
                      </a:moveTo>
                      <a:lnTo>
                        <a:pt x="979" y="142"/>
                      </a:lnTo>
                      <a:cubicBezTo>
                        <a:pt x="980" y="143"/>
                        <a:pt x="982" y="143"/>
                        <a:pt x="982" y="144"/>
                      </a:cubicBezTo>
                      <a:lnTo>
                        <a:pt x="982" y="144"/>
                      </a:lnTo>
                      <a:cubicBezTo>
                        <a:pt x="982" y="143"/>
                        <a:pt x="980" y="143"/>
                        <a:pt x="979" y="142"/>
                      </a:cubicBezTo>
                      <a:close/>
                      <a:moveTo>
                        <a:pt x="626" y="66"/>
                      </a:moveTo>
                      <a:lnTo>
                        <a:pt x="626" y="66"/>
                      </a:lnTo>
                      <a:cubicBezTo>
                        <a:pt x="627" y="66"/>
                        <a:pt x="629" y="66"/>
                        <a:pt x="630" y="66"/>
                      </a:cubicBezTo>
                      <a:lnTo>
                        <a:pt x="630" y="66"/>
                      </a:lnTo>
                      <a:cubicBezTo>
                        <a:pt x="629" y="66"/>
                        <a:pt x="627" y="66"/>
                        <a:pt x="626" y="66"/>
                      </a:cubicBezTo>
                      <a:close/>
                      <a:moveTo>
                        <a:pt x="712" y="70"/>
                      </a:moveTo>
                      <a:lnTo>
                        <a:pt x="712" y="70"/>
                      </a:lnTo>
                      <a:cubicBezTo>
                        <a:pt x="717" y="67"/>
                        <a:pt x="720" y="62"/>
                        <a:pt x="722" y="57"/>
                      </a:cubicBezTo>
                      <a:lnTo>
                        <a:pt x="722" y="57"/>
                      </a:lnTo>
                      <a:cubicBezTo>
                        <a:pt x="725" y="58"/>
                        <a:pt x="727" y="58"/>
                        <a:pt x="730" y="58"/>
                      </a:cubicBezTo>
                      <a:lnTo>
                        <a:pt x="730" y="58"/>
                      </a:lnTo>
                      <a:cubicBezTo>
                        <a:pt x="742" y="59"/>
                        <a:pt x="753" y="61"/>
                        <a:pt x="765" y="64"/>
                      </a:cubicBezTo>
                      <a:lnTo>
                        <a:pt x="765" y="64"/>
                      </a:lnTo>
                      <a:cubicBezTo>
                        <a:pt x="787" y="68"/>
                        <a:pt x="808" y="72"/>
                        <a:pt x="829" y="78"/>
                      </a:cubicBezTo>
                      <a:lnTo>
                        <a:pt x="829" y="78"/>
                      </a:lnTo>
                      <a:cubicBezTo>
                        <a:pt x="855" y="86"/>
                        <a:pt x="879" y="95"/>
                        <a:pt x="905" y="105"/>
                      </a:cubicBezTo>
                      <a:lnTo>
                        <a:pt x="905" y="105"/>
                      </a:lnTo>
                      <a:cubicBezTo>
                        <a:pt x="929" y="116"/>
                        <a:pt x="954" y="127"/>
                        <a:pt x="977" y="141"/>
                      </a:cubicBezTo>
                      <a:lnTo>
                        <a:pt x="977" y="141"/>
                      </a:lnTo>
                      <a:cubicBezTo>
                        <a:pt x="1017" y="169"/>
                        <a:pt x="1049" y="204"/>
                        <a:pt x="1083" y="239"/>
                      </a:cubicBezTo>
                      <a:lnTo>
                        <a:pt x="1083" y="239"/>
                      </a:lnTo>
                      <a:cubicBezTo>
                        <a:pt x="1082" y="238"/>
                        <a:pt x="1081" y="238"/>
                        <a:pt x="1081" y="238"/>
                      </a:cubicBezTo>
                      <a:lnTo>
                        <a:pt x="1081" y="238"/>
                      </a:lnTo>
                      <a:cubicBezTo>
                        <a:pt x="1094" y="251"/>
                        <a:pt x="1108" y="266"/>
                        <a:pt x="1120" y="280"/>
                      </a:cubicBezTo>
                      <a:lnTo>
                        <a:pt x="1120" y="280"/>
                      </a:lnTo>
                      <a:cubicBezTo>
                        <a:pt x="1132" y="294"/>
                        <a:pt x="1143" y="309"/>
                        <a:pt x="1155" y="323"/>
                      </a:cubicBezTo>
                      <a:lnTo>
                        <a:pt x="1155" y="323"/>
                      </a:lnTo>
                      <a:cubicBezTo>
                        <a:pt x="1167" y="339"/>
                        <a:pt x="1179" y="353"/>
                        <a:pt x="1190" y="369"/>
                      </a:cubicBezTo>
                      <a:lnTo>
                        <a:pt x="1190" y="369"/>
                      </a:lnTo>
                      <a:cubicBezTo>
                        <a:pt x="1196" y="377"/>
                        <a:pt x="1202" y="386"/>
                        <a:pt x="1207" y="394"/>
                      </a:cubicBezTo>
                      <a:lnTo>
                        <a:pt x="1207" y="394"/>
                      </a:lnTo>
                      <a:cubicBezTo>
                        <a:pt x="1212" y="401"/>
                        <a:pt x="1216" y="408"/>
                        <a:pt x="1220" y="415"/>
                      </a:cubicBezTo>
                      <a:lnTo>
                        <a:pt x="1220" y="415"/>
                      </a:lnTo>
                      <a:cubicBezTo>
                        <a:pt x="1227" y="429"/>
                        <a:pt x="1234" y="443"/>
                        <a:pt x="1241" y="458"/>
                      </a:cubicBezTo>
                      <a:lnTo>
                        <a:pt x="1241" y="458"/>
                      </a:lnTo>
                      <a:cubicBezTo>
                        <a:pt x="1248" y="473"/>
                        <a:pt x="1252" y="488"/>
                        <a:pt x="1258" y="504"/>
                      </a:cubicBezTo>
                      <a:lnTo>
                        <a:pt x="1258" y="504"/>
                      </a:lnTo>
                      <a:cubicBezTo>
                        <a:pt x="1268" y="532"/>
                        <a:pt x="1276" y="561"/>
                        <a:pt x="1284" y="589"/>
                      </a:cubicBezTo>
                      <a:lnTo>
                        <a:pt x="1284" y="589"/>
                      </a:lnTo>
                      <a:cubicBezTo>
                        <a:pt x="1288" y="610"/>
                        <a:pt x="1293" y="631"/>
                        <a:pt x="1297" y="651"/>
                      </a:cubicBezTo>
                      <a:lnTo>
                        <a:pt x="1297" y="651"/>
                      </a:lnTo>
                      <a:cubicBezTo>
                        <a:pt x="1304" y="686"/>
                        <a:pt x="1310" y="720"/>
                        <a:pt x="1311" y="756"/>
                      </a:cubicBezTo>
                      <a:lnTo>
                        <a:pt x="1311" y="756"/>
                      </a:lnTo>
                      <a:cubicBezTo>
                        <a:pt x="1308" y="807"/>
                        <a:pt x="1296" y="857"/>
                        <a:pt x="1282" y="906"/>
                      </a:cubicBezTo>
                      <a:lnTo>
                        <a:pt x="1282" y="906"/>
                      </a:lnTo>
                      <a:cubicBezTo>
                        <a:pt x="1282" y="906"/>
                        <a:pt x="1282" y="905"/>
                        <a:pt x="1282" y="904"/>
                      </a:cubicBezTo>
                      <a:lnTo>
                        <a:pt x="1282" y="904"/>
                      </a:lnTo>
                      <a:cubicBezTo>
                        <a:pt x="1274" y="934"/>
                        <a:pt x="1264" y="962"/>
                        <a:pt x="1251" y="990"/>
                      </a:cubicBezTo>
                      <a:lnTo>
                        <a:pt x="1251" y="990"/>
                      </a:lnTo>
                      <a:cubicBezTo>
                        <a:pt x="1239" y="1017"/>
                        <a:pt x="1225" y="1043"/>
                        <a:pt x="1210" y="1069"/>
                      </a:cubicBezTo>
                      <a:lnTo>
                        <a:pt x="1210" y="1069"/>
                      </a:lnTo>
                      <a:cubicBezTo>
                        <a:pt x="1210" y="1068"/>
                        <a:pt x="1210" y="1068"/>
                        <a:pt x="1210" y="1068"/>
                      </a:cubicBezTo>
                      <a:lnTo>
                        <a:pt x="1210" y="1068"/>
                      </a:lnTo>
                      <a:cubicBezTo>
                        <a:pt x="1210" y="1068"/>
                        <a:pt x="1210" y="1068"/>
                        <a:pt x="1210" y="1069"/>
                      </a:cubicBezTo>
                      <a:lnTo>
                        <a:pt x="1210" y="1069"/>
                      </a:lnTo>
                      <a:cubicBezTo>
                        <a:pt x="1209" y="1071"/>
                        <a:pt x="1207" y="1072"/>
                        <a:pt x="1206" y="1074"/>
                      </a:cubicBezTo>
                      <a:lnTo>
                        <a:pt x="1206" y="1074"/>
                      </a:lnTo>
                      <a:cubicBezTo>
                        <a:pt x="1207" y="1072"/>
                        <a:pt x="1208" y="1071"/>
                        <a:pt x="1209" y="1069"/>
                      </a:cubicBezTo>
                      <a:lnTo>
                        <a:pt x="1209" y="1069"/>
                      </a:lnTo>
                      <a:cubicBezTo>
                        <a:pt x="1183" y="1111"/>
                        <a:pt x="1153" y="1151"/>
                        <a:pt x="1118" y="1185"/>
                      </a:cubicBezTo>
                      <a:lnTo>
                        <a:pt x="1118" y="1185"/>
                      </a:lnTo>
                      <a:cubicBezTo>
                        <a:pt x="1088" y="1213"/>
                        <a:pt x="1055" y="1236"/>
                        <a:pt x="1020" y="1256"/>
                      </a:cubicBezTo>
                      <a:lnTo>
                        <a:pt x="1020" y="1256"/>
                      </a:lnTo>
                      <a:cubicBezTo>
                        <a:pt x="970" y="1283"/>
                        <a:pt x="918" y="1304"/>
                        <a:pt x="864" y="1318"/>
                      </a:cubicBezTo>
                      <a:lnTo>
                        <a:pt x="864" y="1318"/>
                      </a:lnTo>
                      <a:cubicBezTo>
                        <a:pt x="806" y="1333"/>
                        <a:pt x="746" y="1339"/>
                        <a:pt x="686" y="1338"/>
                      </a:cubicBezTo>
                      <a:lnTo>
                        <a:pt x="686" y="1338"/>
                      </a:lnTo>
                      <a:cubicBezTo>
                        <a:pt x="661" y="1338"/>
                        <a:pt x="636" y="1336"/>
                        <a:pt x="611" y="1331"/>
                      </a:cubicBezTo>
                      <a:lnTo>
                        <a:pt x="611" y="1331"/>
                      </a:lnTo>
                      <a:cubicBezTo>
                        <a:pt x="586" y="1327"/>
                        <a:pt x="561" y="1322"/>
                        <a:pt x="536" y="1315"/>
                      </a:cubicBezTo>
                      <a:lnTo>
                        <a:pt x="536" y="1315"/>
                      </a:lnTo>
                      <a:cubicBezTo>
                        <a:pt x="484" y="1299"/>
                        <a:pt x="433" y="1277"/>
                        <a:pt x="386" y="1248"/>
                      </a:cubicBezTo>
                      <a:lnTo>
                        <a:pt x="386" y="1248"/>
                      </a:lnTo>
                      <a:cubicBezTo>
                        <a:pt x="366" y="1236"/>
                        <a:pt x="346" y="1223"/>
                        <a:pt x="328" y="1208"/>
                      </a:cubicBezTo>
                      <a:lnTo>
                        <a:pt x="328" y="1208"/>
                      </a:lnTo>
                      <a:cubicBezTo>
                        <a:pt x="310" y="1193"/>
                        <a:pt x="293" y="1177"/>
                        <a:pt x="276" y="1161"/>
                      </a:cubicBezTo>
                      <a:lnTo>
                        <a:pt x="276" y="1161"/>
                      </a:lnTo>
                      <a:cubicBezTo>
                        <a:pt x="248" y="1130"/>
                        <a:pt x="222" y="1098"/>
                        <a:pt x="198" y="1064"/>
                      </a:cubicBezTo>
                      <a:lnTo>
                        <a:pt x="198" y="1064"/>
                      </a:lnTo>
                      <a:cubicBezTo>
                        <a:pt x="174" y="1031"/>
                        <a:pt x="150" y="998"/>
                        <a:pt x="130" y="962"/>
                      </a:cubicBezTo>
                      <a:lnTo>
                        <a:pt x="130" y="962"/>
                      </a:lnTo>
                      <a:cubicBezTo>
                        <a:pt x="119" y="943"/>
                        <a:pt x="109" y="923"/>
                        <a:pt x="101" y="903"/>
                      </a:cubicBezTo>
                      <a:lnTo>
                        <a:pt x="101" y="903"/>
                      </a:lnTo>
                      <a:cubicBezTo>
                        <a:pt x="91" y="880"/>
                        <a:pt x="84" y="856"/>
                        <a:pt x="77" y="831"/>
                      </a:cubicBezTo>
                      <a:lnTo>
                        <a:pt x="77" y="831"/>
                      </a:lnTo>
                      <a:cubicBezTo>
                        <a:pt x="64" y="776"/>
                        <a:pt x="57" y="719"/>
                        <a:pt x="58" y="661"/>
                      </a:cubicBezTo>
                      <a:lnTo>
                        <a:pt x="58" y="669"/>
                      </a:lnTo>
                      <a:lnTo>
                        <a:pt x="58" y="669"/>
                      </a:lnTo>
                      <a:cubicBezTo>
                        <a:pt x="58" y="644"/>
                        <a:pt x="60" y="619"/>
                        <a:pt x="64" y="594"/>
                      </a:cubicBezTo>
                      <a:lnTo>
                        <a:pt x="64" y="594"/>
                      </a:lnTo>
                      <a:cubicBezTo>
                        <a:pt x="68" y="566"/>
                        <a:pt x="75" y="537"/>
                        <a:pt x="83" y="510"/>
                      </a:cubicBezTo>
                      <a:lnTo>
                        <a:pt x="83" y="510"/>
                      </a:lnTo>
                      <a:cubicBezTo>
                        <a:pt x="82" y="512"/>
                        <a:pt x="81" y="514"/>
                        <a:pt x="80" y="517"/>
                      </a:cubicBezTo>
                      <a:lnTo>
                        <a:pt x="80" y="517"/>
                      </a:lnTo>
                      <a:cubicBezTo>
                        <a:pt x="94" y="470"/>
                        <a:pt x="112" y="426"/>
                        <a:pt x="137" y="384"/>
                      </a:cubicBezTo>
                      <a:lnTo>
                        <a:pt x="137" y="384"/>
                      </a:lnTo>
                      <a:cubicBezTo>
                        <a:pt x="136" y="386"/>
                        <a:pt x="135" y="387"/>
                        <a:pt x="134" y="389"/>
                      </a:cubicBezTo>
                      <a:lnTo>
                        <a:pt x="134" y="389"/>
                      </a:lnTo>
                      <a:cubicBezTo>
                        <a:pt x="135" y="387"/>
                        <a:pt x="136" y="386"/>
                        <a:pt x="137" y="384"/>
                      </a:cubicBezTo>
                      <a:lnTo>
                        <a:pt x="137" y="384"/>
                      </a:lnTo>
                      <a:cubicBezTo>
                        <a:pt x="137" y="383"/>
                        <a:pt x="137" y="383"/>
                        <a:pt x="138" y="383"/>
                      </a:cubicBezTo>
                      <a:lnTo>
                        <a:pt x="138" y="383"/>
                      </a:lnTo>
                      <a:cubicBezTo>
                        <a:pt x="137" y="383"/>
                        <a:pt x="137" y="383"/>
                        <a:pt x="137" y="384"/>
                      </a:cubicBezTo>
                      <a:lnTo>
                        <a:pt x="137" y="384"/>
                      </a:lnTo>
                      <a:cubicBezTo>
                        <a:pt x="165" y="340"/>
                        <a:pt x="197" y="298"/>
                        <a:pt x="234" y="261"/>
                      </a:cubicBezTo>
                      <a:lnTo>
                        <a:pt x="234" y="261"/>
                      </a:lnTo>
                      <a:cubicBezTo>
                        <a:pt x="255" y="242"/>
                        <a:pt x="277" y="224"/>
                        <a:pt x="300" y="207"/>
                      </a:cubicBezTo>
                      <a:lnTo>
                        <a:pt x="300" y="207"/>
                      </a:lnTo>
                      <a:cubicBezTo>
                        <a:pt x="322" y="191"/>
                        <a:pt x="344" y="177"/>
                        <a:pt x="368" y="164"/>
                      </a:cubicBezTo>
                      <a:lnTo>
                        <a:pt x="368" y="164"/>
                      </a:lnTo>
                      <a:lnTo>
                        <a:pt x="367" y="164"/>
                      </a:lnTo>
                      <a:lnTo>
                        <a:pt x="367" y="164"/>
                      </a:lnTo>
                      <a:cubicBezTo>
                        <a:pt x="367" y="164"/>
                        <a:pt x="368" y="164"/>
                        <a:pt x="369" y="164"/>
                      </a:cubicBezTo>
                      <a:lnTo>
                        <a:pt x="369" y="164"/>
                      </a:lnTo>
                      <a:cubicBezTo>
                        <a:pt x="370" y="163"/>
                        <a:pt x="372" y="162"/>
                        <a:pt x="373" y="161"/>
                      </a:cubicBezTo>
                      <a:lnTo>
                        <a:pt x="373" y="161"/>
                      </a:lnTo>
                      <a:cubicBezTo>
                        <a:pt x="372" y="162"/>
                        <a:pt x="371" y="163"/>
                        <a:pt x="370" y="163"/>
                      </a:cubicBezTo>
                      <a:lnTo>
                        <a:pt x="370" y="163"/>
                      </a:lnTo>
                      <a:cubicBezTo>
                        <a:pt x="404" y="144"/>
                        <a:pt x="439" y="127"/>
                        <a:pt x="474" y="112"/>
                      </a:cubicBezTo>
                      <a:lnTo>
                        <a:pt x="474" y="112"/>
                      </a:lnTo>
                      <a:cubicBezTo>
                        <a:pt x="510" y="97"/>
                        <a:pt x="546" y="83"/>
                        <a:pt x="584" y="73"/>
                      </a:cubicBezTo>
                      <a:lnTo>
                        <a:pt x="584" y="73"/>
                      </a:lnTo>
                      <a:cubicBezTo>
                        <a:pt x="599" y="69"/>
                        <a:pt x="615" y="67"/>
                        <a:pt x="631" y="66"/>
                      </a:cubicBezTo>
                      <a:lnTo>
                        <a:pt x="631" y="66"/>
                      </a:lnTo>
                      <a:cubicBezTo>
                        <a:pt x="652" y="68"/>
                        <a:pt x="672" y="70"/>
                        <a:pt x="692" y="75"/>
                      </a:cubicBezTo>
                      <a:lnTo>
                        <a:pt x="692" y="75"/>
                      </a:lnTo>
                      <a:cubicBezTo>
                        <a:pt x="693" y="76"/>
                        <a:pt x="695" y="76"/>
                        <a:pt x="696" y="76"/>
                      </a:cubicBezTo>
                      <a:lnTo>
                        <a:pt x="696" y="76"/>
                      </a:lnTo>
                      <a:cubicBezTo>
                        <a:pt x="702" y="76"/>
                        <a:pt x="708" y="73"/>
                        <a:pt x="712" y="70"/>
                      </a:cubicBezTo>
                      <a:close/>
                      <a:moveTo>
                        <a:pt x="673" y="5"/>
                      </a:moveTo>
                      <a:lnTo>
                        <a:pt x="673" y="5"/>
                      </a:lnTo>
                      <a:cubicBezTo>
                        <a:pt x="670" y="7"/>
                        <a:pt x="667" y="10"/>
                        <a:pt x="665" y="13"/>
                      </a:cubicBezTo>
                      <a:lnTo>
                        <a:pt x="665" y="13"/>
                      </a:lnTo>
                      <a:cubicBezTo>
                        <a:pt x="650" y="12"/>
                        <a:pt x="635" y="11"/>
                        <a:pt x="619" y="11"/>
                      </a:cubicBezTo>
                      <a:lnTo>
                        <a:pt x="619" y="11"/>
                      </a:lnTo>
                      <a:cubicBezTo>
                        <a:pt x="606" y="11"/>
                        <a:pt x="592" y="14"/>
                        <a:pt x="579" y="17"/>
                      </a:cubicBezTo>
                      <a:lnTo>
                        <a:pt x="579" y="17"/>
                      </a:lnTo>
                      <a:cubicBezTo>
                        <a:pt x="563" y="20"/>
                        <a:pt x="547" y="25"/>
                        <a:pt x="532" y="30"/>
                      </a:cubicBezTo>
                      <a:lnTo>
                        <a:pt x="532" y="30"/>
                      </a:lnTo>
                      <a:cubicBezTo>
                        <a:pt x="505" y="39"/>
                        <a:pt x="480" y="50"/>
                        <a:pt x="454" y="60"/>
                      </a:cubicBezTo>
                      <a:lnTo>
                        <a:pt x="454" y="60"/>
                      </a:lnTo>
                      <a:cubicBezTo>
                        <a:pt x="425" y="72"/>
                        <a:pt x="399" y="85"/>
                        <a:pt x="371" y="99"/>
                      </a:cubicBezTo>
                      <a:lnTo>
                        <a:pt x="371" y="99"/>
                      </a:lnTo>
                      <a:cubicBezTo>
                        <a:pt x="322" y="126"/>
                        <a:pt x="273" y="155"/>
                        <a:pt x="229" y="191"/>
                      </a:cubicBezTo>
                      <a:lnTo>
                        <a:pt x="229" y="191"/>
                      </a:lnTo>
                      <a:cubicBezTo>
                        <a:pt x="185" y="227"/>
                        <a:pt x="148" y="270"/>
                        <a:pt x="116" y="316"/>
                      </a:cubicBezTo>
                      <a:lnTo>
                        <a:pt x="116" y="316"/>
                      </a:lnTo>
                      <a:cubicBezTo>
                        <a:pt x="100" y="337"/>
                        <a:pt x="86" y="359"/>
                        <a:pt x="74" y="382"/>
                      </a:cubicBezTo>
                      <a:lnTo>
                        <a:pt x="74" y="382"/>
                      </a:lnTo>
                      <a:cubicBezTo>
                        <a:pt x="60" y="407"/>
                        <a:pt x="50" y="435"/>
                        <a:pt x="40" y="462"/>
                      </a:cubicBezTo>
                      <a:lnTo>
                        <a:pt x="40" y="462"/>
                      </a:lnTo>
                      <a:cubicBezTo>
                        <a:pt x="20" y="517"/>
                        <a:pt x="8" y="575"/>
                        <a:pt x="4" y="633"/>
                      </a:cubicBezTo>
                      <a:lnTo>
                        <a:pt x="4" y="633"/>
                      </a:lnTo>
                      <a:cubicBezTo>
                        <a:pt x="0" y="692"/>
                        <a:pt x="5" y="750"/>
                        <a:pt x="15" y="808"/>
                      </a:cubicBezTo>
                      <a:lnTo>
                        <a:pt x="15" y="808"/>
                      </a:lnTo>
                      <a:cubicBezTo>
                        <a:pt x="20" y="836"/>
                        <a:pt x="28" y="864"/>
                        <a:pt x="37" y="891"/>
                      </a:cubicBezTo>
                      <a:lnTo>
                        <a:pt x="37" y="891"/>
                      </a:lnTo>
                      <a:cubicBezTo>
                        <a:pt x="46" y="920"/>
                        <a:pt x="60" y="947"/>
                        <a:pt x="74" y="974"/>
                      </a:cubicBezTo>
                      <a:lnTo>
                        <a:pt x="74" y="974"/>
                      </a:lnTo>
                      <a:cubicBezTo>
                        <a:pt x="87" y="999"/>
                        <a:pt x="101" y="1022"/>
                        <a:pt x="117" y="1045"/>
                      </a:cubicBezTo>
                      <a:lnTo>
                        <a:pt x="117" y="1045"/>
                      </a:lnTo>
                      <a:cubicBezTo>
                        <a:pt x="134" y="1071"/>
                        <a:pt x="151" y="1096"/>
                        <a:pt x="169" y="1121"/>
                      </a:cubicBezTo>
                      <a:lnTo>
                        <a:pt x="169" y="1121"/>
                      </a:lnTo>
                      <a:cubicBezTo>
                        <a:pt x="205" y="1166"/>
                        <a:pt x="244" y="1209"/>
                        <a:pt x="288" y="1247"/>
                      </a:cubicBezTo>
                      <a:lnTo>
                        <a:pt x="288" y="1247"/>
                      </a:lnTo>
                      <a:cubicBezTo>
                        <a:pt x="332" y="1284"/>
                        <a:pt x="383" y="1314"/>
                        <a:pt x="435" y="1337"/>
                      </a:cubicBezTo>
                      <a:lnTo>
                        <a:pt x="435" y="1337"/>
                      </a:lnTo>
                      <a:cubicBezTo>
                        <a:pt x="487" y="1360"/>
                        <a:pt x="541" y="1375"/>
                        <a:pt x="596" y="1385"/>
                      </a:cubicBezTo>
                      <a:lnTo>
                        <a:pt x="596" y="1385"/>
                      </a:lnTo>
                      <a:cubicBezTo>
                        <a:pt x="653" y="1396"/>
                        <a:pt x="712" y="1396"/>
                        <a:pt x="769" y="1391"/>
                      </a:cubicBezTo>
                      <a:lnTo>
                        <a:pt x="769" y="1391"/>
                      </a:lnTo>
                      <a:cubicBezTo>
                        <a:pt x="826" y="1386"/>
                        <a:pt x="883" y="1373"/>
                        <a:pt x="937" y="1354"/>
                      </a:cubicBezTo>
                      <a:lnTo>
                        <a:pt x="937" y="1354"/>
                      </a:lnTo>
                      <a:cubicBezTo>
                        <a:pt x="964" y="1346"/>
                        <a:pt x="990" y="1334"/>
                        <a:pt x="1015" y="1321"/>
                      </a:cubicBezTo>
                      <a:lnTo>
                        <a:pt x="1015" y="1321"/>
                      </a:lnTo>
                      <a:cubicBezTo>
                        <a:pt x="1040" y="1309"/>
                        <a:pt x="1065" y="1295"/>
                        <a:pt x="1088" y="1280"/>
                      </a:cubicBezTo>
                      <a:lnTo>
                        <a:pt x="1088" y="1280"/>
                      </a:lnTo>
                      <a:cubicBezTo>
                        <a:pt x="1135" y="1249"/>
                        <a:pt x="1176" y="1209"/>
                        <a:pt x="1210" y="1165"/>
                      </a:cubicBezTo>
                      <a:lnTo>
                        <a:pt x="1210" y="1165"/>
                      </a:lnTo>
                      <a:cubicBezTo>
                        <a:pt x="1245" y="1121"/>
                        <a:pt x="1275" y="1070"/>
                        <a:pt x="1300" y="1019"/>
                      </a:cubicBezTo>
                      <a:lnTo>
                        <a:pt x="1300" y="1019"/>
                      </a:lnTo>
                      <a:cubicBezTo>
                        <a:pt x="1320" y="975"/>
                        <a:pt x="1335" y="929"/>
                        <a:pt x="1346" y="882"/>
                      </a:cubicBezTo>
                      <a:lnTo>
                        <a:pt x="1346" y="882"/>
                      </a:lnTo>
                      <a:cubicBezTo>
                        <a:pt x="1349" y="871"/>
                        <a:pt x="1352" y="859"/>
                        <a:pt x="1354" y="848"/>
                      </a:cubicBezTo>
                      <a:lnTo>
                        <a:pt x="1354" y="848"/>
                      </a:lnTo>
                      <a:cubicBezTo>
                        <a:pt x="1357" y="838"/>
                        <a:pt x="1358" y="827"/>
                        <a:pt x="1360" y="816"/>
                      </a:cubicBezTo>
                      <a:lnTo>
                        <a:pt x="1360" y="816"/>
                      </a:lnTo>
                      <a:cubicBezTo>
                        <a:pt x="1368" y="776"/>
                        <a:pt x="1368" y="734"/>
                        <a:pt x="1361" y="694"/>
                      </a:cubicBezTo>
                      <a:lnTo>
                        <a:pt x="1361" y="694"/>
                      </a:lnTo>
                      <a:cubicBezTo>
                        <a:pt x="1355" y="652"/>
                        <a:pt x="1346" y="610"/>
                        <a:pt x="1335" y="569"/>
                      </a:cubicBezTo>
                      <a:lnTo>
                        <a:pt x="1335" y="569"/>
                      </a:lnTo>
                      <a:cubicBezTo>
                        <a:pt x="1325" y="530"/>
                        <a:pt x="1314" y="490"/>
                        <a:pt x="1299" y="453"/>
                      </a:cubicBezTo>
                      <a:lnTo>
                        <a:pt x="1299" y="453"/>
                      </a:lnTo>
                      <a:cubicBezTo>
                        <a:pt x="1283" y="413"/>
                        <a:pt x="1264" y="376"/>
                        <a:pt x="1239" y="342"/>
                      </a:cubicBezTo>
                      <a:lnTo>
                        <a:pt x="1239" y="342"/>
                      </a:lnTo>
                      <a:cubicBezTo>
                        <a:pt x="1215" y="309"/>
                        <a:pt x="1191" y="278"/>
                        <a:pt x="1166" y="248"/>
                      </a:cubicBezTo>
                      <a:lnTo>
                        <a:pt x="1166" y="248"/>
                      </a:lnTo>
                      <a:cubicBezTo>
                        <a:pt x="1140" y="217"/>
                        <a:pt x="1111" y="189"/>
                        <a:pt x="1083" y="160"/>
                      </a:cubicBezTo>
                      <a:lnTo>
                        <a:pt x="1083" y="160"/>
                      </a:lnTo>
                      <a:cubicBezTo>
                        <a:pt x="1070" y="146"/>
                        <a:pt x="1056" y="133"/>
                        <a:pt x="1042" y="120"/>
                      </a:cubicBezTo>
                      <a:lnTo>
                        <a:pt x="1042" y="120"/>
                      </a:lnTo>
                      <a:cubicBezTo>
                        <a:pt x="1027" y="107"/>
                        <a:pt x="1010" y="96"/>
                        <a:pt x="993" y="86"/>
                      </a:cubicBezTo>
                      <a:lnTo>
                        <a:pt x="993" y="86"/>
                      </a:lnTo>
                      <a:cubicBezTo>
                        <a:pt x="972" y="73"/>
                        <a:pt x="948" y="63"/>
                        <a:pt x="924" y="53"/>
                      </a:cubicBezTo>
                      <a:lnTo>
                        <a:pt x="924" y="53"/>
                      </a:lnTo>
                      <a:cubicBezTo>
                        <a:pt x="901" y="44"/>
                        <a:pt x="878" y="34"/>
                        <a:pt x="855" y="28"/>
                      </a:cubicBezTo>
                      <a:lnTo>
                        <a:pt x="855" y="28"/>
                      </a:lnTo>
                      <a:cubicBezTo>
                        <a:pt x="831" y="20"/>
                        <a:pt x="806" y="15"/>
                        <a:pt x="781" y="10"/>
                      </a:cubicBezTo>
                      <a:lnTo>
                        <a:pt x="781" y="10"/>
                      </a:lnTo>
                      <a:cubicBezTo>
                        <a:pt x="769" y="8"/>
                        <a:pt x="757" y="5"/>
                        <a:pt x="745" y="3"/>
                      </a:cubicBezTo>
                      <a:lnTo>
                        <a:pt x="745" y="3"/>
                      </a:lnTo>
                      <a:cubicBezTo>
                        <a:pt x="727" y="2"/>
                        <a:pt x="710" y="0"/>
                        <a:pt x="693" y="0"/>
                      </a:cubicBezTo>
                      <a:lnTo>
                        <a:pt x="693" y="0"/>
                      </a:lnTo>
                      <a:cubicBezTo>
                        <a:pt x="692" y="0"/>
                        <a:pt x="691" y="0"/>
                        <a:pt x="690" y="0"/>
                      </a:cubicBezTo>
                      <a:lnTo>
                        <a:pt x="690" y="0"/>
                      </a:lnTo>
                      <a:cubicBezTo>
                        <a:pt x="684" y="0"/>
                        <a:pt x="678" y="1"/>
                        <a:pt x="67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371">
                  <a:extLst>
                    <a:ext uri="{FF2B5EF4-FFF2-40B4-BE49-F238E27FC236}">
                      <a16:creationId xmlns:a16="http://schemas.microsoft.com/office/drawing/2014/main" id="{B2209C09-7C05-2442-8E3D-705C3E7745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2624138"/>
                  <a:ext cx="123825" cy="134937"/>
                </a:xfrm>
                <a:custGeom>
                  <a:avLst/>
                  <a:gdLst>
                    <a:gd name="T0" fmla="*/ 67 w 346"/>
                    <a:gd name="T1" fmla="*/ 325 h 377"/>
                    <a:gd name="T2" fmla="*/ 200 w 346"/>
                    <a:gd name="T3" fmla="*/ 281 h 377"/>
                    <a:gd name="T4" fmla="*/ 199 w 346"/>
                    <a:gd name="T5" fmla="*/ 283 h 377"/>
                    <a:gd name="T6" fmla="*/ 218 w 346"/>
                    <a:gd name="T7" fmla="*/ 48 h 377"/>
                    <a:gd name="T8" fmla="*/ 218 w 346"/>
                    <a:gd name="T9" fmla="*/ 48 h 377"/>
                    <a:gd name="T10" fmla="*/ 260 w 346"/>
                    <a:gd name="T11" fmla="*/ 37 h 377"/>
                    <a:gd name="T12" fmla="*/ 276 w 346"/>
                    <a:gd name="T13" fmla="*/ 44 h 377"/>
                    <a:gd name="T14" fmla="*/ 301 w 346"/>
                    <a:gd name="T15" fmla="*/ 70 h 377"/>
                    <a:gd name="T16" fmla="*/ 305 w 346"/>
                    <a:gd name="T17" fmla="*/ 81 h 377"/>
                    <a:gd name="T18" fmla="*/ 304 w 346"/>
                    <a:gd name="T19" fmla="*/ 122 h 377"/>
                    <a:gd name="T20" fmla="*/ 291 w 346"/>
                    <a:gd name="T21" fmla="*/ 154 h 377"/>
                    <a:gd name="T22" fmla="*/ 244 w 346"/>
                    <a:gd name="T23" fmla="*/ 229 h 377"/>
                    <a:gd name="T24" fmla="*/ 201 w 346"/>
                    <a:gd name="T25" fmla="*/ 280 h 377"/>
                    <a:gd name="T26" fmla="*/ 145 w 346"/>
                    <a:gd name="T27" fmla="*/ 323 h 377"/>
                    <a:gd name="T28" fmla="*/ 121 w 346"/>
                    <a:gd name="T29" fmla="*/ 333 h 377"/>
                    <a:gd name="T30" fmla="*/ 87 w 346"/>
                    <a:gd name="T31" fmla="*/ 334 h 377"/>
                    <a:gd name="T32" fmla="*/ 68 w 346"/>
                    <a:gd name="T33" fmla="*/ 326 h 377"/>
                    <a:gd name="T34" fmla="*/ 48 w 346"/>
                    <a:gd name="T35" fmla="*/ 305 h 377"/>
                    <a:gd name="T36" fmla="*/ 40 w 346"/>
                    <a:gd name="T37" fmla="*/ 285 h 377"/>
                    <a:gd name="T38" fmla="*/ 42 w 346"/>
                    <a:gd name="T39" fmla="*/ 229 h 377"/>
                    <a:gd name="T40" fmla="*/ 64 w 346"/>
                    <a:gd name="T41" fmla="*/ 182 h 377"/>
                    <a:gd name="T42" fmla="*/ 184 w 346"/>
                    <a:gd name="T43" fmla="*/ 64 h 377"/>
                    <a:gd name="T44" fmla="*/ 199 w 346"/>
                    <a:gd name="T45" fmla="*/ 60 h 377"/>
                    <a:gd name="T46" fmla="*/ 243 w 346"/>
                    <a:gd name="T47" fmla="*/ 37 h 377"/>
                    <a:gd name="T48" fmla="*/ 232 w 346"/>
                    <a:gd name="T49" fmla="*/ 2 h 377"/>
                    <a:gd name="T50" fmla="*/ 199 w 346"/>
                    <a:gd name="T51" fmla="*/ 17 h 377"/>
                    <a:gd name="T52" fmla="*/ 118 w 346"/>
                    <a:gd name="T53" fmla="*/ 68 h 377"/>
                    <a:gd name="T54" fmla="*/ 59 w 346"/>
                    <a:gd name="T55" fmla="*/ 126 h 377"/>
                    <a:gd name="T56" fmla="*/ 1 w 346"/>
                    <a:gd name="T57" fmla="*/ 262 h 377"/>
                    <a:gd name="T58" fmla="*/ 6 w 346"/>
                    <a:gd name="T59" fmla="*/ 298 h 377"/>
                    <a:gd name="T60" fmla="*/ 32 w 346"/>
                    <a:gd name="T61" fmla="*/ 344 h 377"/>
                    <a:gd name="T62" fmla="*/ 45 w 346"/>
                    <a:gd name="T63" fmla="*/ 355 h 377"/>
                    <a:gd name="T64" fmla="*/ 143 w 346"/>
                    <a:gd name="T65" fmla="*/ 364 h 377"/>
                    <a:gd name="T66" fmla="*/ 176 w 346"/>
                    <a:gd name="T67" fmla="*/ 347 h 377"/>
                    <a:gd name="T68" fmla="*/ 236 w 346"/>
                    <a:gd name="T69" fmla="*/ 298 h 377"/>
                    <a:gd name="T70" fmla="*/ 265 w 346"/>
                    <a:gd name="T71" fmla="*/ 264 h 377"/>
                    <a:gd name="T72" fmla="*/ 327 w 346"/>
                    <a:gd name="T73" fmla="*/ 165 h 377"/>
                    <a:gd name="T74" fmla="*/ 338 w 346"/>
                    <a:gd name="T75" fmla="*/ 139 h 377"/>
                    <a:gd name="T76" fmla="*/ 344 w 346"/>
                    <a:gd name="T77" fmla="*/ 85 h 377"/>
                    <a:gd name="T78" fmla="*/ 325 w 346"/>
                    <a:gd name="T79" fmla="*/ 40 h 377"/>
                    <a:gd name="T80" fmla="*/ 289 w 346"/>
                    <a:gd name="T81" fmla="*/ 9 h 377"/>
                    <a:gd name="T82" fmla="*/ 283 w 346"/>
                    <a:gd name="T83" fmla="*/ 6 h 377"/>
                    <a:gd name="T84" fmla="*/ 267 w 346"/>
                    <a:gd name="T85" fmla="*/ 1 h 377"/>
                    <a:gd name="T86" fmla="*/ 251 w 346"/>
                    <a:gd name="T87" fmla="*/ 0 h 3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46" h="377">
                      <a:moveTo>
                        <a:pt x="65" y="324"/>
                      </a:moveTo>
                      <a:lnTo>
                        <a:pt x="65" y="324"/>
                      </a:lnTo>
                      <a:cubicBezTo>
                        <a:pt x="65" y="324"/>
                        <a:pt x="66" y="325"/>
                        <a:pt x="67" y="325"/>
                      </a:cubicBezTo>
                      <a:lnTo>
                        <a:pt x="67" y="325"/>
                      </a:lnTo>
                      <a:cubicBezTo>
                        <a:pt x="66" y="325"/>
                        <a:pt x="65" y="324"/>
                        <a:pt x="65" y="324"/>
                      </a:cubicBezTo>
                      <a:close/>
                      <a:moveTo>
                        <a:pt x="200" y="281"/>
                      </a:moveTo>
                      <a:lnTo>
                        <a:pt x="200" y="281"/>
                      </a:lnTo>
                      <a:cubicBezTo>
                        <a:pt x="200" y="282"/>
                        <a:pt x="199" y="282"/>
                        <a:pt x="199" y="283"/>
                      </a:cubicBezTo>
                      <a:lnTo>
                        <a:pt x="199" y="283"/>
                      </a:lnTo>
                      <a:cubicBezTo>
                        <a:pt x="199" y="282"/>
                        <a:pt x="200" y="282"/>
                        <a:pt x="200" y="281"/>
                      </a:cubicBezTo>
                      <a:close/>
                      <a:moveTo>
                        <a:pt x="218" y="48"/>
                      </a:moveTo>
                      <a:lnTo>
                        <a:pt x="218" y="48"/>
                      </a:lnTo>
                      <a:cubicBezTo>
                        <a:pt x="217" y="49"/>
                        <a:pt x="216" y="49"/>
                        <a:pt x="216" y="50"/>
                      </a:cubicBezTo>
                      <a:lnTo>
                        <a:pt x="216" y="50"/>
                      </a:lnTo>
                      <a:cubicBezTo>
                        <a:pt x="216" y="49"/>
                        <a:pt x="217" y="49"/>
                        <a:pt x="218" y="48"/>
                      </a:cubicBezTo>
                      <a:close/>
                      <a:moveTo>
                        <a:pt x="253" y="36"/>
                      </a:moveTo>
                      <a:lnTo>
                        <a:pt x="253" y="36"/>
                      </a:lnTo>
                      <a:cubicBezTo>
                        <a:pt x="255" y="37"/>
                        <a:pt x="257" y="37"/>
                        <a:pt x="260" y="37"/>
                      </a:cubicBezTo>
                      <a:lnTo>
                        <a:pt x="260" y="37"/>
                      </a:lnTo>
                      <a:cubicBezTo>
                        <a:pt x="266" y="39"/>
                        <a:pt x="271" y="41"/>
                        <a:pt x="276" y="44"/>
                      </a:cubicBezTo>
                      <a:lnTo>
                        <a:pt x="276" y="44"/>
                      </a:lnTo>
                      <a:cubicBezTo>
                        <a:pt x="282" y="48"/>
                        <a:pt x="287" y="52"/>
                        <a:pt x="291" y="56"/>
                      </a:cubicBezTo>
                      <a:lnTo>
                        <a:pt x="291" y="56"/>
                      </a:lnTo>
                      <a:cubicBezTo>
                        <a:pt x="295" y="61"/>
                        <a:pt x="298" y="65"/>
                        <a:pt x="301" y="70"/>
                      </a:cubicBezTo>
                      <a:lnTo>
                        <a:pt x="301" y="70"/>
                      </a:lnTo>
                      <a:cubicBezTo>
                        <a:pt x="303" y="74"/>
                        <a:pt x="304" y="77"/>
                        <a:pt x="305" y="81"/>
                      </a:cubicBezTo>
                      <a:lnTo>
                        <a:pt x="305" y="81"/>
                      </a:lnTo>
                      <a:cubicBezTo>
                        <a:pt x="307" y="88"/>
                        <a:pt x="308" y="94"/>
                        <a:pt x="308" y="101"/>
                      </a:cubicBezTo>
                      <a:lnTo>
                        <a:pt x="308" y="101"/>
                      </a:lnTo>
                      <a:cubicBezTo>
                        <a:pt x="307" y="108"/>
                        <a:pt x="306" y="115"/>
                        <a:pt x="304" y="122"/>
                      </a:cubicBezTo>
                      <a:lnTo>
                        <a:pt x="304" y="122"/>
                      </a:lnTo>
                      <a:cubicBezTo>
                        <a:pt x="301" y="133"/>
                        <a:pt x="296" y="144"/>
                        <a:pt x="291" y="154"/>
                      </a:cubicBezTo>
                      <a:lnTo>
                        <a:pt x="291" y="154"/>
                      </a:lnTo>
                      <a:cubicBezTo>
                        <a:pt x="285" y="165"/>
                        <a:pt x="279" y="176"/>
                        <a:pt x="273" y="187"/>
                      </a:cubicBezTo>
                      <a:lnTo>
                        <a:pt x="273" y="187"/>
                      </a:lnTo>
                      <a:cubicBezTo>
                        <a:pt x="264" y="202"/>
                        <a:pt x="254" y="216"/>
                        <a:pt x="244" y="229"/>
                      </a:cubicBezTo>
                      <a:lnTo>
                        <a:pt x="244" y="229"/>
                      </a:lnTo>
                      <a:cubicBezTo>
                        <a:pt x="231" y="247"/>
                        <a:pt x="217" y="265"/>
                        <a:pt x="201" y="280"/>
                      </a:cubicBezTo>
                      <a:lnTo>
                        <a:pt x="201" y="280"/>
                      </a:lnTo>
                      <a:cubicBezTo>
                        <a:pt x="193" y="288"/>
                        <a:pt x="184" y="295"/>
                        <a:pt x="175" y="302"/>
                      </a:cubicBezTo>
                      <a:lnTo>
                        <a:pt x="175" y="302"/>
                      </a:lnTo>
                      <a:cubicBezTo>
                        <a:pt x="165" y="309"/>
                        <a:pt x="155" y="316"/>
                        <a:pt x="145" y="323"/>
                      </a:cubicBezTo>
                      <a:lnTo>
                        <a:pt x="145" y="323"/>
                      </a:lnTo>
                      <a:cubicBezTo>
                        <a:pt x="138" y="326"/>
                        <a:pt x="129" y="330"/>
                        <a:pt x="121" y="333"/>
                      </a:cubicBezTo>
                      <a:lnTo>
                        <a:pt x="121" y="333"/>
                      </a:lnTo>
                      <a:cubicBezTo>
                        <a:pt x="114" y="335"/>
                        <a:pt x="107" y="335"/>
                        <a:pt x="99" y="336"/>
                      </a:cubicBezTo>
                      <a:lnTo>
                        <a:pt x="99" y="336"/>
                      </a:lnTo>
                      <a:cubicBezTo>
                        <a:pt x="95" y="335"/>
                        <a:pt x="91" y="335"/>
                        <a:pt x="87" y="334"/>
                      </a:cubicBezTo>
                      <a:lnTo>
                        <a:pt x="87" y="334"/>
                      </a:lnTo>
                      <a:cubicBezTo>
                        <a:pt x="80" y="332"/>
                        <a:pt x="74" y="328"/>
                        <a:pt x="68" y="326"/>
                      </a:cubicBezTo>
                      <a:lnTo>
                        <a:pt x="68" y="326"/>
                      </a:lnTo>
                      <a:cubicBezTo>
                        <a:pt x="64" y="323"/>
                        <a:pt x="60" y="320"/>
                        <a:pt x="57" y="316"/>
                      </a:cubicBezTo>
                      <a:lnTo>
                        <a:pt x="57" y="316"/>
                      </a:lnTo>
                      <a:cubicBezTo>
                        <a:pt x="54" y="313"/>
                        <a:pt x="51" y="309"/>
                        <a:pt x="48" y="305"/>
                      </a:cubicBezTo>
                      <a:lnTo>
                        <a:pt x="48" y="305"/>
                      </a:lnTo>
                      <a:cubicBezTo>
                        <a:pt x="45" y="298"/>
                        <a:pt x="42" y="292"/>
                        <a:pt x="40" y="285"/>
                      </a:cubicBezTo>
                      <a:lnTo>
                        <a:pt x="40" y="285"/>
                      </a:lnTo>
                      <a:cubicBezTo>
                        <a:pt x="39" y="277"/>
                        <a:pt x="38" y="269"/>
                        <a:pt x="38" y="260"/>
                      </a:cubicBezTo>
                      <a:lnTo>
                        <a:pt x="38" y="260"/>
                      </a:lnTo>
                      <a:cubicBezTo>
                        <a:pt x="38" y="250"/>
                        <a:pt x="39" y="239"/>
                        <a:pt x="42" y="229"/>
                      </a:cubicBezTo>
                      <a:lnTo>
                        <a:pt x="42" y="229"/>
                      </a:lnTo>
                      <a:cubicBezTo>
                        <a:pt x="48" y="212"/>
                        <a:pt x="55" y="197"/>
                        <a:pt x="64" y="182"/>
                      </a:cubicBezTo>
                      <a:lnTo>
                        <a:pt x="64" y="182"/>
                      </a:lnTo>
                      <a:cubicBezTo>
                        <a:pt x="79" y="159"/>
                        <a:pt x="98" y="138"/>
                        <a:pt x="118" y="118"/>
                      </a:cubicBezTo>
                      <a:lnTo>
                        <a:pt x="118" y="118"/>
                      </a:lnTo>
                      <a:cubicBezTo>
                        <a:pt x="139" y="98"/>
                        <a:pt x="162" y="81"/>
                        <a:pt x="184" y="64"/>
                      </a:cubicBezTo>
                      <a:lnTo>
                        <a:pt x="184" y="64"/>
                      </a:lnTo>
                      <a:cubicBezTo>
                        <a:pt x="190" y="64"/>
                        <a:pt x="194" y="63"/>
                        <a:pt x="199" y="60"/>
                      </a:cubicBezTo>
                      <a:lnTo>
                        <a:pt x="199" y="60"/>
                      </a:lnTo>
                      <a:cubicBezTo>
                        <a:pt x="205" y="56"/>
                        <a:pt x="212" y="52"/>
                        <a:pt x="218" y="48"/>
                      </a:cubicBezTo>
                      <a:lnTo>
                        <a:pt x="218" y="48"/>
                      </a:lnTo>
                      <a:cubicBezTo>
                        <a:pt x="226" y="44"/>
                        <a:pt x="234" y="40"/>
                        <a:pt x="243" y="37"/>
                      </a:cubicBezTo>
                      <a:lnTo>
                        <a:pt x="243" y="37"/>
                      </a:lnTo>
                      <a:cubicBezTo>
                        <a:pt x="246" y="37"/>
                        <a:pt x="249" y="37"/>
                        <a:pt x="253" y="36"/>
                      </a:cubicBezTo>
                      <a:close/>
                      <a:moveTo>
                        <a:pt x="232" y="2"/>
                      </a:moveTo>
                      <a:lnTo>
                        <a:pt x="232" y="2"/>
                      </a:lnTo>
                      <a:cubicBezTo>
                        <a:pt x="220" y="5"/>
                        <a:pt x="209" y="11"/>
                        <a:pt x="199" y="17"/>
                      </a:cubicBezTo>
                      <a:lnTo>
                        <a:pt x="199" y="17"/>
                      </a:lnTo>
                      <a:cubicBezTo>
                        <a:pt x="193" y="15"/>
                        <a:pt x="188" y="16"/>
                        <a:pt x="182" y="20"/>
                      </a:cubicBezTo>
                      <a:lnTo>
                        <a:pt x="182" y="20"/>
                      </a:lnTo>
                      <a:cubicBezTo>
                        <a:pt x="161" y="35"/>
                        <a:pt x="139" y="51"/>
                        <a:pt x="118" y="68"/>
                      </a:cubicBezTo>
                      <a:lnTo>
                        <a:pt x="118" y="68"/>
                      </a:lnTo>
                      <a:cubicBezTo>
                        <a:pt x="97" y="85"/>
                        <a:pt x="77" y="105"/>
                        <a:pt x="59" y="126"/>
                      </a:cubicBezTo>
                      <a:lnTo>
                        <a:pt x="59" y="126"/>
                      </a:lnTo>
                      <a:cubicBezTo>
                        <a:pt x="44" y="145"/>
                        <a:pt x="31" y="165"/>
                        <a:pt x="19" y="187"/>
                      </a:cubicBezTo>
                      <a:lnTo>
                        <a:pt x="19" y="187"/>
                      </a:lnTo>
                      <a:cubicBezTo>
                        <a:pt x="8" y="210"/>
                        <a:pt x="0" y="236"/>
                        <a:pt x="1" y="262"/>
                      </a:cubicBezTo>
                      <a:lnTo>
                        <a:pt x="1" y="262"/>
                      </a:lnTo>
                      <a:cubicBezTo>
                        <a:pt x="1" y="275"/>
                        <a:pt x="2" y="286"/>
                        <a:pt x="6" y="298"/>
                      </a:cubicBezTo>
                      <a:lnTo>
                        <a:pt x="6" y="298"/>
                      </a:lnTo>
                      <a:cubicBezTo>
                        <a:pt x="9" y="310"/>
                        <a:pt x="14" y="320"/>
                        <a:pt x="20" y="330"/>
                      </a:cubicBezTo>
                      <a:lnTo>
                        <a:pt x="20" y="330"/>
                      </a:lnTo>
                      <a:cubicBezTo>
                        <a:pt x="23" y="336"/>
                        <a:pt x="28" y="340"/>
                        <a:pt x="32" y="344"/>
                      </a:cubicBezTo>
                      <a:lnTo>
                        <a:pt x="32" y="344"/>
                      </a:lnTo>
                      <a:cubicBezTo>
                        <a:pt x="37" y="348"/>
                        <a:pt x="41" y="352"/>
                        <a:pt x="45" y="355"/>
                      </a:cubicBezTo>
                      <a:lnTo>
                        <a:pt x="45" y="355"/>
                      </a:lnTo>
                      <a:cubicBezTo>
                        <a:pt x="56" y="362"/>
                        <a:pt x="67" y="367"/>
                        <a:pt x="79" y="370"/>
                      </a:cubicBezTo>
                      <a:lnTo>
                        <a:pt x="79" y="370"/>
                      </a:lnTo>
                      <a:cubicBezTo>
                        <a:pt x="101" y="376"/>
                        <a:pt x="123" y="371"/>
                        <a:pt x="143" y="364"/>
                      </a:cubicBezTo>
                      <a:lnTo>
                        <a:pt x="143" y="364"/>
                      </a:lnTo>
                      <a:cubicBezTo>
                        <a:pt x="155" y="360"/>
                        <a:pt x="166" y="354"/>
                        <a:pt x="176" y="347"/>
                      </a:cubicBezTo>
                      <a:lnTo>
                        <a:pt x="176" y="347"/>
                      </a:lnTo>
                      <a:cubicBezTo>
                        <a:pt x="183" y="343"/>
                        <a:pt x="190" y="337"/>
                        <a:pt x="197" y="332"/>
                      </a:cubicBezTo>
                      <a:lnTo>
                        <a:pt x="197" y="332"/>
                      </a:lnTo>
                      <a:cubicBezTo>
                        <a:pt x="210" y="322"/>
                        <a:pt x="224" y="310"/>
                        <a:pt x="236" y="298"/>
                      </a:cubicBezTo>
                      <a:lnTo>
                        <a:pt x="236" y="298"/>
                      </a:lnTo>
                      <a:cubicBezTo>
                        <a:pt x="246" y="287"/>
                        <a:pt x="255" y="275"/>
                        <a:pt x="265" y="264"/>
                      </a:cubicBezTo>
                      <a:lnTo>
                        <a:pt x="265" y="264"/>
                      </a:lnTo>
                      <a:cubicBezTo>
                        <a:pt x="277" y="249"/>
                        <a:pt x="287" y="234"/>
                        <a:pt x="297" y="218"/>
                      </a:cubicBezTo>
                      <a:lnTo>
                        <a:pt x="297" y="218"/>
                      </a:lnTo>
                      <a:cubicBezTo>
                        <a:pt x="308" y="201"/>
                        <a:pt x="319" y="184"/>
                        <a:pt x="327" y="165"/>
                      </a:cubicBezTo>
                      <a:lnTo>
                        <a:pt x="327" y="165"/>
                      </a:lnTo>
                      <a:cubicBezTo>
                        <a:pt x="331" y="156"/>
                        <a:pt x="335" y="148"/>
                        <a:pt x="338" y="139"/>
                      </a:cubicBezTo>
                      <a:lnTo>
                        <a:pt x="338" y="139"/>
                      </a:lnTo>
                      <a:cubicBezTo>
                        <a:pt x="340" y="132"/>
                        <a:pt x="342" y="124"/>
                        <a:pt x="344" y="116"/>
                      </a:cubicBezTo>
                      <a:lnTo>
                        <a:pt x="344" y="116"/>
                      </a:lnTo>
                      <a:cubicBezTo>
                        <a:pt x="345" y="106"/>
                        <a:pt x="345" y="96"/>
                        <a:pt x="344" y="85"/>
                      </a:cubicBezTo>
                      <a:lnTo>
                        <a:pt x="344" y="85"/>
                      </a:lnTo>
                      <a:cubicBezTo>
                        <a:pt x="343" y="69"/>
                        <a:pt x="335" y="54"/>
                        <a:pt x="325" y="40"/>
                      </a:cubicBezTo>
                      <a:lnTo>
                        <a:pt x="325" y="40"/>
                      </a:lnTo>
                      <a:cubicBezTo>
                        <a:pt x="320" y="31"/>
                        <a:pt x="311" y="24"/>
                        <a:pt x="303" y="17"/>
                      </a:cubicBezTo>
                      <a:lnTo>
                        <a:pt x="303" y="17"/>
                      </a:lnTo>
                      <a:cubicBezTo>
                        <a:pt x="299" y="14"/>
                        <a:pt x="293" y="11"/>
                        <a:pt x="289" y="9"/>
                      </a:cubicBezTo>
                      <a:lnTo>
                        <a:pt x="289" y="9"/>
                      </a:lnTo>
                      <a:cubicBezTo>
                        <a:pt x="287" y="8"/>
                        <a:pt x="285" y="7"/>
                        <a:pt x="283" y="6"/>
                      </a:cubicBezTo>
                      <a:lnTo>
                        <a:pt x="283" y="6"/>
                      </a:lnTo>
                      <a:cubicBezTo>
                        <a:pt x="281" y="5"/>
                        <a:pt x="279" y="5"/>
                        <a:pt x="277" y="4"/>
                      </a:cubicBezTo>
                      <a:lnTo>
                        <a:pt x="277" y="4"/>
                      </a:lnTo>
                      <a:cubicBezTo>
                        <a:pt x="274" y="3"/>
                        <a:pt x="270" y="2"/>
                        <a:pt x="267" y="1"/>
                      </a:cubicBezTo>
                      <a:lnTo>
                        <a:pt x="267" y="1"/>
                      </a:lnTo>
                      <a:cubicBezTo>
                        <a:pt x="261" y="0"/>
                        <a:pt x="256" y="0"/>
                        <a:pt x="251" y="0"/>
                      </a:cubicBezTo>
                      <a:lnTo>
                        <a:pt x="251" y="0"/>
                      </a:lnTo>
                      <a:cubicBezTo>
                        <a:pt x="245" y="0"/>
                        <a:pt x="239" y="0"/>
                        <a:pt x="232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372">
                  <a:extLst>
                    <a:ext uri="{FF2B5EF4-FFF2-40B4-BE49-F238E27FC236}">
                      <a16:creationId xmlns:a16="http://schemas.microsoft.com/office/drawing/2014/main" id="{728CCE89-3E6F-0146-8564-E1C532AC0A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3350" y="2814638"/>
                  <a:ext cx="57150" cy="87312"/>
                </a:xfrm>
                <a:custGeom>
                  <a:avLst/>
                  <a:gdLst>
                    <a:gd name="T0" fmla="*/ 95 w 158"/>
                    <a:gd name="T1" fmla="*/ 205 h 242"/>
                    <a:gd name="T2" fmla="*/ 92 w 158"/>
                    <a:gd name="T3" fmla="*/ 203 h 242"/>
                    <a:gd name="T4" fmla="*/ 91 w 158"/>
                    <a:gd name="T5" fmla="*/ 203 h 242"/>
                    <a:gd name="T6" fmla="*/ 91 w 158"/>
                    <a:gd name="T7" fmla="*/ 203 h 242"/>
                    <a:gd name="T8" fmla="*/ 93 w 158"/>
                    <a:gd name="T9" fmla="*/ 203 h 242"/>
                    <a:gd name="T10" fmla="*/ 92 w 158"/>
                    <a:gd name="T11" fmla="*/ 203 h 242"/>
                    <a:gd name="T12" fmla="*/ 75 w 158"/>
                    <a:gd name="T13" fmla="*/ 190 h 242"/>
                    <a:gd name="T14" fmla="*/ 76 w 158"/>
                    <a:gd name="T15" fmla="*/ 192 h 242"/>
                    <a:gd name="T16" fmla="*/ 115 w 158"/>
                    <a:gd name="T17" fmla="*/ 174 h 242"/>
                    <a:gd name="T18" fmla="*/ 115 w 158"/>
                    <a:gd name="T19" fmla="*/ 174 h 242"/>
                    <a:gd name="T20" fmla="*/ 48 w 158"/>
                    <a:gd name="T21" fmla="*/ 142 h 242"/>
                    <a:gd name="T22" fmla="*/ 42 w 158"/>
                    <a:gd name="T23" fmla="*/ 99 h 242"/>
                    <a:gd name="T24" fmla="*/ 42 w 158"/>
                    <a:gd name="T25" fmla="*/ 103 h 242"/>
                    <a:gd name="T26" fmla="*/ 98 w 158"/>
                    <a:gd name="T27" fmla="*/ 72 h 242"/>
                    <a:gd name="T28" fmla="*/ 98 w 158"/>
                    <a:gd name="T29" fmla="*/ 72 h 242"/>
                    <a:gd name="T30" fmla="*/ 42 w 158"/>
                    <a:gd name="T31" fmla="*/ 42 h 242"/>
                    <a:gd name="T32" fmla="*/ 58 w 158"/>
                    <a:gd name="T33" fmla="*/ 36 h 242"/>
                    <a:gd name="T34" fmla="*/ 61 w 158"/>
                    <a:gd name="T35" fmla="*/ 37 h 242"/>
                    <a:gd name="T36" fmla="*/ 85 w 158"/>
                    <a:gd name="T37" fmla="*/ 54 h 242"/>
                    <a:gd name="T38" fmla="*/ 101 w 158"/>
                    <a:gd name="T39" fmla="*/ 75 h 242"/>
                    <a:gd name="T40" fmla="*/ 114 w 158"/>
                    <a:gd name="T41" fmla="*/ 111 h 242"/>
                    <a:gd name="T42" fmla="*/ 119 w 158"/>
                    <a:gd name="T43" fmla="*/ 146 h 242"/>
                    <a:gd name="T44" fmla="*/ 109 w 158"/>
                    <a:gd name="T45" fmla="*/ 186 h 242"/>
                    <a:gd name="T46" fmla="*/ 99 w 158"/>
                    <a:gd name="T47" fmla="*/ 198 h 242"/>
                    <a:gd name="T48" fmla="*/ 91 w 158"/>
                    <a:gd name="T49" fmla="*/ 203 h 242"/>
                    <a:gd name="T50" fmla="*/ 89 w 158"/>
                    <a:gd name="T51" fmla="*/ 203 h 242"/>
                    <a:gd name="T52" fmla="*/ 60 w 158"/>
                    <a:gd name="T53" fmla="*/ 170 h 242"/>
                    <a:gd name="T54" fmla="*/ 48 w 158"/>
                    <a:gd name="T55" fmla="*/ 141 h 242"/>
                    <a:gd name="T56" fmla="*/ 45 w 158"/>
                    <a:gd name="T57" fmla="*/ 69 h 242"/>
                    <a:gd name="T58" fmla="*/ 38 w 158"/>
                    <a:gd name="T59" fmla="*/ 52 h 242"/>
                    <a:gd name="T60" fmla="*/ 40 w 158"/>
                    <a:gd name="T61" fmla="*/ 45 h 242"/>
                    <a:gd name="T62" fmla="*/ 41 w 158"/>
                    <a:gd name="T63" fmla="*/ 43 h 242"/>
                    <a:gd name="T64" fmla="*/ 54 w 158"/>
                    <a:gd name="T65" fmla="*/ 38 h 242"/>
                    <a:gd name="T66" fmla="*/ 56 w 158"/>
                    <a:gd name="T67" fmla="*/ 36 h 242"/>
                    <a:gd name="T68" fmla="*/ 56 w 158"/>
                    <a:gd name="T69" fmla="*/ 36 h 242"/>
                    <a:gd name="T70" fmla="*/ 56 w 158"/>
                    <a:gd name="T71" fmla="*/ 36 h 242"/>
                    <a:gd name="T72" fmla="*/ 56 w 158"/>
                    <a:gd name="T73" fmla="*/ 36 h 242"/>
                    <a:gd name="T74" fmla="*/ 22 w 158"/>
                    <a:gd name="T75" fmla="*/ 11 h 242"/>
                    <a:gd name="T76" fmla="*/ 15 w 158"/>
                    <a:gd name="T77" fmla="*/ 17 h 242"/>
                    <a:gd name="T78" fmla="*/ 0 w 158"/>
                    <a:gd name="T79" fmla="*/ 78 h 242"/>
                    <a:gd name="T80" fmla="*/ 6 w 158"/>
                    <a:gd name="T81" fmla="*/ 89 h 242"/>
                    <a:gd name="T82" fmla="*/ 21 w 158"/>
                    <a:gd name="T83" fmla="*/ 176 h 242"/>
                    <a:gd name="T84" fmla="*/ 35 w 158"/>
                    <a:gd name="T85" fmla="*/ 200 h 242"/>
                    <a:gd name="T86" fmla="*/ 72 w 158"/>
                    <a:gd name="T87" fmla="*/ 236 h 242"/>
                    <a:gd name="T88" fmla="*/ 80 w 158"/>
                    <a:gd name="T89" fmla="*/ 239 h 242"/>
                    <a:gd name="T90" fmla="*/ 94 w 158"/>
                    <a:gd name="T91" fmla="*/ 241 h 242"/>
                    <a:gd name="T92" fmla="*/ 104 w 158"/>
                    <a:gd name="T93" fmla="*/ 238 h 242"/>
                    <a:gd name="T94" fmla="*/ 133 w 158"/>
                    <a:gd name="T95" fmla="*/ 215 h 242"/>
                    <a:gd name="T96" fmla="*/ 155 w 158"/>
                    <a:gd name="T97" fmla="*/ 166 h 242"/>
                    <a:gd name="T98" fmla="*/ 148 w 158"/>
                    <a:gd name="T99" fmla="*/ 94 h 242"/>
                    <a:gd name="T100" fmla="*/ 102 w 158"/>
                    <a:gd name="T101" fmla="*/ 19 h 242"/>
                    <a:gd name="T102" fmla="*/ 59 w 158"/>
                    <a:gd name="T103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8" h="242">
                      <a:moveTo>
                        <a:pt x="92" y="204"/>
                      </a:moveTo>
                      <a:lnTo>
                        <a:pt x="92" y="204"/>
                      </a:lnTo>
                      <a:cubicBezTo>
                        <a:pt x="93" y="204"/>
                        <a:pt x="94" y="204"/>
                        <a:pt x="95" y="205"/>
                      </a:cubicBezTo>
                      <a:lnTo>
                        <a:pt x="95" y="205"/>
                      </a:lnTo>
                      <a:cubicBezTo>
                        <a:pt x="94" y="204"/>
                        <a:pt x="93" y="204"/>
                        <a:pt x="92" y="204"/>
                      </a:cubicBezTo>
                      <a:close/>
                      <a:moveTo>
                        <a:pt x="92" y="203"/>
                      </a:moveTo>
                      <a:lnTo>
                        <a:pt x="92" y="203"/>
                      </a:lnTo>
                      <a:lnTo>
                        <a:pt x="92" y="203"/>
                      </a:lnTo>
                      <a:cubicBezTo>
                        <a:pt x="91" y="203"/>
                        <a:pt x="91" y="203"/>
                        <a:pt x="91" y="203"/>
                      </a:cubicBezTo>
                      <a:lnTo>
                        <a:pt x="91" y="203"/>
                      </a:lnTo>
                      <a:lnTo>
                        <a:pt x="91" y="203"/>
                      </a:lnTo>
                      <a:lnTo>
                        <a:pt x="91" y="203"/>
                      </a:lnTo>
                      <a:cubicBezTo>
                        <a:pt x="91" y="203"/>
                        <a:pt x="91" y="203"/>
                        <a:pt x="92" y="203"/>
                      </a:cubicBezTo>
                      <a:close/>
                      <a:moveTo>
                        <a:pt x="93" y="203"/>
                      </a:moveTo>
                      <a:lnTo>
                        <a:pt x="93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3" y="203"/>
                      </a:lnTo>
                      <a:close/>
                      <a:moveTo>
                        <a:pt x="75" y="190"/>
                      </a:moveTo>
                      <a:lnTo>
                        <a:pt x="75" y="190"/>
                      </a:lnTo>
                      <a:cubicBezTo>
                        <a:pt x="76" y="191"/>
                        <a:pt x="76" y="192"/>
                        <a:pt x="76" y="192"/>
                      </a:cubicBezTo>
                      <a:lnTo>
                        <a:pt x="76" y="192"/>
                      </a:lnTo>
                      <a:cubicBezTo>
                        <a:pt x="76" y="192"/>
                        <a:pt x="76" y="191"/>
                        <a:pt x="75" y="190"/>
                      </a:cubicBezTo>
                      <a:close/>
                      <a:moveTo>
                        <a:pt x="115" y="174"/>
                      </a:moveTo>
                      <a:lnTo>
                        <a:pt x="115" y="174"/>
                      </a:lnTo>
                      <a:cubicBezTo>
                        <a:pt x="114" y="174"/>
                        <a:pt x="114" y="176"/>
                        <a:pt x="113" y="176"/>
                      </a:cubicBezTo>
                      <a:lnTo>
                        <a:pt x="113" y="176"/>
                      </a:lnTo>
                      <a:cubicBezTo>
                        <a:pt x="114" y="176"/>
                        <a:pt x="114" y="174"/>
                        <a:pt x="115" y="174"/>
                      </a:cubicBezTo>
                      <a:close/>
                      <a:moveTo>
                        <a:pt x="48" y="141"/>
                      </a:moveTo>
                      <a:lnTo>
                        <a:pt x="48" y="141"/>
                      </a:lnTo>
                      <a:lnTo>
                        <a:pt x="48" y="142"/>
                      </a:lnTo>
                      <a:lnTo>
                        <a:pt x="48" y="142"/>
                      </a:lnTo>
                      <a:lnTo>
                        <a:pt x="48" y="141"/>
                      </a:lnTo>
                      <a:close/>
                      <a:moveTo>
                        <a:pt x="42" y="99"/>
                      </a:moveTo>
                      <a:lnTo>
                        <a:pt x="42" y="99"/>
                      </a:lnTo>
                      <a:cubicBezTo>
                        <a:pt x="42" y="101"/>
                        <a:pt x="42" y="102"/>
                        <a:pt x="42" y="103"/>
                      </a:cubicBezTo>
                      <a:lnTo>
                        <a:pt x="42" y="103"/>
                      </a:lnTo>
                      <a:cubicBezTo>
                        <a:pt x="42" y="102"/>
                        <a:pt x="42" y="101"/>
                        <a:pt x="42" y="99"/>
                      </a:cubicBezTo>
                      <a:close/>
                      <a:moveTo>
                        <a:pt x="98" y="72"/>
                      </a:moveTo>
                      <a:lnTo>
                        <a:pt x="98" y="72"/>
                      </a:lnTo>
                      <a:cubicBezTo>
                        <a:pt x="99" y="72"/>
                        <a:pt x="99" y="72"/>
                        <a:pt x="99" y="73"/>
                      </a:cubicBezTo>
                      <a:lnTo>
                        <a:pt x="99" y="73"/>
                      </a:lnTo>
                      <a:cubicBezTo>
                        <a:pt x="99" y="72"/>
                        <a:pt x="99" y="72"/>
                        <a:pt x="98" y="72"/>
                      </a:cubicBezTo>
                      <a:close/>
                      <a:moveTo>
                        <a:pt x="44" y="40"/>
                      </a:moveTo>
                      <a:lnTo>
                        <a:pt x="44" y="40"/>
                      </a:lnTo>
                      <a:cubicBezTo>
                        <a:pt x="44" y="41"/>
                        <a:pt x="43" y="42"/>
                        <a:pt x="42" y="42"/>
                      </a:cubicBezTo>
                      <a:lnTo>
                        <a:pt x="42" y="42"/>
                      </a:lnTo>
                      <a:cubicBezTo>
                        <a:pt x="43" y="42"/>
                        <a:pt x="44" y="41"/>
                        <a:pt x="44" y="40"/>
                      </a:cubicBezTo>
                      <a:close/>
                      <a:moveTo>
                        <a:pt x="58" y="36"/>
                      </a:moveTo>
                      <a:lnTo>
                        <a:pt x="58" y="36"/>
                      </a:lnTo>
                      <a:cubicBezTo>
                        <a:pt x="60" y="37"/>
                        <a:pt x="60" y="37"/>
                        <a:pt x="61" y="37"/>
                      </a:cubicBezTo>
                      <a:lnTo>
                        <a:pt x="61" y="37"/>
                      </a:lnTo>
                      <a:cubicBezTo>
                        <a:pt x="64" y="38"/>
                        <a:pt x="66" y="40"/>
                        <a:pt x="68" y="41"/>
                      </a:cubicBezTo>
                      <a:lnTo>
                        <a:pt x="68" y="41"/>
                      </a:lnTo>
                      <a:cubicBezTo>
                        <a:pt x="75" y="45"/>
                        <a:pt x="80" y="49"/>
                        <a:pt x="85" y="54"/>
                      </a:cubicBezTo>
                      <a:lnTo>
                        <a:pt x="85" y="54"/>
                      </a:lnTo>
                      <a:cubicBezTo>
                        <a:pt x="91" y="61"/>
                        <a:pt x="96" y="68"/>
                        <a:pt x="101" y="75"/>
                      </a:cubicBezTo>
                      <a:lnTo>
                        <a:pt x="101" y="75"/>
                      </a:lnTo>
                      <a:cubicBezTo>
                        <a:pt x="103" y="80"/>
                        <a:pt x="105" y="85"/>
                        <a:pt x="108" y="91"/>
                      </a:cubicBezTo>
                      <a:lnTo>
                        <a:pt x="108" y="91"/>
                      </a:lnTo>
                      <a:cubicBezTo>
                        <a:pt x="111" y="97"/>
                        <a:pt x="112" y="103"/>
                        <a:pt x="114" y="111"/>
                      </a:cubicBezTo>
                      <a:lnTo>
                        <a:pt x="114" y="111"/>
                      </a:lnTo>
                      <a:cubicBezTo>
                        <a:pt x="117" y="122"/>
                        <a:pt x="119" y="134"/>
                        <a:pt x="119" y="146"/>
                      </a:cubicBezTo>
                      <a:lnTo>
                        <a:pt x="119" y="146"/>
                      </a:lnTo>
                      <a:cubicBezTo>
                        <a:pt x="119" y="156"/>
                        <a:pt x="117" y="164"/>
                        <a:pt x="115" y="173"/>
                      </a:cubicBezTo>
                      <a:lnTo>
                        <a:pt x="115" y="173"/>
                      </a:lnTo>
                      <a:cubicBezTo>
                        <a:pt x="113" y="177"/>
                        <a:pt x="111" y="182"/>
                        <a:pt x="109" y="186"/>
                      </a:cubicBezTo>
                      <a:lnTo>
                        <a:pt x="109" y="186"/>
                      </a:lnTo>
                      <a:cubicBezTo>
                        <a:pt x="106" y="190"/>
                        <a:pt x="102" y="194"/>
                        <a:pt x="99" y="198"/>
                      </a:cubicBezTo>
                      <a:lnTo>
                        <a:pt x="99" y="198"/>
                      </a:lnTo>
                      <a:cubicBezTo>
                        <a:pt x="97" y="200"/>
                        <a:pt x="95" y="201"/>
                        <a:pt x="93" y="202"/>
                      </a:cubicBezTo>
                      <a:lnTo>
                        <a:pt x="93" y="202"/>
                      </a:lnTo>
                      <a:cubicBezTo>
                        <a:pt x="92" y="203"/>
                        <a:pt x="92" y="203"/>
                        <a:pt x="91" y="203"/>
                      </a:cubicBezTo>
                      <a:lnTo>
                        <a:pt x="91" y="203"/>
                      </a:lnTo>
                      <a:cubicBezTo>
                        <a:pt x="90" y="203"/>
                        <a:pt x="90" y="203"/>
                        <a:pt x="89" y="203"/>
                      </a:cubicBezTo>
                      <a:lnTo>
                        <a:pt x="89" y="203"/>
                      </a:lnTo>
                      <a:cubicBezTo>
                        <a:pt x="85" y="200"/>
                        <a:pt x="81" y="196"/>
                        <a:pt x="78" y="193"/>
                      </a:cubicBezTo>
                      <a:lnTo>
                        <a:pt x="78" y="193"/>
                      </a:lnTo>
                      <a:cubicBezTo>
                        <a:pt x="71" y="186"/>
                        <a:pt x="65" y="178"/>
                        <a:pt x="60" y="170"/>
                      </a:cubicBezTo>
                      <a:lnTo>
                        <a:pt x="60" y="170"/>
                      </a:lnTo>
                      <a:cubicBezTo>
                        <a:pt x="55" y="161"/>
                        <a:pt x="51" y="151"/>
                        <a:pt x="48" y="141"/>
                      </a:cubicBezTo>
                      <a:lnTo>
                        <a:pt x="48" y="141"/>
                      </a:lnTo>
                      <a:cubicBezTo>
                        <a:pt x="45" y="126"/>
                        <a:pt x="43" y="113"/>
                        <a:pt x="42" y="99"/>
                      </a:cubicBezTo>
                      <a:lnTo>
                        <a:pt x="42" y="99"/>
                      </a:lnTo>
                      <a:cubicBezTo>
                        <a:pt x="43" y="89"/>
                        <a:pt x="44" y="79"/>
                        <a:pt x="45" y="69"/>
                      </a:cubicBezTo>
                      <a:lnTo>
                        <a:pt x="45" y="69"/>
                      </a:lnTo>
                      <a:cubicBezTo>
                        <a:pt x="45" y="62"/>
                        <a:pt x="43" y="56"/>
                        <a:pt x="38" y="52"/>
                      </a:cubicBezTo>
                      <a:lnTo>
                        <a:pt x="38" y="52"/>
                      </a:lnTo>
                      <a:cubicBezTo>
                        <a:pt x="38" y="51"/>
                        <a:pt x="39" y="49"/>
                        <a:pt x="39" y="48"/>
                      </a:cubicBezTo>
                      <a:lnTo>
                        <a:pt x="39" y="48"/>
                      </a:lnTo>
                      <a:cubicBezTo>
                        <a:pt x="40" y="46"/>
                        <a:pt x="40" y="46"/>
                        <a:pt x="40" y="45"/>
                      </a:cubicBezTo>
                      <a:lnTo>
                        <a:pt x="40" y="45"/>
                      </a:lnTo>
                      <a:cubicBezTo>
                        <a:pt x="41" y="44"/>
                        <a:pt x="41" y="43"/>
                        <a:pt x="41" y="43"/>
                      </a:cubicBezTo>
                      <a:lnTo>
                        <a:pt x="41" y="43"/>
                      </a:lnTo>
                      <a:cubicBezTo>
                        <a:pt x="42" y="42"/>
                        <a:pt x="44" y="42"/>
                        <a:pt x="45" y="41"/>
                      </a:cubicBezTo>
                      <a:lnTo>
                        <a:pt x="45" y="41"/>
                      </a:lnTo>
                      <a:cubicBezTo>
                        <a:pt x="48" y="40"/>
                        <a:pt x="51" y="38"/>
                        <a:pt x="54" y="38"/>
                      </a:cubicBezTo>
                      <a:lnTo>
                        <a:pt x="54" y="38"/>
                      </a:lnTo>
                      <a:cubicBezTo>
                        <a:pt x="55" y="37"/>
                        <a:pt x="56" y="37"/>
                        <a:pt x="58" y="36"/>
                      </a:cubicBez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7" y="36"/>
                      </a:lnTo>
                      <a:lnTo>
                        <a:pt x="56" y="36"/>
                      </a:ln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5" y="36"/>
                      </a:lnTo>
                      <a:lnTo>
                        <a:pt x="55" y="36"/>
                      </a:lnTo>
                      <a:lnTo>
                        <a:pt x="56" y="36"/>
                      </a:lnTo>
                      <a:close/>
                      <a:moveTo>
                        <a:pt x="36" y="4"/>
                      </a:moveTo>
                      <a:lnTo>
                        <a:pt x="36" y="4"/>
                      </a:lnTo>
                      <a:cubicBezTo>
                        <a:pt x="31" y="6"/>
                        <a:pt x="26" y="9"/>
                        <a:pt x="22" y="11"/>
                      </a:cubicBezTo>
                      <a:lnTo>
                        <a:pt x="22" y="11"/>
                      </a:lnTo>
                      <a:cubicBezTo>
                        <a:pt x="20" y="13"/>
                        <a:pt x="17" y="15"/>
                        <a:pt x="15" y="17"/>
                      </a:cubicBezTo>
                      <a:lnTo>
                        <a:pt x="15" y="17"/>
                      </a:lnTo>
                      <a:cubicBezTo>
                        <a:pt x="12" y="20"/>
                        <a:pt x="10" y="23"/>
                        <a:pt x="7" y="27"/>
                      </a:cubicBezTo>
                      <a:lnTo>
                        <a:pt x="7" y="27"/>
                      </a:lnTo>
                      <a:cubicBezTo>
                        <a:pt x="0" y="43"/>
                        <a:pt x="0" y="61"/>
                        <a:pt x="0" y="78"/>
                      </a:cubicBezTo>
                      <a:lnTo>
                        <a:pt x="0" y="78"/>
                      </a:lnTo>
                      <a:cubicBezTo>
                        <a:pt x="0" y="82"/>
                        <a:pt x="2" y="86"/>
                        <a:pt x="6" y="89"/>
                      </a:cubicBezTo>
                      <a:lnTo>
                        <a:pt x="6" y="89"/>
                      </a:lnTo>
                      <a:cubicBezTo>
                        <a:pt x="5" y="98"/>
                        <a:pt x="5" y="107"/>
                        <a:pt x="6" y="116"/>
                      </a:cubicBezTo>
                      <a:lnTo>
                        <a:pt x="6" y="116"/>
                      </a:lnTo>
                      <a:cubicBezTo>
                        <a:pt x="8" y="136"/>
                        <a:pt x="13" y="157"/>
                        <a:pt x="21" y="176"/>
                      </a:cubicBezTo>
                      <a:lnTo>
                        <a:pt x="21" y="176"/>
                      </a:lnTo>
                      <a:cubicBezTo>
                        <a:pt x="25" y="184"/>
                        <a:pt x="30" y="192"/>
                        <a:pt x="35" y="200"/>
                      </a:cubicBezTo>
                      <a:lnTo>
                        <a:pt x="35" y="200"/>
                      </a:lnTo>
                      <a:cubicBezTo>
                        <a:pt x="40" y="207"/>
                        <a:pt x="46" y="213"/>
                        <a:pt x="52" y="220"/>
                      </a:cubicBezTo>
                      <a:lnTo>
                        <a:pt x="52" y="220"/>
                      </a:lnTo>
                      <a:cubicBezTo>
                        <a:pt x="58" y="226"/>
                        <a:pt x="64" y="232"/>
                        <a:pt x="72" y="236"/>
                      </a:cubicBezTo>
                      <a:lnTo>
                        <a:pt x="72" y="236"/>
                      </a:lnTo>
                      <a:cubicBezTo>
                        <a:pt x="75" y="237"/>
                        <a:pt x="77" y="238"/>
                        <a:pt x="80" y="239"/>
                      </a:cubicBezTo>
                      <a:lnTo>
                        <a:pt x="80" y="239"/>
                      </a:lnTo>
                      <a:cubicBezTo>
                        <a:pt x="82" y="239"/>
                        <a:pt x="83" y="240"/>
                        <a:pt x="85" y="240"/>
                      </a:cubicBezTo>
                      <a:lnTo>
                        <a:pt x="85" y="240"/>
                      </a:lnTo>
                      <a:cubicBezTo>
                        <a:pt x="88" y="240"/>
                        <a:pt x="91" y="241"/>
                        <a:pt x="94" y="241"/>
                      </a:cubicBezTo>
                      <a:lnTo>
                        <a:pt x="94" y="241"/>
                      </a:lnTo>
                      <a:cubicBezTo>
                        <a:pt x="98" y="240"/>
                        <a:pt x="101" y="239"/>
                        <a:pt x="104" y="238"/>
                      </a:cubicBezTo>
                      <a:lnTo>
                        <a:pt x="104" y="238"/>
                      </a:lnTo>
                      <a:cubicBezTo>
                        <a:pt x="107" y="237"/>
                        <a:pt x="110" y="236"/>
                        <a:pt x="113" y="234"/>
                      </a:cubicBezTo>
                      <a:lnTo>
                        <a:pt x="113" y="234"/>
                      </a:lnTo>
                      <a:cubicBezTo>
                        <a:pt x="121" y="228"/>
                        <a:pt x="127" y="222"/>
                        <a:pt x="133" y="215"/>
                      </a:cubicBezTo>
                      <a:lnTo>
                        <a:pt x="133" y="215"/>
                      </a:lnTo>
                      <a:cubicBezTo>
                        <a:pt x="146" y="202"/>
                        <a:pt x="151" y="183"/>
                        <a:pt x="155" y="166"/>
                      </a:cubicBezTo>
                      <a:lnTo>
                        <a:pt x="155" y="166"/>
                      </a:lnTo>
                      <a:cubicBezTo>
                        <a:pt x="157" y="150"/>
                        <a:pt x="156" y="133"/>
                        <a:pt x="153" y="118"/>
                      </a:cubicBezTo>
                      <a:lnTo>
                        <a:pt x="153" y="118"/>
                      </a:lnTo>
                      <a:cubicBezTo>
                        <a:pt x="152" y="110"/>
                        <a:pt x="151" y="102"/>
                        <a:pt x="148" y="94"/>
                      </a:cubicBezTo>
                      <a:lnTo>
                        <a:pt x="148" y="94"/>
                      </a:lnTo>
                      <a:cubicBezTo>
                        <a:pt x="140" y="65"/>
                        <a:pt x="124" y="39"/>
                        <a:pt x="102" y="19"/>
                      </a:cubicBezTo>
                      <a:lnTo>
                        <a:pt x="102" y="19"/>
                      </a:lnTo>
                      <a:cubicBezTo>
                        <a:pt x="95" y="12"/>
                        <a:pt x="86" y="8"/>
                        <a:pt x="78" y="3"/>
                      </a:cubicBezTo>
                      <a:lnTo>
                        <a:pt x="78" y="3"/>
                      </a:lnTo>
                      <a:cubicBezTo>
                        <a:pt x="72" y="1"/>
                        <a:pt x="65" y="0"/>
                        <a:pt x="59" y="0"/>
                      </a:cubicBezTo>
                      <a:lnTo>
                        <a:pt x="59" y="0"/>
                      </a:lnTo>
                      <a:cubicBezTo>
                        <a:pt x="51" y="0"/>
                        <a:pt x="43" y="1"/>
                        <a:pt x="3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373">
                  <a:extLst>
                    <a:ext uri="{FF2B5EF4-FFF2-40B4-BE49-F238E27FC236}">
                      <a16:creationId xmlns:a16="http://schemas.microsoft.com/office/drawing/2014/main" id="{2B04E2FE-B387-EE49-AB01-7E8F95B2E8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94488" y="2646363"/>
                  <a:ext cx="80962" cy="106362"/>
                </a:xfrm>
                <a:custGeom>
                  <a:avLst/>
                  <a:gdLst>
                    <a:gd name="T0" fmla="*/ 190 w 225"/>
                    <a:gd name="T1" fmla="*/ 7 h 294"/>
                    <a:gd name="T2" fmla="*/ 190 w 225"/>
                    <a:gd name="T3" fmla="*/ 7 h 294"/>
                    <a:gd name="T4" fmla="*/ 90 w 225"/>
                    <a:gd name="T5" fmla="*/ 143 h 294"/>
                    <a:gd name="T6" fmla="*/ 90 w 225"/>
                    <a:gd name="T7" fmla="*/ 143 h 294"/>
                    <a:gd name="T8" fmla="*/ 4 w 225"/>
                    <a:gd name="T9" fmla="*/ 262 h 294"/>
                    <a:gd name="T10" fmla="*/ 4 w 225"/>
                    <a:gd name="T11" fmla="*/ 262 h 294"/>
                    <a:gd name="T12" fmla="*/ 1 w 225"/>
                    <a:gd name="T13" fmla="*/ 275 h 294"/>
                    <a:gd name="T14" fmla="*/ 1 w 225"/>
                    <a:gd name="T15" fmla="*/ 275 h 294"/>
                    <a:gd name="T16" fmla="*/ 7 w 225"/>
                    <a:gd name="T17" fmla="*/ 288 h 294"/>
                    <a:gd name="T18" fmla="*/ 7 w 225"/>
                    <a:gd name="T19" fmla="*/ 288 h 294"/>
                    <a:gd name="T20" fmla="*/ 33 w 225"/>
                    <a:gd name="T21" fmla="*/ 285 h 294"/>
                    <a:gd name="T22" fmla="*/ 33 w 225"/>
                    <a:gd name="T23" fmla="*/ 285 h 294"/>
                    <a:gd name="T24" fmla="*/ 119 w 225"/>
                    <a:gd name="T25" fmla="*/ 167 h 294"/>
                    <a:gd name="T26" fmla="*/ 119 w 225"/>
                    <a:gd name="T27" fmla="*/ 167 h 294"/>
                    <a:gd name="T28" fmla="*/ 218 w 225"/>
                    <a:gd name="T29" fmla="*/ 31 h 294"/>
                    <a:gd name="T30" fmla="*/ 218 w 225"/>
                    <a:gd name="T31" fmla="*/ 31 h 294"/>
                    <a:gd name="T32" fmla="*/ 215 w 225"/>
                    <a:gd name="T33" fmla="*/ 4 h 294"/>
                    <a:gd name="T34" fmla="*/ 215 w 225"/>
                    <a:gd name="T35" fmla="*/ 4 h 294"/>
                    <a:gd name="T36" fmla="*/ 204 w 225"/>
                    <a:gd name="T37" fmla="*/ 0 h 294"/>
                    <a:gd name="T38" fmla="*/ 204 w 225"/>
                    <a:gd name="T39" fmla="*/ 0 h 294"/>
                    <a:gd name="T40" fmla="*/ 190 w 225"/>
                    <a:gd name="T41" fmla="*/ 7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5" h="294">
                      <a:moveTo>
                        <a:pt x="190" y="7"/>
                      </a:moveTo>
                      <a:lnTo>
                        <a:pt x="190" y="7"/>
                      </a:lnTo>
                      <a:cubicBezTo>
                        <a:pt x="157" y="53"/>
                        <a:pt x="124" y="98"/>
                        <a:pt x="90" y="143"/>
                      </a:cubicBezTo>
                      <a:lnTo>
                        <a:pt x="90" y="143"/>
                      </a:lnTo>
                      <a:cubicBezTo>
                        <a:pt x="62" y="182"/>
                        <a:pt x="32" y="221"/>
                        <a:pt x="4" y="262"/>
                      </a:cubicBezTo>
                      <a:lnTo>
                        <a:pt x="4" y="262"/>
                      </a:lnTo>
                      <a:cubicBezTo>
                        <a:pt x="2" y="266"/>
                        <a:pt x="0" y="270"/>
                        <a:pt x="1" y="275"/>
                      </a:cubicBezTo>
                      <a:lnTo>
                        <a:pt x="1" y="275"/>
                      </a:lnTo>
                      <a:cubicBezTo>
                        <a:pt x="1" y="280"/>
                        <a:pt x="3" y="285"/>
                        <a:pt x="7" y="288"/>
                      </a:cubicBezTo>
                      <a:lnTo>
                        <a:pt x="7" y="288"/>
                      </a:lnTo>
                      <a:cubicBezTo>
                        <a:pt x="14" y="293"/>
                        <a:pt x="28" y="293"/>
                        <a:pt x="33" y="285"/>
                      </a:cubicBezTo>
                      <a:lnTo>
                        <a:pt x="33" y="285"/>
                      </a:lnTo>
                      <a:cubicBezTo>
                        <a:pt x="61" y="245"/>
                        <a:pt x="90" y="206"/>
                        <a:pt x="119" y="167"/>
                      </a:cubicBezTo>
                      <a:lnTo>
                        <a:pt x="119" y="167"/>
                      </a:lnTo>
                      <a:cubicBezTo>
                        <a:pt x="153" y="121"/>
                        <a:pt x="185" y="76"/>
                        <a:pt x="218" y="31"/>
                      </a:cubicBezTo>
                      <a:lnTo>
                        <a:pt x="218" y="31"/>
                      </a:lnTo>
                      <a:cubicBezTo>
                        <a:pt x="224" y="23"/>
                        <a:pt x="224" y="11"/>
                        <a:pt x="215" y="4"/>
                      </a:cubicBezTo>
                      <a:lnTo>
                        <a:pt x="215" y="4"/>
                      </a:lnTo>
                      <a:cubicBezTo>
                        <a:pt x="213" y="2"/>
                        <a:pt x="208" y="0"/>
                        <a:pt x="204" y="0"/>
                      </a:cubicBezTo>
                      <a:lnTo>
                        <a:pt x="204" y="0"/>
                      </a:lnTo>
                      <a:cubicBezTo>
                        <a:pt x="198" y="0"/>
                        <a:pt x="193" y="3"/>
                        <a:pt x="190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374">
                  <a:extLst>
                    <a:ext uri="{FF2B5EF4-FFF2-40B4-BE49-F238E27FC236}">
                      <a16:creationId xmlns:a16="http://schemas.microsoft.com/office/drawing/2014/main" id="{32B6A05D-66AF-B346-9ED1-C3659DF777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13538" y="2671763"/>
                  <a:ext cx="82550" cy="109537"/>
                </a:xfrm>
                <a:custGeom>
                  <a:avLst/>
                  <a:gdLst>
                    <a:gd name="T0" fmla="*/ 195 w 230"/>
                    <a:gd name="T1" fmla="*/ 7 h 305"/>
                    <a:gd name="T2" fmla="*/ 195 w 230"/>
                    <a:gd name="T3" fmla="*/ 7 h 305"/>
                    <a:gd name="T4" fmla="*/ 137 w 230"/>
                    <a:gd name="T5" fmla="*/ 91 h 305"/>
                    <a:gd name="T6" fmla="*/ 137 w 230"/>
                    <a:gd name="T7" fmla="*/ 91 h 305"/>
                    <a:gd name="T8" fmla="*/ 100 w 230"/>
                    <a:gd name="T9" fmla="*/ 143 h 305"/>
                    <a:gd name="T10" fmla="*/ 100 w 230"/>
                    <a:gd name="T11" fmla="*/ 143 h 305"/>
                    <a:gd name="T12" fmla="*/ 6 w 230"/>
                    <a:gd name="T13" fmla="*/ 272 h 305"/>
                    <a:gd name="T14" fmla="*/ 6 w 230"/>
                    <a:gd name="T15" fmla="*/ 272 h 305"/>
                    <a:gd name="T16" fmla="*/ 9 w 230"/>
                    <a:gd name="T17" fmla="*/ 298 h 305"/>
                    <a:gd name="T18" fmla="*/ 9 w 230"/>
                    <a:gd name="T19" fmla="*/ 298 h 305"/>
                    <a:gd name="T20" fmla="*/ 35 w 230"/>
                    <a:gd name="T21" fmla="*/ 295 h 305"/>
                    <a:gd name="T22" fmla="*/ 35 w 230"/>
                    <a:gd name="T23" fmla="*/ 295 h 305"/>
                    <a:gd name="T24" fmla="*/ 130 w 230"/>
                    <a:gd name="T25" fmla="*/ 166 h 305"/>
                    <a:gd name="T26" fmla="*/ 130 w 230"/>
                    <a:gd name="T27" fmla="*/ 166 h 305"/>
                    <a:gd name="T28" fmla="*/ 224 w 230"/>
                    <a:gd name="T29" fmla="*/ 30 h 305"/>
                    <a:gd name="T30" fmla="*/ 224 w 230"/>
                    <a:gd name="T31" fmla="*/ 30 h 305"/>
                    <a:gd name="T32" fmla="*/ 228 w 230"/>
                    <a:gd name="T33" fmla="*/ 16 h 305"/>
                    <a:gd name="T34" fmla="*/ 228 w 230"/>
                    <a:gd name="T35" fmla="*/ 16 h 305"/>
                    <a:gd name="T36" fmla="*/ 221 w 230"/>
                    <a:gd name="T37" fmla="*/ 5 h 305"/>
                    <a:gd name="T38" fmla="*/ 221 w 230"/>
                    <a:gd name="T39" fmla="*/ 5 h 305"/>
                    <a:gd name="T40" fmla="*/ 209 w 230"/>
                    <a:gd name="T41" fmla="*/ 0 h 305"/>
                    <a:gd name="T42" fmla="*/ 209 w 230"/>
                    <a:gd name="T43" fmla="*/ 0 h 305"/>
                    <a:gd name="T44" fmla="*/ 195 w 230"/>
                    <a:gd name="T45" fmla="*/ 7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0" h="305">
                      <a:moveTo>
                        <a:pt x="195" y="7"/>
                      </a:moveTo>
                      <a:lnTo>
                        <a:pt x="195" y="7"/>
                      </a:lnTo>
                      <a:cubicBezTo>
                        <a:pt x="176" y="35"/>
                        <a:pt x="156" y="63"/>
                        <a:pt x="137" y="91"/>
                      </a:cubicBezTo>
                      <a:lnTo>
                        <a:pt x="137" y="91"/>
                      </a:lnTo>
                      <a:cubicBezTo>
                        <a:pt x="125" y="108"/>
                        <a:pt x="113" y="126"/>
                        <a:pt x="100" y="143"/>
                      </a:cubicBezTo>
                      <a:lnTo>
                        <a:pt x="100" y="143"/>
                      </a:lnTo>
                      <a:cubicBezTo>
                        <a:pt x="69" y="186"/>
                        <a:pt x="38" y="229"/>
                        <a:pt x="6" y="272"/>
                      </a:cubicBezTo>
                      <a:lnTo>
                        <a:pt x="6" y="272"/>
                      </a:lnTo>
                      <a:cubicBezTo>
                        <a:pt x="0" y="279"/>
                        <a:pt x="1" y="291"/>
                        <a:pt x="9" y="298"/>
                      </a:cubicBezTo>
                      <a:lnTo>
                        <a:pt x="9" y="298"/>
                      </a:lnTo>
                      <a:cubicBezTo>
                        <a:pt x="17" y="304"/>
                        <a:pt x="29" y="303"/>
                        <a:pt x="35" y="295"/>
                      </a:cubicBezTo>
                      <a:lnTo>
                        <a:pt x="35" y="295"/>
                      </a:lnTo>
                      <a:cubicBezTo>
                        <a:pt x="67" y="252"/>
                        <a:pt x="98" y="209"/>
                        <a:pt x="130" y="166"/>
                      </a:cubicBezTo>
                      <a:lnTo>
                        <a:pt x="130" y="166"/>
                      </a:lnTo>
                      <a:cubicBezTo>
                        <a:pt x="162" y="121"/>
                        <a:pt x="193" y="76"/>
                        <a:pt x="224" y="30"/>
                      </a:cubicBezTo>
                      <a:lnTo>
                        <a:pt x="224" y="30"/>
                      </a:lnTo>
                      <a:cubicBezTo>
                        <a:pt x="227" y="26"/>
                        <a:pt x="229" y="22"/>
                        <a:pt x="228" y="16"/>
                      </a:cubicBezTo>
                      <a:lnTo>
                        <a:pt x="228" y="16"/>
                      </a:lnTo>
                      <a:cubicBezTo>
                        <a:pt x="228" y="12"/>
                        <a:pt x="225" y="7"/>
                        <a:pt x="221" y="5"/>
                      </a:cubicBezTo>
                      <a:lnTo>
                        <a:pt x="221" y="5"/>
                      </a:lnTo>
                      <a:cubicBezTo>
                        <a:pt x="218" y="2"/>
                        <a:pt x="214" y="0"/>
                        <a:pt x="209" y="0"/>
                      </a:cubicBezTo>
                      <a:lnTo>
                        <a:pt x="209" y="0"/>
                      </a:lnTo>
                      <a:cubicBezTo>
                        <a:pt x="204" y="0"/>
                        <a:pt x="198" y="2"/>
                        <a:pt x="19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375">
                  <a:extLst>
                    <a:ext uri="{FF2B5EF4-FFF2-40B4-BE49-F238E27FC236}">
                      <a16:creationId xmlns:a16="http://schemas.microsoft.com/office/drawing/2014/main" id="{A0E0180F-13B2-1F49-944B-F1A16F4013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35763" y="2695575"/>
                  <a:ext cx="63500" cy="127000"/>
                </a:xfrm>
                <a:custGeom>
                  <a:avLst/>
                  <a:gdLst>
                    <a:gd name="T0" fmla="*/ 27 w 176"/>
                    <a:gd name="T1" fmla="*/ 286 h 354"/>
                    <a:gd name="T2" fmla="*/ 27 w 176"/>
                    <a:gd name="T3" fmla="*/ 286 h 354"/>
                    <a:gd name="T4" fmla="*/ 28 w 176"/>
                    <a:gd name="T5" fmla="*/ 284 h 354"/>
                    <a:gd name="T6" fmla="*/ 28 w 176"/>
                    <a:gd name="T7" fmla="*/ 284 h 354"/>
                    <a:gd name="T8" fmla="*/ 28 w 176"/>
                    <a:gd name="T9" fmla="*/ 284 h 354"/>
                    <a:gd name="T10" fmla="*/ 28 w 176"/>
                    <a:gd name="T11" fmla="*/ 284 h 354"/>
                    <a:gd name="T12" fmla="*/ 27 w 176"/>
                    <a:gd name="T13" fmla="*/ 286 h 354"/>
                    <a:gd name="T14" fmla="*/ 137 w 176"/>
                    <a:gd name="T15" fmla="*/ 16 h 354"/>
                    <a:gd name="T16" fmla="*/ 137 w 176"/>
                    <a:gd name="T17" fmla="*/ 16 h 354"/>
                    <a:gd name="T18" fmla="*/ 126 w 176"/>
                    <a:gd name="T19" fmla="*/ 62 h 354"/>
                    <a:gd name="T20" fmla="*/ 126 w 176"/>
                    <a:gd name="T21" fmla="*/ 62 h 354"/>
                    <a:gd name="T22" fmla="*/ 114 w 176"/>
                    <a:gd name="T23" fmla="*/ 107 h 354"/>
                    <a:gd name="T24" fmla="*/ 114 w 176"/>
                    <a:gd name="T25" fmla="*/ 107 h 354"/>
                    <a:gd name="T26" fmla="*/ 114 w 176"/>
                    <a:gd name="T27" fmla="*/ 107 h 354"/>
                    <a:gd name="T28" fmla="*/ 114 w 176"/>
                    <a:gd name="T29" fmla="*/ 107 h 354"/>
                    <a:gd name="T30" fmla="*/ 92 w 176"/>
                    <a:gd name="T31" fmla="*/ 166 h 354"/>
                    <a:gd name="T32" fmla="*/ 92 w 176"/>
                    <a:gd name="T33" fmla="*/ 166 h 354"/>
                    <a:gd name="T34" fmla="*/ 61 w 176"/>
                    <a:gd name="T35" fmla="*/ 229 h 354"/>
                    <a:gd name="T36" fmla="*/ 61 w 176"/>
                    <a:gd name="T37" fmla="*/ 229 h 354"/>
                    <a:gd name="T38" fmla="*/ 28 w 176"/>
                    <a:gd name="T39" fmla="*/ 284 h 354"/>
                    <a:gd name="T40" fmla="*/ 28 w 176"/>
                    <a:gd name="T41" fmla="*/ 284 h 354"/>
                    <a:gd name="T42" fmla="*/ 28 w 176"/>
                    <a:gd name="T43" fmla="*/ 284 h 354"/>
                    <a:gd name="T44" fmla="*/ 28 w 176"/>
                    <a:gd name="T45" fmla="*/ 284 h 354"/>
                    <a:gd name="T46" fmla="*/ 28 w 176"/>
                    <a:gd name="T47" fmla="*/ 284 h 354"/>
                    <a:gd name="T48" fmla="*/ 28 w 176"/>
                    <a:gd name="T49" fmla="*/ 284 h 354"/>
                    <a:gd name="T50" fmla="*/ 26 w 176"/>
                    <a:gd name="T51" fmla="*/ 288 h 354"/>
                    <a:gd name="T52" fmla="*/ 26 w 176"/>
                    <a:gd name="T53" fmla="*/ 288 h 354"/>
                    <a:gd name="T54" fmla="*/ 27 w 176"/>
                    <a:gd name="T55" fmla="*/ 286 h 354"/>
                    <a:gd name="T56" fmla="*/ 27 w 176"/>
                    <a:gd name="T57" fmla="*/ 286 h 354"/>
                    <a:gd name="T58" fmla="*/ 4 w 176"/>
                    <a:gd name="T59" fmla="*/ 321 h 354"/>
                    <a:gd name="T60" fmla="*/ 4 w 176"/>
                    <a:gd name="T61" fmla="*/ 321 h 354"/>
                    <a:gd name="T62" fmla="*/ 0 w 176"/>
                    <a:gd name="T63" fmla="*/ 334 h 354"/>
                    <a:gd name="T64" fmla="*/ 0 w 176"/>
                    <a:gd name="T65" fmla="*/ 334 h 354"/>
                    <a:gd name="T66" fmla="*/ 8 w 176"/>
                    <a:gd name="T67" fmla="*/ 347 h 354"/>
                    <a:gd name="T68" fmla="*/ 8 w 176"/>
                    <a:gd name="T69" fmla="*/ 347 h 354"/>
                    <a:gd name="T70" fmla="*/ 33 w 176"/>
                    <a:gd name="T71" fmla="*/ 344 h 354"/>
                    <a:gd name="T72" fmla="*/ 33 w 176"/>
                    <a:gd name="T73" fmla="*/ 344 h 354"/>
                    <a:gd name="T74" fmla="*/ 95 w 176"/>
                    <a:gd name="T75" fmla="*/ 243 h 354"/>
                    <a:gd name="T76" fmla="*/ 95 w 176"/>
                    <a:gd name="T77" fmla="*/ 243 h 354"/>
                    <a:gd name="T78" fmla="*/ 120 w 176"/>
                    <a:gd name="T79" fmla="*/ 195 h 354"/>
                    <a:gd name="T80" fmla="*/ 120 w 176"/>
                    <a:gd name="T81" fmla="*/ 195 h 354"/>
                    <a:gd name="T82" fmla="*/ 144 w 176"/>
                    <a:gd name="T83" fmla="*/ 137 h 354"/>
                    <a:gd name="T84" fmla="*/ 144 w 176"/>
                    <a:gd name="T85" fmla="*/ 137 h 354"/>
                    <a:gd name="T86" fmla="*/ 173 w 176"/>
                    <a:gd name="T87" fmla="*/ 22 h 354"/>
                    <a:gd name="T88" fmla="*/ 173 w 176"/>
                    <a:gd name="T89" fmla="*/ 22 h 354"/>
                    <a:gd name="T90" fmla="*/ 158 w 176"/>
                    <a:gd name="T91" fmla="*/ 1 h 354"/>
                    <a:gd name="T92" fmla="*/ 158 w 176"/>
                    <a:gd name="T93" fmla="*/ 1 h 354"/>
                    <a:gd name="T94" fmla="*/ 155 w 176"/>
                    <a:gd name="T95" fmla="*/ 0 h 354"/>
                    <a:gd name="T96" fmla="*/ 155 w 176"/>
                    <a:gd name="T97" fmla="*/ 0 h 354"/>
                    <a:gd name="T98" fmla="*/ 137 w 176"/>
                    <a:gd name="T99" fmla="*/ 16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76" h="354">
                      <a:moveTo>
                        <a:pt x="27" y="286"/>
                      </a:moveTo>
                      <a:lnTo>
                        <a:pt x="27" y="286"/>
                      </a:lnTo>
                      <a:cubicBezTo>
                        <a:pt x="28" y="286"/>
                        <a:pt x="28" y="285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5"/>
                        <a:pt x="28" y="286"/>
                        <a:pt x="27" y="286"/>
                      </a:cubicBezTo>
                      <a:close/>
                      <a:moveTo>
                        <a:pt x="137" y="16"/>
                      </a:moveTo>
                      <a:lnTo>
                        <a:pt x="137" y="16"/>
                      </a:lnTo>
                      <a:cubicBezTo>
                        <a:pt x="133" y="31"/>
                        <a:pt x="130" y="47"/>
                        <a:pt x="126" y="62"/>
                      </a:cubicBezTo>
                      <a:lnTo>
                        <a:pt x="126" y="62"/>
                      </a:lnTo>
                      <a:cubicBezTo>
                        <a:pt x="122" y="77"/>
                        <a:pt x="119" y="92"/>
                        <a:pt x="114" y="107"/>
                      </a:cubicBezTo>
                      <a:lnTo>
                        <a:pt x="114" y="107"/>
                      </a:lnTo>
                      <a:lnTo>
                        <a:pt x="114" y="107"/>
                      </a:lnTo>
                      <a:lnTo>
                        <a:pt x="114" y="107"/>
                      </a:lnTo>
                      <a:cubicBezTo>
                        <a:pt x="108" y="127"/>
                        <a:pt x="101" y="147"/>
                        <a:pt x="92" y="166"/>
                      </a:cubicBezTo>
                      <a:lnTo>
                        <a:pt x="92" y="166"/>
                      </a:lnTo>
                      <a:cubicBezTo>
                        <a:pt x="83" y="188"/>
                        <a:pt x="72" y="208"/>
                        <a:pt x="61" y="229"/>
                      </a:cubicBezTo>
                      <a:lnTo>
                        <a:pt x="61" y="229"/>
                      </a:lnTo>
                      <a:cubicBezTo>
                        <a:pt x="50" y="248"/>
                        <a:pt x="39" y="266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6"/>
                        <a:pt x="26" y="287"/>
                        <a:pt x="26" y="288"/>
                      </a:cubicBezTo>
                      <a:lnTo>
                        <a:pt x="26" y="288"/>
                      </a:lnTo>
                      <a:cubicBezTo>
                        <a:pt x="26" y="288"/>
                        <a:pt x="26" y="287"/>
                        <a:pt x="27" y="286"/>
                      </a:cubicBezTo>
                      <a:lnTo>
                        <a:pt x="27" y="286"/>
                      </a:lnTo>
                      <a:cubicBezTo>
                        <a:pt x="20" y="297"/>
                        <a:pt x="12" y="309"/>
                        <a:pt x="4" y="321"/>
                      </a:cubicBezTo>
                      <a:lnTo>
                        <a:pt x="4" y="321"/>
                      </a:lnTo>
                      <a:cubicBezTo>
                        <a:pt x="1" y="325"/>
                        <a:pt x="0" y="329"/>
                        <a:pt x="0" y="334"/>
                      </a:cubicBezTo>
                      <a:lnTo>
                        <a:pt x="0" y="334"/>
                      </a:lnTo>
                      <a:cubicBezTo>
                        <a:pt x="1" y="340"/>
                        <a:pt x="3" y="344"/>
                        <a:pt x="8" y="347"/>
                      </a:cubicBezTo>
                      <a:lnTo>
                        <a:pt x="8" y="347"/>
                      </a:lnTo>
                      <a:cubicBezTo>
                        <a:pt x="14" y="353"/>
                        <a:pt x="28" y="352"/>
                        <a:pt x="33" y="344"/>
                      </a:cubicBezTo>
                      <a:lnTo>
                        <a:pt x="33" y="344"/>
                      </a:lnTo>
                      <a:cubicBezTo>
                        <a:pt x="55" y="311"/>
                        <a:pt x="76" y="278"/>
                        <a:pt x="95" y="243"/>
                      </a:cubicBezTo>
                      <a:lnTo>
                        <a:pt x="95" y="243"/>
                      </a:lnTo>
                      <a:cubicBezTo>
                        <a:pt x="104" y="228"/>
                        <a:pt x="112" y="211"/>
                        <a:pt x="120" y="195"/>
                      </a:cubicBezTo>
                      <a:lnTo>
                        <a:pt x="120" y="195"/>
                      </a:lnTo>
                      <a:cubicBezTo>
                        <a:pt x="129" y="176"/>
                        <a:pt x="137" y="156"/>
                        <a:pt x="144" y="137"/>
                      </a:cubicBezTo>
                      <a:lnTo>
                        <a:pt x="144" y="137"/>
                      </a:lnTo>
                      <a:cubicBezTo>
                        <a:pt x="156" y="99"/>
                        <a:pt x="165" y="61"/>
                        <a:pt x="173" y="22"/>
                      </a:cubicBezTo>
                      <a:lnTo>
                        <a:pt x="173" y="22"/>
                      </a:lnTo>
                      <a:cubicBezTo>
                        <a:pt x="175" y="12"/>
                        <a:pt x="167" y="2"/>
                        <a:pt x="158" y="1"/>
                      </a:cubicBezTo>
                      <a:lnTo>
                        <a:pt x="158" y="1"/>
                      </a:lnTo>
                      <a:cubicBezTo>
                        <a:pt x="157" y="0"/>
                        <a:pt x="156" y="0"/>
                        <a:pt x="155" y="0"/>
                      </a:cubicBezTo>
                      <a:lnTo>
                        <a:pt x="155" y="0"/>
                      </a:lnTo>
                      <a:cubicBezTo>
                        <a:pt x="145" y="0"/>
                        <a:pt x="139" y="7"/>
                        <a:pt x="137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376">
                  <a:extLst>
                    <a:ext uri="{FF2B5EF4-FFF2-40B4-BE49-F238E27FC236}">
                      <a16:creationId xmlns:a16="http://schemas.microsoft.com/office/drawing/2014/main" id="{BEAC3F8E-BD87-D242-9386-2DDF86CC7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5288" y="2733675"/>
                  <a:ext cx="73025" cy="142875"/>
                </a:xfrm>
                <a:custGeom>
                  <a:avLst/>
                  <a:gdLst>
                    <a:gd name="T0" fmla="*/ 165 w 203"/>
                    <a:gd name="T1" fmla="*/ 11 h 395"/>
                    <a:gd name="T2" fmla="*/ 165 w 203"/>
                    <a:gd name="T3" fmla="*/ 11 h 395"/>
                    <a:gd name="T4" fmla="*/ 139 w 203"/>
                    <a:gd name="T5" fmla="*/ 80 h 395"/>
                    <a:gd name="T6" fmla="*/ 139 w 203"/>
                    <a:gd name="T7" fmla="*/ 80 h 395"/>
                    <a:gd name="T8" fmla="*/ 119 w 203"/>
                    <a:gd name="T9" fmla="*/ 126 h 395"/>
                    <a:gd name="T10" fmla="*/ 119 w 203"/>
                    <a:gd name="T11" fmla="*/ 126 h 395"/>
                    <a:gd name="T12" fmla="*/ 98 w 203"/>
                    <a:gd name="T13" fmla="*/ 177 h 395"/>
                    <a:gd name="T14" fmla="*/ 98 w 203"/>
                    <a:gd name="T15" fmla="*/ 177 h 395"/>
                    <a:gd name="T16" fmla="*/ 90 w 203"/>
                    <a:gd name="T17" fmla="*/ 196 h 395"/>
                    <a:gd name="T18" fmla="*/ 90 w 203"/>
                    <a:gd name="T19" fmla="*/ 196 h 395"/>
                    <a:gd name="T20" fmla="*/ 2 w 203"/>
                    <a:gd name="T21" fmla="*/ 367 h 395"/>
                    <a:gd name="T22" fmla="*/ 2 w 203"/>
                    <a:gd name="T23" fmla="*/ 367 h 395"/>
                    <a:gd name="T24" fmla="*/ 2 w 203"/>
                    <a:gd name="T25" fmla="*/ 381 h 395"/>
                    <a:gd name="T26" fmla="*/ 2 w 203"/>
                    <a:gd name="T27" fmla="*/ 381 h 395"/>
                    <a:gd name="T28" fmla="*/ 11 w 203"/>
                    <a:gd name="T29" fmla="*/ 391 h 395"/>
                    <a:gd name="T30" fmla="*/ 11 w 203"/>
                    <a:gd name="T31" fmla="*/ 391 h 395"/>
                    <a:gd name="T32" fmla="*/ 26 w 203"/>
                    <a:gd name="T33" fmla="*/ 392 h 395"/>
                    <a:gd name="T34" fmla="*/ 26 w 203"/>
                    <a:gd name="T35" fmla="*/ 392 h 395"/>
                    <a:gd name="T36" fmla="*/ 36 w 203"/>
                    <a:gd name="T37" fmla="*/ 382 h 395"/>
                    <a:gd name="T38" fmla="*/ 36 w 203"/>
                    <a:gd name="T39" fmla="*/ 382 h 395"/>
                    <a:gd name="T40" fmla="*/ 123 w 203"/>
                    <a:gd name="T41" fmla="*/ 214 h 395"/>
                    <a:gd name="T42" fmla="*/ 123 w 203"/>
                    <a:gd name="T43" fmla="*/ 214 h 395"/>
                    <a:gd name="T44" fmla="*/ 152 w 203"/>
                    <a:gd name="T45" fmla="*/ 145 h 395"/>
                    <a:gd name="T46" fmla="*/ 152 w 203"/>
                    <a:gd name="T47" fmla="*/ 145 h 395"/>
                    <a:gd name="T48" fmla="*/ 172 w 203"/>
                    <a:gd name="T49" fmla="*/ 96 h 395"/>
                    <a:gd name="T50" fmla="*/ 172 w 203"/>
                    <a:gd name="T51" fmla="*/ 96 h 395"/>
                    <a:gd name="T52" fmla="*/ 199 w 203"/>
                    <a:gd name="T53" fmla="*/ 26 h 395"/>
                    <a:gd name="T54" fmla="*/ 199 w 203"/>
                    <a:gd name="T55" fmla="*/ 26 h 395"/>
                    <a:gd name="T56" fmla="*/ 189 w 203"/>
                    <a:gd name="T57" fmla="*/ 1 h 395"/>
                    <a:gd name="T58" fmla="*/ 189 w 203"/>
                    <a:gd name="T59" fmla="*/ 1 h 395"/>
                    <a:gd name="T60" fmla="*/ 182 w 203"/>
                    <a:gd name="T61" fmla="*/ 0 h 395"/>
                    <a:gd name="T62" fmla="*/ 182 w 203"/>
                    <a:gd name="T63" fmla="*/ 0 h 395"/>
                    <a:gd name="T64" fmla="*/ 165 w 203"/>
                    <a:gd name="T65" fmla="*/ 11 h 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3" h="395">
                      <a:moveTo>
                        <a:pt x="165" y="11"/>
                      </a:moveTo>
                      <a:lnTo>
                        <a:pt x="165" y="11"/>
                      </a:lnTo>
                      <a:cubicBezTo>
                        <a:pt x="156" y="34"/>
                        <a:pt x="148" y="57"/>
                        <a:pt x="139" y="80"/>
                      </a:cubicBezTo>
                      <a:lnTo>
                        <a:pt x="139" y="80"/>
                      </a:lnTo>
                      <a:cubicBezTo>
                        <a:pt x="132" y="95"/>
                        <a:pt x="126" y="111"/>
                        <a:pt x="119" y="126"/>
                      </a:cubicBezTo>
                      <a:lnTo>
                        <a:pt x="119" y="126"/>
                      </a:lnTo>
                      <a:cubicBezTo>
                        <a:pt x="113" y="143"/>
                        <a:pt x="106" y="160"/>
                        <a:pt x="98" y="177"/>
                      </a:cubicBezTo>
                      <a:lnTo>
                        <a:pt x="98" y="177"/>
                      </a:lnTo>
                      <a:cubicBezTo>
                        <a:pt x="96" y="184"/>
                        <a:pt x="93" y="190"/>
                        <a:pt x="90" y="196"/>
                      </a:cubicBezTo>
                      <a:lnTo>
                        <a:pt x="90" y="196"/>
                      </a:lnTo>
                      <a:cubicBezTo>
                        <a:pt x="61" y="254"/>
                        <a:pt x="34" y="311"/>
                        <a:pt x="2" y="367"/>
                      </a:cubicBezTo>
                      <a:lnTo>
                        <a:pt x="2" y="367"/>
                      </a:lnTo>
                      <a:cubicBezTo>
                        <a:pt x="0" y="371"/>
                        <a:pt x="0" y="377"/>
                        <a:pt x="2" y="381"/>
                      </a:cubicBezTo>
                      <a:lnTo>
                        <a:pt x="2" y="381"/>
                      </a:lnTo>
                      <a:cubicBezTo>
                        <a:pt x="4" y="386"/>
                        <a:pt x="7" y="389"/>
                        <a:pt x="11" y="391"/>
                      </a:cubicBezTo>
                      <a:lnTo>
                        <a:pt x="11" y="391"/>
                      </a:lnTo>
                      <a:cubicBezTo>
                        <a:pt x="16" y="394"/>
                        <a:pt x="21" y="394"/>
                        <a:pt x="26" y="392"/>
                      </a:cubicBezTo>
                      <a:lnTo>
                        <a:pt x="26" y="392"/>
                      </a:lnTo>
                      <a:cubicBezTo>
                        <a:pt x="31" y="390"/>
                        <a:pt x="34" y="387"/>
                        <a:pt x="36" y="382"/>
                      </a:cubicBezTo>
                      <a:lnTo>
                        <a:pt x="36" y="382"/>
                      </a:lnTo>
                      <a:cubicBezTo>
                        <a:pt x="68" y="328"/>
                        <a:pt x="95" y="270"/>
                        <a:pt x="123" y="214"/>
                      </a:cubicBezTo>
                      <a:lnTo>
                        <a:pt x="123" y="214"/>
                      </a:lnTo>
                      <a:cubicBezTo>
                        <a:pt x="134" y="192"/>
                        <a:pt x="143" y="167"/>
                        <a:pt x="152" y="145"/>
                      </a:cubicBezTo>
                      <a:lnTo>
                        <a:pt x="152" y="145"/>
                      </a:lnTo>
                      <a:cubicBezTo>
                        <a:pt x="159" y="129"/>
                        <a:pt x="165" y="112"/>
                        <a:pt x="172" y="96"/>
                      </a:cubicBezTo>
                      <a:lnTo>
                        <a:pt x="172" y="96"/>
                      </a:lnTo>
                      <a:cubicBezTo>
                        <a:pt x="182" y="73"/>
                        <a:pt x="190" y="49"/>
                        <a:pt x="199" y="26"/>
                      </a:cubicBezTo>
                      <a:lnTo>
                        <a:pt x="199" y="26"/>
                      </a:lnTo>
                      <a:cubicBezTo>
                        <a:pt x="202" y="16"/>
                        <a:pt x="199" y="5"/>
                        <a:pt x="189" y="1"/>
                      </a:cubicBezTo>
                      <a:lnTo>
                        <a:pt x="189" y="1"/>
                      </a:lnTo>
                      <a:cubicBezTo>
                        <a:pt x="187" y="0"/>
                        <a:pt x="185" y="0"/>
                        <a:pt x="182" y="0"/>
                      </a:cubicBezTo>
                      <a:lnTo>
                        <a:pt x="182" y="0"/>
                      </a:lnTo>
                      <a:cubicBezTo>
                        <a:pt x="175" y="0"/>
                        <a:pt x="168" y="4"/>
                        <a:pt x="165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377">
                  <a:extLst>
                    <a:ext uri="{FF2B5EF4-FFF2-40B4-BE49-F238E27FC236}">
                      <a16:creationId xmlns:a16="http://schemas.microsoft.com/office/drawing/2014/main" id="{C3632F9F-C2C4-0841-8959-BECECDF931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2786063"/>
                  <a:ext cx="77787" cy="139700"/>
                </a:xfrm>
                <a:custGeom>
                  <a:avLst/>
                  <a:gdLst>
                    <a:gd name="T0" fmla="*/ 17 w 216"/>
                    <a:gd name="T1" fmla="*/ 336 h 388"/>
                    <a:gd name="T2" fmla="*/ 17 w 216"/>
                    <a:gd name="T3" fmla="*/ 336 h 388"/>
                    <a:gd name="T4" fmla="*/ 16 w 216"/>
                    <a:gd name="T5" fmla="*/ 337 h 388"/>
                    <a:gd name="T6" fmla="*/ 16 w 216"/>
                    <a:gd name="T7" fmla="*/ 337 h 388"/>
                    <a:gd name="T8" fmla="*/ 17 w 216"/>
                    <a:gd name="T9" fmla="*/ 336 h 388"/>
                    <a:gd name="T10" fmla="*/ 177 w 216"/>
                    <a:gd name="T11" fmla="*/ 10 h 388"/>
                    <a:gd name="T12" fmla="*/ 177 w 216"/>
                    <a:gd name="T13" fmla="*/ 10 h 388"/>
                    <a:gd name="T14" fmla="*/ 152 w 216"/>
                    <a:gd name="T15" fmla="*/ 73 h 388"/>
                    <a:gd name="T16" fmla="*/ 152 w 216"/>
                    <a:gd name="T17" fmla="*/ 73 h 388"/>
                    <a:gd name="T18" fmla="*/ 131 w 216"/>
                    <a:gd name="T19" fmla="*/ 119 h 388"/>
                    <a:gd name="T20" fmla="*/ 131 w 216"/>
                    <a:gd name="T21" fmla="*/ 119 h 388"/>
                    <a:gd name="T22" fmla="*/ 108 w 216"/>
                    <a:gd name="T23" fmla="*/ 170 h 388"/>
                    <a:gd name="T24" fmla="*/ 108 w 216"/>
                    <a:gd name="T25" fmla="*/ 170 h 388"/>
                    <a:gd name="T26" fmla="*/ 100 w 216"/>
                    <a:gd name="T27" fmla="*/ 189 h 388"/>
                    <a:gd name="T28" fmla="*/ 100 w 216"/>
                    <a:gd name="T29" fmla="*/ 189 h 388"/>
                    <a:gd name="T30" fmla="*/ 58 w 216"/>
                    <a:gd name="T31" fmla="*/ 266 h 388"/>
                    <a:gd name="T32" fmla="*/ 58 w 216"/>
                    <a:gd name="T33" fmla="*/ 266 h 388"/>
                    <a:gd name="T34" fmla="*/ 16 w 216"/>
                    <a:gd name="T35" fmla="*/ 337 h 388"/>
                    <a:gd name="T36" fmla="*/ 16 w 216"/>
                    <a:gd name="T37" fmla="*/ 337 h 388"/>
                    <a:gd name="T38" fmla="*/ 5 w 216"/>
                    <a:gd name="T39" fmla="*/ 356 h 388"/>
                    <a:gd name="T40" fmla="*/ 5 w 216"/>
                    <a:gd name="T41" fmla="*/ 356 h 388"/>
                    <a:gd name="T42" fmla="*/ 0 w 216"/>
                    <a:gd name="T43" fmla="*/ 370 h 388"/>
                    <a:gd name="T44" fmla="*/ 0 w 216"/>
                    <a:gd name="T45" fmla="*/ 370 h 388"/>
                    <a:gd name="T46" fmla="*/ 7 w 216"/>
                    <a:gd name="T47" fmla="*/ 382 h 388"/>
                    <a:gd name="T48" fmla="*/ 7 w 216"/>
                    <a:gd name="T49" fmla="*/ 382 h 388"/>
                    <a:gd name="T50" fmla="*/ 22 w 216"/>
                    <a:gd name="T51" fmla="*/ 386 h 388"/>
                    <a:gd name="T52" fmla="*/ 22 w 216"/>
                    <a:gd name="T53" fmla="*/ 386 h 388"/>
                    <a:gd name="T54" fmla="*/ 33 w 216"/>
                    <a:gd name="T55" fmla="*/ 379 h 388"/>
                    <a:gd name="T56" fmla="*/ 33 w 216"/>
                    <a:gd name="T57" fmla="*/ 379 h 388"/>
                    <a:gd name="T58" fmla="*/ 130 w 216"/>
                    <a:gd name="T59" fmla="*/ 211 h 388"/>
                    <a:gd name="T60" fmla="*/ 130 w 216"/>
                    <a:gd name="T61" fmla="*/ 211 h 388"/>
                    <a:gd name="T62" fmla="*/ 140 w 216"/>
                    <a:gd name="T63" fmla="*/ 191 h 388"/>
                    <a:gd name="T64" fmla="*/ 140 w 216"/>
                    <a:gd name="T65" fmla="*/ 191 h 388"/>
                    <a:gd name="T66" fmla="*/ 162 w 216"/>
                    <a:gd name="T67" fmla="*/ 141 h 388"/>
                    <a:gd name="T68" fmla="*/ 162 w 216"/>
                    <a:gd name="T69" fmla="*/ 141 h 388"/>
                    <a:gd name="T70" fmla="*/ 184 w 216"/>
                    <a:gd name="T71" fmla="*/ 92 h 388"/>
                    <a:gd name="T72" fmla="*/ 184 w 216"/>
                    <a:gd name="T73" fmla="*/ 92 h 388"/>
                    <a:gd name="T74" fmla="*/ 211 w 216"/>
                    <a:gd name="T75" fmla="*/ 25 h 388"/>
                    <a:gd name="T76" fmla="*/ 211 w 216"/>
                    <a:gd name="T77" fmla="*/ 25 h 388"/>
                    <a:gd name="T78" fmla="*/ 202 w 216"/>
                    <a:gd name="T79" fmla="*/ 1 h 388"/>
                    <a:gd name="T80" fmla="*/ 202 w 216"/>
                    <a:gd name="T81" fmla="*/ 1 h 388"/>
                    <a:gd name="T82" fmla="*/ 195 w 216"/>
                    <a:gd name="T83" fmla="*/ 0 h 388"/>
                    <a:gd name="T84" fmla="*/ 195 w 216"/>
                    <a:gd name="T85" fmla="*/ 0 h 388"/>
                    <a:gd name="T86" fmla="*/ 177 w 216"/>
                    <a:gd name="T87" fmla="*/ 10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6" h="388">
                      <a:moveTo>
                        <a:pt x="17" y="336"/>
                      </a:moveTo>
                      <a:lnTo>
                        <a:pt x="17" y="336"/>
                      </a:lnTo>
                      <a:cubicBezTo>
                        <a:pt x="17" y="337"/>
                        <a:pt x="17" y="337"/>
                        <a:pt x="16" y="337"/>
                      </a:cubicBezTo>
                      <a:lnTo>
                        <a:pt x="16" y="337"/>
                      </a:lnTo>
                      <a:cubicBezTo>
                        <a:pt x="17" y="337"/>
                        <a:pt x="17" y="337"/>
                        <a:pt x="17" y="336"/>
                      </a:cubicBezTo>
                      <a:close/>
                      <a:moveTo>
                        <a:pt x="177" y="10"/>
                      </a:moveTo>
                      <a:lnTo>
                        <a:pt x="177" y="10"/>
                      </a:lnTo>
                      <a:cubicBezTo>
                        <a:pt x="169" y="31"/>
                        <a:pt x="161" y="52"/>
                        <a:pt x="152" y="73"/>
                      </a:cubicBezTo>
                      <a:lnTo>
                        <a:pt x="152" y="73"/>
                      </a:lnTo>
                      <a:cubicBezTo>
                        <a:pt x="146" y="88"/>
                        <a:pt x="138" y="103"/>
                        <a:pt x="131" y="119"/>
                      </a:cubicBezTo>
                      <a:lnTo>
                        <a:pt x="131" y="119"/>
                      </a:lnTo>
                      <a:cubicBezTo>
                        <a:pt x="124" y="136"/>
                        <a:pt x="116" y="153"/>
                        <a:pt x="108" y="170"/>
                      </a:cubicBezTo>
                      <a:lnTo>
                        <a:pt x="108" y="170"/>
                      </a:lnTo>
                      <a:cubicBezTo>
                        <a:pt x="106" y="176"/>
                        <a:pt x="103" y="182"/>
                        <a:pt x="100" y="189"/>
                      </a:cubicBezTo>
                      <a:lnTo>
                        <a:pt x="100" y="189"/>
                      </a:lnTo>
                      <a:cubicBezTo>
                        <a:pt x="86" y="214"/>
                        <a:pt x="73" y="241"/>
                        <a:pt x="58" y="266"/>
                      </a:cubicBezTo>
                      <a:lnTo>
                        <a:pt x="58" y="266"/>
                      </a:lnTo>
                      <a:cubicBezTo>
                        <a:pt x="45" y="290"/>
                        <a:pt x="30" y="314"/>
                        <a:pt x="16" y="337"/>
                      </a:cubicBezTo>
                      <a:lnTo>
                        <a:pt x="16" y="337"/>
                      </a:lnTo>
                      <a:cubicBezTo>
                        <a:pt x="12" y="344"/>
                        <a:pt x="9" y="350"/>
                        <a:pt x="5" y="356"/>
                      </a:cubicBezTo>
                      <a:lnTo>
                        <a:pt x="5" y="356"/>
                      </a:lnTo>
                      <a:cubicBezTo>
                        <a:pt x="2" y="360"/>
                        <a:pt x="0" y="364"/>
                        <a:pt x="0" y="370"/>
                      </a:cubicBezTo>
                      <a:lnTo>
                        <a:pt x="0" y="370"/>
                      </a:lnTo>
                      <a:cubicBezTo>
                        <a:pt x="1" y="374"/>
                        <a:pt x="3" y="379"/>
                        <a:pt x="7" y="382"/>
                      </a:cubicBezTo>
                      <a:lnTo>
                        <a:pt x="7" y="382"/>
                      </a:lnTo>
                      <a:cubicBezTo>
                        <a:pt x="12" y="385"/>
                        <a:pt x="16" y="387"/>
                        <a:pt x="22" y="386"/>
                      </a:cubicBezTo>
                      <a:lnTo>
                        <a:pt x="22" y="386"/>
                      </a:lnTo>
                      <a:cubicBezTo>
                        <a:pt x="26" y="385"/>
                        <a:pt x="31" y="383"/>
                        <a:pt x="33" y="379"/>
                      </a:cubicBezTo>
                      <a:lnTo>
                        <a:pt x="33" y="379"/>
                      </a:lnTo>
                      <a:cubicBezTo>
                        <a:pt x="68" y="324"/>
                        <a:pt x="99" y="267"/>
                        <a:pt x="130" y="211"/>
                      </a:cubicBezTo>
                      <a:lnTo>
                        <a:pt x="130" y="211"/>
                      </a:lnTo>
                      <a:cubicBezTo>
                        <a:pt x="133" y="204"/>
                        <a:pt x="137" y="198"/>
                        <a:pt x="140" y="191"/>
                      </a:cubicBezTo>
                      <a:lnTo>
                        <a:pt x="140" y="191"/>
                      </a:lnTo>
                      <a:cubicBezTo>
                        <a:pt x="148" y="174"/>
                        <a:pt x="155" y="158"/>
                        <a:pt x="162" y="141"/>
                      </a:cubicBezTo>
                      <a:lnTo>
                        <a:pt x="162" y="141"/>
                      </a:lnTo>
                      <a:cubicBezTo>
                        <a:pt x="169" y="124"/>
                        <a:pt x="177" y="108"/>
                        <a:pt x="184" y="92"/>
                      </a:cubicBezTo>
                      <a:lnTo>
                        <a:pt x="184" y="92"/>
                      </a:lnTo>
                      <a:cubicBezTo>
                        <a:pt x="194" y="70"/>
                        <a:pt x="202" y="48"/>
                        <a:pt x="211" y="25"/>
                      </a:cubicBezTo>
                      <a:lnTo>
                        <a:pt x="211" y="25"/>
                      </a:lnTo>
                      <a:cubicBezTo>
                        <a:pt x="215" y="16"/>
                        <a:pt x="211" y="5"/>
                        <a:pt x="202" y="1"/>
                      </a:cubicBezTo>
                      <a:lnTo>
                        <a:pt x="202" y="1"/>
                      </a:lnTo>
                      <a:cubicBezTo>
                        <a:pt x="199" y="0"/>
                        <a:pt x="197" y="0"/>
                        <a:pt x="195" y="0"/>
                      </a:cubicBezTo>
                      <a:lnTo>
                        <a:pt x="195" y="0"/>
                      </a:lnTo>
                      <a:cubicBezTo>
                        <a:pt x="187" y="0"/>
                        <a:pt x="180" y="4"/>
                        <a:pt x="177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378">
                  <a:extLst>
                    <a:ext uri="{FF2B5EF4-FFF2-40B4-BE49-F238E27FC236}">
                      <a16:creationId xmlns:a16="http://schemas.microsoft.com/office/drawing/2014/main" id="{95FF6B48-C58F-EF4C-922A-84B4DA57B2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1638" y="2847975"/>
                  <a:ext cx="76200" cy="104775"/>
                </a:xfrm>
                <a:custGeom>
                  <a:avLst/>
                  <a:gdLst>
                    <a:gd name="T0" fmla="*/ 172 w 210"/>
                    <a:gd name="T1" fmla="*/ 11 h 292"/>
                    <a:gd name="T2" fmla="*/ 172 w 210"/>
                    <a:gd name="T3" fmla="*/ 11 h 292"/>
                    <a:gd name="T4" fmla="*/ 117 w 210"/>
                    <a:gd name="T5" fmla="*/ 126 h 292"/>
                    <a:gd name="T6" fmla="*/ 117 w 210"/>
                    <a:gd name="T7" fmla="*/ 126 h 292"/>
                    <a:gd name="T8" fmla="*/ 119 w 210"/>
                    <a:gd name="T9" fmla="*/ 123 h 292"/>
                    <a:gd name="T10" fmla="*/ 119 w 210"/>
                    <a:gd name="T11" fmla="*/ 123 h 292"/>
                    <a:gd name="T12" fmla="*/ 83 w 210"/>
                    <a:gd name="T13" fmla="*/ 178 h 292"/>
                    <a:gd name="T14" fmla="*/ 83 w 210"/>
                    <a:gd name="T15" fmla="*/ 178 h 292"/>
                    <a:gd name="T16" fmla="*/ 40 w 210"/>
                    <a:gd name="T17" fmla="*/ 230 h 292"/>
                    <a:gd name="T18" fmla="*/ 40 w 210"/>
                    <a:gd name="T19" fmla="*/ 230 h 292"/>
                    <a:gd name="T20" fmla="*/ 11 w 210"/>
                    <a:gd name="T21" fmla="*/ 255 h 292"/>
                    <a:gd name="T22" fmla="*/ 11 w 210"/>
                    <a:gd name="T23" fmla="*/ 255 h 292"/>
                    <a:gd name="T24" fmla="*/ 7 w 210"/>
                    <a:gd name="T25" fmla="*/ 281 h 292"/>
                    <a:gd name="T26" fmla="*/ 7 w 210"/>
                    <a:gd name="T27" fmla="*/ 281 h 292"/>
                    <a:gd name="T28" fmla="*/ 33 w 210"/>
                    <a:gd name="T29" fmla="*/ 285 h 292"/>
                    <a:gd name="T30" fmla="*/ 33 w 210"/>
                    <a:gd name="T31" fmla="*/ 285 h 292"/>
                    <a:gd name="T32" fmla="*/ 64 w 210"/>
                    <a:gd name="T33" fmla="*/ 259 h 292"/>
                    <a:gd name="T34" fmla="*/ 64 w 210"/>
                    <a:gd name="T35" fmla="*/ 259 h 292"/>
                    <a:gd name="T36" fmla="*/ 89 w 210"/>
                    <a:gd name="T37" fmla="*/ 232 h 292"/>
                    <a:gd name="T38" fmla="*/ 89 w 210"/>
                    <a:gd name="T39" fmla="*/ 232 h 292"/>
                    <a:gd name="T40" fmla="*/ 134 w 210"/>
                    <a:gd name="T41" fmla="*/ 168 h 292"/>
                    <a:gd name="T42" fmla="*/ 134 w 210"/>
                    <a:gd name="T43" fmla="*/ 168 h 292"/>
                    <a:gd name="T44" fmla="*/ 207 w 210"/>
                    <a:gd name="T45" fmla="*/ 26 h 292"/>
                    <a:gd name="T46" fmla="*/ 207 w 210"/>
                    <a:gd name="T47" fmla="*/ 26 h 292"/>
                    <a:gd name="T48" fmla="*/ 207 w 210"/>
                    <a:gd name="T49" fmla="*/ 11 h 292"/>
                    <a:gd name="T50" fmla="*/ 207 w 210"/>
                    <a:gd name="T51" fmla="*/ 11 h 292"/>
                    <a:gd name="T52" fmla="*/ 197 w 210"/>
                    <a:gd name="T53" fmla="*/ 1 h 292"/>
                    <a:gd name="T54" fmla="*/ 197 w 210"/>
                    <a:gd name="T55" fmla="*/ 1 h 292"/>
                    <a:gd name="T56" fmla="*/ 190 w 210"/>
                    <a:gd name="T57" fmla="*/ 0 h 292"/>
                    <a:gd name="T58" fmla="*/ 190 w 210"/>
                    <a:gd name="T59" fmla="*/ 0 h 292"/>
                    <a:gd name="T60" fmla="*/ 172 w 210"/>
                    <a:gd name="T61" fmla="*/ 11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10" h="292">
                      <a:moveTo>
                        <a:pt x="172" y="11"/>
                      </a:moveTo>
                      <a:lnTo>
                        <a:pt x="172" y="11"/>
                      </a:lnTo>
                      <a:cubicBezTo>
                        <a:pt x="159" y="51"/>
                        <a:pt x="139" y="89"/>
                        <a:pt x="117" y="126"/>
                      </a:cubicBezTo>
                      <a:lnTo>
                        <a:pt x="117" y="126"/>
                      </a:lnTo>
                      <a:cubicBezTo>
                        <a:pt x="118" y="125"/>
                        <a:pt x="119" y="124"/>
                        <a:pt x="119" y="123"/>
                      </a:cubicBezTo>
                      <a:lnTo>
                        <a:pt x="119" y="123"/>
                      </a:lnTo>
                      <a:cubicBezTo>
                        <a:pt x="107" y="142"/>
                        <a:pt x="96" y="159"/>
                        <a:pt x="83" y="178"/>
                      </a:cubicBezTo>
                      <a:lnTo>
                        <a:pt x="83" y="178"/>
                      </a:lnTo>
                      <a:cubicBezTo>
                        <a:pt x="71" y="196"/>
                        <a:pt x="56" y="214"/>
                        <a:pt x="40" y="230"/>
                      </a:cubicBezTo>
                      <a:lnTo>
                        <a:pt x="40" y="230"/>
                      </a:lnTo>
                      <a:cubicBezTo>
                        <a:pt x="30" y="239"/>
                        <a:pt x="20" y="247"/>
                        <a:pt x="11" y="255"/>
                      </a:cubicBezTo>
                      <a:lnTo>
                        <a:pt x="11" y="255"/>
                      </a:lnTo>
                      <a:cubicBezTo>
                        <a:pt x="3" y="261"/>
                        <a:pt x="0" y="273"/>
                        <a:pt x="7" y="281"/>
                      </a:cubicBezTo>
                      <a:lnTo>
                        <a:pt x="7" y="281"/>
                      </a:lnTo>
                      <a:cubicBezTo>
                        <a:pt x="13" y="288"/>
                        <a:pt x="25" y="291"/>
                        <a:pt x="33" y="285"/>
                      </a:cubicBezTo>
                      <a:lnTo>
                        <a:pt x="33" y="285"/>
                      </a:lnTo>
                      <a:cubicBezTo>
                        <a:pt x="43" y="276"/>
                        <a:pt x="54" y="268"/>
                        <a:pt x="64" y="259"/>
                      </a:cubicBezTo>
                      <a:lnTo>
                        <a:pt x="64" y="259"/>
                      </a:lnTo>
                      <a:cubicBezTo>
                        <a:pt x="73" y="250"/>
                        <a:pt x="81" y="241"/>
                        <a:pt x="89" y="232"/>
                      </a:cubicBezTo>
                      <a:lnTo>
                        <a:pt x="89" y="232"/>
                      </a:lnTo>
                      <a:cubicBezTo>
                        <a:pt x="106" y="212"/>
                        <a:pt x="120" y="190"/>
                        <a:pt x="134" y="168"/>
                      </a:cubicBezTo>
                      <a:lnTo>
                        <a:pt x="134" y="168"/>
                      </a:lnTo>
                      <a:cubicBezTo>
                        <a:pt x="163" y="123"/>
                        <a:pt x="190" y="76"/>
                        <a:pt x="207" y="26"/>
                      </a:cubicBezTo>
                      <a:lnTo>
                        <a:pt x="207" y="26"/>
                      </a:lnTo>
                      <a:cubicBezTo>
                        <a:pt x="208" y="21"/>
                        <a:pt x="209" y="17"/>
                        <a:pt x="207" y="11"/>
                      </a:cubicBezTo>
                      <a:lnTo>
                        <a:pt x="207" y="11"/>
                      </a:lnTo>
                      <a:cubicBezTo>
                        <a:pt x="205" y="7"/>
                        <a:pt x="202" y="4"/>
                        <a:pt x="197" y="1"/>
                      </a:cubicBezTo>
                      <a:lnTo>
                        <a:pt x="197" y="1"/>
                      </a:lnTo>
                      <a:cubicBezTo>
                        <a:pt x="195" y="1"/>
                        <a:pt x="192" y="0"/>
                        <a:pt x="190" y="0"/>
                      </a:cubicBezTo>
                      <a:lnTo>
                        <a:pt x="190" y="0"/>
                      </a:lnTo>
                      <a:cubicBezTo>
                        <a:pt x="182" y="0"/>
                        <a:pt x="175" y="4"/>
                        <a:pt x="172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379">
                  <a:extLst>
                    <a:ext uri="{FF2B5EF4-FFF2-40B4-BE49-F238E27FC236}">
                      <a16:creationId xmlns:a16="http://schemas.microsoft.com/office/drawing/2014/main" id="{995C4218-FBAF-3C45-88CC-2C38331B7E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628900"/>
                  <a:ext cx="42862" cy="60325"/>
                </a:xfrm>
                <a:custGeom>
                  <a:avLst/>
                  <a:gdLst>
                    <a:gd name="T0" fmla="*/ 91 w 118"/>
                    <a:gd name="T1" fmla="*/ 1 h 169"/>
                    <a:gd name="T2" fmla="*/ 91 w 118"/>
                    <a:gd name="T3" fmla="*/ 1 h 169"/>
                    <a:gd name="T4" fmla="*/ 81 w 118"/>
                    <a:gd name="T5" fmla="*/ 11 h 169"/>
                    <a:gd name="T6" fmla="*/ 81 w 118"/>
                    <a:gd name="T7" fmla="*/ 11 h 169"/>
                    <a:gd name="T8" fmla="*/ 3 w 118"/>
                    <a:gd name="T9" fmla="*/ 142 h 169"/>
                    <a:gd name="T10" fmla="*/ 3 w 118"/>
                    <a:gd name="T11" fmla="*/ 142 h 169"/>
                    <a:gd name="T12" fmla="*/ 3 w 118"/>
                    <a:gd name="T13" fmla="*/ 156 h 169"/>
                    <a:gd name="T14" fmla="*/ 3 w 118"/>
                    <a:gd name="T15" fmla="*/ 156 h 169"/>
                    <a:gd name="T16" fmla="*/ 12 w 118"/>
                    <a:gd name="T17" fmla="*/ 166 h 169"/>
                    <a:gd name="T18" fmla="*/ 12 w 118"/>
                    <a:gd name="T19" fmla="*/ 166 h 169"/>
                    <a:gd name="T20" fmla="*/ 27 w 118"/>
                    <a:gd name="T21" fmla="*/ 166 h 169"/>
                    <a:gd name="T22" fmla="*/ 27 w 118"/>
                    <a:gd name="T23" fmla="*/ 166 h 169"/>
                    <a:gd name="T24" fmla="*/ 37 w 118"/>
                    <a:gd name="T25" fmla="*/ 156 h 169"/>
                    <a:gd name="T26" fmla="*/ 37 w 118"/>
                    <a:gd name="T27" fmla="*/ 156 h 169"/>
                    <a:gd name="T28" fmla="*/ 115 w 118"/>
                    <a:gd name="T29" fmla="*/ 25 h 169"/>
                    <a:gd name="T30" fmla="*/ 115 w 118"/>
                    <a:gd name="T31" fmla="*/ 25 h 169"/>
                    <a:gd name="T32" fmla="*/ 115 w 118"/>
                    <a:gd name="T33" fmla="*/ 11 h 169"/>
                    <a:gd name="T34" fmla="*/ 115 w 118"/>
                    <a:gd name="T35" fmla="*/ 11 h 169"/>
                    <a:gd name="T36" fmla="*/ 105 w 118"/>
                    <a:gd name="T37" fmla="*/ 1 h 169"/>
                    <a:gd name="T38" fmla="*/ 105 w 118"/>
                    <a:gd name="T39" fmla="*/ 1 h 169"/>
                    <a:gd name="T40" fmla="*/ 98 w 118"/>
                    <a:gd name="T41" fmla="*/ 0 h 169"/>
                    <a:gd name="T42" fmla="*/ 98 w 118"/>
                    <a:gd name="T43" fmla="*/ 0 h 169"/>
                    <a:gd name="T44" fmla="*/ 91 w 118"/>
                    <a:gd name="T45" fmla="*/ 1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8" h="169">
                      <a:moveTo>
                        <a:pt x="91" y="1"/>
                      </a:moveTo>
                      <a:lnTo>
                        <a:pt x="91" y="1"/>
                      </a:lnTo>
                      <a:cubicBezTo>
                        <a:pt x="86" y="2"/>
                        <a:pt x="84" y="6"/>
                        <a:pt x="81" y="11"/>
                      </a:cubicBezTo>
                      <a:lnTo>
                        <a:pt x="81" y="11"/>
                      </a:lnTo>
                      <a:cubicBezTo>
                        <a:pt x="55" y="54"/>
                        <a:pt x="29" y="98"/>
                        <a:pt x="3" y="142"/>
                      </a:cubicBezTo>
                      <a:lnTo>
                        <a:pt x="3" y="142"/>
                      </a:lnTo>
                      <a:cubicBezTo>
                        <a:pt x="0" y="146"/>
                        <a:pt x="1" y="152"/>
                        <a:pt x="3" y="156"/>
                      </a:cubicBezTo>
                      <a:lnTo>
                        <a:pt x="3" y="156"/>
                      </a:lnTo>
                      <a:cubicBezTo>
                        <a:pt x="4" y="161"/>
                        <a:pt x="7" y="164"/>
                        <a:pt x="12" y="166"/>
                      </a:cubicBezTo>
                      <a:lnTo>
                        <a:pt x="12" y="166"/>
                      </a:lnTo>
                      <a:cubicBezTo>
                        <a:pt x="17" y="168"/>
                        <a:pt x="22" y="168"/>
                        <a:pt x="27" y="166"/>
                      </a:cubicBezTo>
                      <a:lnTo>
                        <a:pt x="27" y="166"/>
                      </a:lnTo>
                      <a:cubicBezTo>
                        <a:pt x="31" y="165"/>
                        <a:pt x="34" y="161"/>
                        <a:pt x="37" y="156"/>
                      </a:cubicBezTo>
                      <a:lnTo>
                        <a:pt x="37" y="156"/>
                      </a:lnTo>
                      <a:cubicBezTo>
                        <a:pt x="62" y="113"/>
                        <a:pt x="89" y="69"/>
                        <a:pt x="115" y="25"/>
                      </a:cubicBezTo>
                      <a:lnTo>
                        <a:pt x="115" y="25"/>
                      </a:lnTo>
                      <a:cubicBezTo>
                        <a:pt x="117" y="22"/>
                        <a:pt x="117" y="16"/>
                        <a:pt x="115" y="11"/>
                      </a:cubicBezTo>
                      <a:lnTo>
                        <a:pt x="115" y="11"/>
                      </a:lnTo>
                      <a:cubicBezTo>
                        <a:pt x="113" y="7"/>
                        <a:pt x="110" y="3"/>
                        <a:pt x="105" y="1"/>
                      </a:cubicBezTo>
                      <a:lnTo>
                        <a:pt x="105" y="1"/>
                      </a:lnTo>
                      <a:cubicBezTo>
                        <a:pt x="103" y="0"/>
                        <a:pt x="100" y="0"/>
                        <a:pt x="98" y="0"/>
                      </a:cubicBezTo>
                      <a:lnTo>
                        <a:pt x="98" y="0"/>
                      </a:lnTo>
                      <a:cubicBezTo>
                        <a:pt x="95" y="0"/>
                        <a:pt x="93" y="0"/>
                        <a:pt x="9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380">
                  <a:extLst>
                    <a:ext uri="{FF2B5EF4-FFF2-40B4-BE49-F238E27FC236}">
                      <a16:creationId xmlns:a16="http://schemas.microsoft.com/office/drawing/2014/main" id="{14C10518-A4A6-6C49-9F73-CB54AEA10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597150"/>
                  <a:ext cx="14287" cy="14288"/>
                </a:xfrm>
                <a:custGeom>
                  <a:avLst/>
                  <a:gdLst>
                    <a:gd name="T0" fmla="*/ 5 w 39"/>
                    <a:gd name="T1" fmla="*/ 7 h 38"/>
                    <a:gd name="T2" fmla="*/ 5 w 39"/>
                    <a:gd name="T3" fmla="*/ 7 h 38"/>
                    <a:gd name="T4" fmla="*/ 1 w 39"/>
                    <a:gd name="T5" fmla="*/ 21 h 38"/>
                    <a:gd name="T6" fmla="*/ 1 w 39"/>
                    <a:gd name="T7" fmla="*/ 21 h 38"/>
                    <a:gd name="T8" fmla="*/ 7 w 39"/>
                    <a:gd name="T9" fmla="*/ 33 h 38"/>
                    <a:gd name="T10" fmla="*/ 7 w 39"/>
                    <a:gd name="T11" fmla="*/ 33 h 38"/>
                    <a:gd name="T12" fmla="*/ 21 w 39"/>
                    <a:gd name="T13" fmla="*/ 37 h 38"/>
                    <a:gd name="T14" fmla="*/ 21 w 39"/>
                    <a:gd name="T15" fmla="*/ 37 h 38"/>
                    <a:gd name="T16" fmla="*/ 34 w 39"/>
                    <a:gd name="T17" fmla="*/ 31 h 38"/>
                    <a:gd name="T18" fmla="*/ 34 w 39"/>
                    <a:gd name="T19" fmla="*/ 31 h 38"/>
                    <a:gd name="T20" fmla="*/ 38 w 39"/>
                    <a:gd name="T21" fmla="*/ 16 h 38"/>
                    <a:gd name="T22" fmla="*/ 38 w 39"/>
                    <a:gd name="T23" fmla="*/ 16 h 38"/>
                    <a:gd name="T24" fmla="*/ 31 w 39"/>
                    <a:gd name="T25" fmla="*/ 4 h 38"/>
                    <a:gd name="T26" fmla="*/ 31 w 39"/>
                    <a:gd name="T27" fmla="*/ 4 h 38"/>
                    <a:gd name="T28" fmla="*/ 17 w 39"/>
                    <a:gd name="T29" fmla="*/ 0 h 38"/>
                    <a:gd name="T30" fmla="*/ 17 w 39"/>
                    <a:gd name="T31" fmla="*/ 0 h 38"/>
                    <a:gd name="T32" fmla="*/ 5 w 39"/>
                    <a:gd name="T33" fmla="*/ 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38">
                      <a:moveTo>
                        <a:pt x="5" y="7"/>
                      </a:moveTo>
                      <a:lnTo>
                        <a:pt x="5" y="7"/>
                      </a:lnTo>
                      <a:cubicBezTo>
                        <a:pt x="1" y="11"/>
                        <a:pt x="0" y="16"/>
                        <a:pt x="1" y="21"/>
                      </a:cubicBezTo>
                      <a:lnTo>
                        <a:pt x="1" y="21"/>
                      </a:lnTo>
                      <a:cubicBezTo>
                        <a:pt x="1" y="26"/>
                        <a:pt x="4" y="30"/>
                        <a:pt x="7" y="33"/>
                      </a:cubicBezTo>
                      <a:lnTo>
                        <a:pt x="7" y="33"/>
                      </a:lnTo>
                      <a:cubicBezTo>
                        <a:pt x="12" y="36"/>
                        <a:pt x="16" y="37"/>
                        <a:pt x="21" y="37"/>
                      </a:cubicBezTo>
                      <a:lnTo>
                        <a:pt x="21" y="37"/>
                      </a:lnTo>
                      <a:cubicBezTo>
                        <a:pt x="26" y="37"/>
                        <a:pt x="31" y="34"/>
                        <a:pt x="34" y="31"/>
                      </a:cubicBezTo>
                      <a:lnTo>
                        <a:pt x="34" y="31"/>
                      </a:lnTo>
                      <a:cubicBezTo>
                        <a:pt x="37" y="26"/>
                        <a:pt x="38" y="21"/>
                        <a:pt x="38" y="16"/>
                      </a:cubicBezTo>
                      <a:lnTo>
                        <a:pt x="38" y="16"/>
                      </a:lnTo>
                      <a:cubicBezTo>
                        <a:pt x="37" y="12"/>
                        <a:pt x="34" y="7"/>
                        <a:pt x="31" y="4"/>
                      </a:cubicBezTo>
                      <a:lnTo>
                        <a:pt x="31" y="4"/>
                      </a:lnTo>
                      <a:cubicBezTo>
                        <a:pt x="27" y="1"/>
                        <a:pt x="22" y="0"/>
                        <a:pt x="17" y="0"/>
                      </a:cubicBezTo>
                      <a:lnTo>
                        <a:pt x="17" y="0"/>
                      </a:lnTo>
                      <a:cubicBezTo>
                        <a:pt x="13" y="0"/>
                        <a:pt x="7" y="4"/>
                        <a:pt x="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D870AAE-1186-0E47-89E3-6F853E24F0BB}"/>
                  </a:ext>
                </a:extLst>
              </p:cNvPr>
              <p:cNvGrpSpPr/>
              <p:nvPr/>
            </p:nvGrpSpPr>
            <p:grpSpPr>
              <a:xfrm>
                <a:off x="4551848" y="3664657"/>
                <a:ext cx="202290" cy="277212"/>
                <a:chOff x="6446838" y="4113213"/>
                <a:chExt cx="257175" cy="352425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63" name="Freeform 390">
                  <a:extLst>
                    <a:ext uri="{FF2B5EF4-FFF2-40B4-BE49-F238E27FC236}">
                      <a16:creationId xmlns:a16="http://schemas.microsoft.com/office/drawing/2014/main" id="{69FE3034-9EB9-B545-83A7-4310BA2967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9700" y="4141788"/>
                  <a:ext cx="166688" cy="300037"/>
                </a:xfrm>
                <a:custGeom>
                  <a:avLst/>
                  <a:gdLst>
                    <a:gd name="T0" fmla="*/ 450 w 461"/>
                    <a:gd name="T1" fmla="*/ 779 h 834"/>
                    <a:gd name="T2" fmla="*/ 450 w 461"/>
                    <a:gd name="T3" fmla="*/ 779 h 834"/>
                    <a:gd name="T4" fmla="*/ 451 w 461"/>
                    <a:gd name="T5" fmla="*/ 781 h 834"/>
                    <a:gd name="T6" fmla="*/ 451 w 461"/>
                    <a:gd name="T7" fmla="*/ 781 h 834"/>
                    <a:gd name="T8" fmla="*/ 450 w 461"/>
                    <a:gd name="T9" fmla="*/ 779 h 834"/>
                    <a:gd name="T10" fmla="*/ 447 w 461"/>
                    <a:gd name="T11" fmla="*/ 775 h 834"/>
                    <a:gd name="T12" fmla="*/ 447 w 461"/>
                    <a:gd name="T13" fmla="*/ 775 h 834"/>
                    <a:gd name="T14" fmla="*/ 448 w 461"/>
                    <a:gd name="T15" fmla="*/ 776 h 834"/>
                    <a:gd name="T16" fmla="*/ 448 w 461"/>
                    <a:gd name="T17" fmla="*/ 776 h 834"/>
                    <a:gd name="T18" fmla="*/ 447 w 461"/>
                    <a:gd name="T19" fmla="*/ 775 h 834"/>
                    <a:gd name="T20" fmla="*/ 18 w 461"/>
                    <a:gd name="T21" fmla="*/ 2 h 834"/>
                    <a:gd name="T22" fmla="*/ 18 w 461"/>
                    <a:gd name="T23" fmla="*/ 2 h 834"/>
                    <a:gd name="T24" fmla="*/ 3 w 461"/>
                    <a:gd name="T25" fmla="*/ 16 h 834"/>
                    <a:gd name="T26" fmla="*/ 3 w 461"/>
                    <a:gd name="T27" fmla="*/ 16 h 834"/>
                    <a:gd name="T28" fmla="*/ 3 w 461"/>
                    <a:gd name="T29" fmla="*/ 38 h 834"/>
                    <a:gd name="T30" fmla="*/ 3 w 461"/>
                    <a:gd name="T31" fmla="*/ 38 h 834"/>
                    <a:gd name="T32" fmla="*/ 269 w 461"/>
                    <a:gd name="T33" fmla="*/ 551 h 834"/>
                    <a:gd name="T34" fmla="*/ 269 w 461"/>
                    <a:gd name="T35" fmla="*/ 551 h 834"/>
                    <a:gd name="T36" fmla="*/ 334 w 461"/>
                    <a:gd name="T37" fmla="*/ 677 h 834"/>
                    <a:gd name="T38" fmla="*/ 334 w 461"/>
                    <a:gd name="T39" fmla="*/ 677 h 834"/>
                    <a:gd name="T40" fmla="*/ 367 w 461"/>
                    <a:gd name="T41" fmla="*/ 741 h 834"/>
                    <a:gd name="T42" fmla="*/ 367 w 461"/>
                    <a:gd name="T43" fmla="*/ 741 h 834"/>
                    <a:gd name="T44" fmla="*/ 408 w 461"/>
                    <a:gd name="T45" fmla="*/ 819 h 834"/>
                    <a:gd name="T46" fmla="*/ 408 w 461"/>
                    <a:gd name="T47" fmla="*/ 819 h 834"/>
                    <a:gd name="T48" fmla="*/ 448 w 461"/>
                    <a:gd name="T49" fmla="*/ 824 h 834"/>
                    <a:gd name="T50" fmla="*/ 448 w 461"/>
                    <a:gd name="T51" fmla="*/ 824 h 834"/>
                    <a:gd name="T52" fmla="*/ 458 w 461"/>
                    <a:gd name="T53" fmla="*/ 806 h 834"/>
                    <a:gd name="T54" fmla="*/ 458 w 461"/>
                    <a:gd name="T55" fmla="*/ 806 h 834"/>
                    <a:gd name="T56" fmla="*/ 454 w 461"/>
                    <a:gd name="T57" fmla="*/ 785 h 834"/>
                    <a:gd name="T58" fmla="*/ 454 w 461"/>
                    <a:gd name="T59" fmla="*/ 785 h 834"/>
                    <a:gd name="T60" fmla="*/ 449 w 461"/>
                    <a:gd name="T61" fmla="*/ 778 h 834"/>
                    <a:gd name="T62" fmla="*/ 449 w 461"/>
                    <a:gd name="T63" fmla="*/ 778 h 834"/>
                    <a:gd name="T64" fmla="*/ 398 w 461"/>
                    <a:gd name="T65" fmla="*/ 680 h 834"/>
                    <a:gd name="T66" fmla="*/ 398 w 461"/>
                    <a:gd name="T67" fmla="*/ 680 h 834"/>
                    <a:gd name="T68" fmla="*/ 340 w 461"/>
                    <a:gd name="T69" fmla="*/ 569 h 834"/>
                    <a:gd name="T70" fmla="*/ 340 w 461"/>
                    <a:gd name="T71" fmla="*/ 569 h 834"/>
                    <a:gd name="T72" fmla="*/ 222 w 461"/>
                    <a:gd name="T73" fmla="*/ 341 h 834"/>
                    <a:gd name="T74" fmla="*/ 222 w 461"/>
                    <a:gd name="T75" fmla="*/ 341 h 834"/>
                    <a:gd name="T76" fmla="*/ 55 w 461"/>
                    <a:gd name="T77" fmla="*/ 17 h 834"/>
                    <a:gd name="T78" fmla="*/ 55 w 461"/>
                    <a:gd name="T79" fmla="*/ 17 h 834"/>
                    <a:gd name="T80" fmla="*/ 40 w 461"/>
                    <a:gd name="T81" fmla="*/ 2 h 834"/>
                    <a:gd name="T82" fmla="*/ 40 w 461"/>
                    <a:gd name="T83" fmla="*/ 2 h 834"/>
                    <a:gd name="T84" fmla="*/ 28 w 461"/>
                    <a:gd name="T85" fmla="*/ 0 h 834"/>
                    <a:gd name="T86" fmla="*/ 28 w 461"/>
                    <a:gd name="T87" fmla="*/ 0 h 834"/>
                    <a:gd name="T88" fmla="*/ 18 w 461"/>
                    <a:gd name="T89" fmla="*/ 2 h 8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61" h="834">
                      <a:moveTo>
                        <a:pt x="450" y="779"/>
                      </a:moveTo>
                      <a:lnTo>
                        <a:pt x="450" y="779"/>
                      </a:lnTo>
                      <a:cubicBezTo>
                        <a:pt x="450" y="780"/>
                        <a:pt x="450" y="781"/>
                        <a:pt x="451" y="781"/>
                      </a:cubicBezTo>
                      <a:lnTo>
                        <a:pt x="451" y="781"/>
                      </a:lnTo>
                      <a:cubicBezTo>
                        <a:pt x="450" y="781"/>
                        <a:pt x="450" y="780"/>
                        <a:pt x="450" y="779"/>
                      </a:cubicBezTo>
                      <a:close/>
                      <a:moveTo>
                        <a:pt x="447" y="775"/>
                      </a:moveTo>
                      <a:lnTo>
                        <a:pt x="447" y="775"/>
                      </a:lnTo>
                      <a:lnTo>
                        <a:pt x="448" y="776"/>
                      </a:lnTo>
                      <a:lnTo>
                        <a:pt x="448" y="776"/>
                      </a:lnTo>
                      <a:lnTo>
                        <a:pt x="447" y="775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cubicBezTo>
                        <a:pt x="11" y="4"/>
                        <a:pt x="6" y="9"/>
                        <a:pt x="3" y="16"/>
                      </a:cubicBezTo>
                      <a:lnTo>
                        <a:pt x="3" y="16"/>
                      </a:lnTo>
                      <a:cubicBezTo>
                        <a:pt x="0" y="22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91" y="209"/>
                        <a:pt x="179" y="381"/>
                        <a:pt x="269" y="551"/>
                      </a:cubicBezTo>
                      <a:lnTo>
                        <a:pt x="269" y="551"/>
                      </a:lnTo>
                      <a:cubicBezTo>
                        <a:pt x="290" y="593"/>
                        <a:pt x="313" y="636"/>
                        <a:pt x="334" y="677"/>
                      </a:cubicBezTo>
                      <a:lnTo>
                        <a:pt x="334" y="677"/>
                      </a:lnTo>
                      <a:cubicBezTo>
                        <a:pt x="345" y="698"/>
                        <a:pt x="356" y="719"/>
                        <a:pt x="367" y="741"/>
                      </a:cubicBezTo>
                      <a:lnTo>
                        <a:pt x="367" y="741"/>
                      </a:lnTo>
                      <a:cubicBezTo>
                        <a:pt x="380" y="767"/>
                        <a:pt x="394" y="793"/>
                        <a:pt x="408" y="819"/>
                      </a:cubicBezTo>
                      <a:lnTo>
                        <a:pt x="408" y="819"/>
                      </a:lnTo>
                      <a:cubicBezTo>
                        <a:pt x="416" y="832"/>
                        <a:pt x="436" y="833"/>
                        <a:pt x="448" y="824"/>
                      </a:cubicBezTo>
                      <a:lnTo>
                        <a:pt x="448" y="824"/>
                      </a:lnTo>
                      <a:cubicBezTo>
                        <a:pt x="454" y="820"/>
                        <a:pt x="458" y="813"/>
                        <a:pt x="458" y="806"/>
                      </a:cubicBezTo>
                      <a:lnTo>
                        <a:pt x="458" y="806"/>
                      </a:lnTo>
                      <a:cubicBezTo>
                        <a:pt x="460" y="798"/>
                        <a:pt x="457" y="792"/>
                        <a:pt x="454" y="785"/>
                      </a:cubicBezTo>
                      <a:lnTo>
                        <a:pt x="454" y="785"/>
                      </a:lnTo>
                      <a:cubicBezTo>
                        <a:pt x="452" y="783"/>
                        <a:pt x="451" y="781"/>
                        <a:pt x="449" y="778"/>
                      </a:cubicBezTo>
                      <a:lnTo>
                        <a:pt x="449" y="778"/>
                      </a:lnTo>
                      <a:cubicBezTo>
                        <a:pt x="431" y="746"/>
                        <a:pt x="415" y="712"/>
                        <a:pt x="398" y="680"/>
                      </a:cubicBezTo>
                      <a:lnTo>
                        <a:pt x="398" y="680"/>
                      </a:lnTo>
                      <a:cubicBezTo>
                        <a:pt x="379" y="643"/>
                        <a:pt x="360" y="606"/>
                        <a:pt x="340" y="569"/>
                      </a:cubicBezTo>
                      <a:lnTo>
                        <a:pt x="340" y="569"/>
                      </a:lnTo>
                      <a:cubicBezTo>
                        <a:pt x="301" y="493"/>
                        <a:pt x="261" y="417"/>
                        <a:pt x="222" y="341"/>
                      </a:cubicBezTo>
                      <a:lnTo>
                        <a:pt x="222" y="341"/>
                      </a:lnTo>
                      <a:cubicBezTo>
                        <a:pt x="165" y="233"/>
                        <a:pt x="110" y="125"/>
                        <a:pt x="55" y="17"/>
                      </a:cubicBezTo>
                      <a:lnTo>
                        <a:pt x="55" y="17"/>
                      </a:lnTo>
                      <a:cubicBezTo>
                        <a:pt x="51" y="11"/>
                        <a:pt x="47" y="5"/>
                        <a:pt x="40" y="2"/>
                      </a:cubicBezTo>
                      <a:lnTo>
                        <a:pt x="40" y="2"/>
                      </a:lnTo>
                      <a:cubicBezTo>
                        <a:pt x="37" y="1"/>
                        <a:pt x="32" y="0"/>
                        <a:pt x="28" y="0"/>
                      </a:cubicBezTo>
                      <a:lnTo>
                        <a:pt x="28" y="0"/>
                      </a:lnTo>
                      <a:cubicBezTo>
                        <a:pt x="25" y="0"/>
                        <a:pt x="21" y="1"/>
                        <a:pt x="1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391">
                  <a:extLst>
                    <a:ext uri="{FF2B5EF4-FFF2-40B4-BE49-F238E27FC236}">
                      <a16:creationId xmlns:a16="http://schemas.microsoft.com/office/drawing/2014/main" id="{797E14C5-37D1-0B40-8A8F-2CF110DAC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4189413"/>
                  <a:ext cx="241300" cy="107950"/>
                </a:xfrm>
                <a:custGeom>
                  <a:avLst/>
                  <a:gdLst>
                    <a:gd name="T0" fmla="*/ 625 w 669"/>
                    <a:gd name="T1" fmla="*/ 1 h 300"/>
                    <a:gd name="T2" fmla="*/ 625 w 669"/>
                    <a:gd name="T3" fmla="*/ 1 h 300"/>
                    <a:gd name="T4" fmla="*/ 373 w 669"/>
                    <a:gd name="T5" fmla="*/ 107 h 300"/>
                    <a:gd name="T6" fmla="*/ 373 w 669"/>
                    <a:gd name="T7" fmla="*/ 107 h 300"/>
                    <a:gd name="T8" fmla="*/ 278 w 669"/>
                    <a:gd name="T9" fmla="*/ 145 h 300"/>
                    <a:gd name="T10" fmla="*/ 278 w 669"/>
                    <a:gd name="T11" fmla="*/ 145 h 300"/>
                    <a:gd name="T12" fmla="*/ 131 w 669"/>
                    <a:gd name="T13" fmla="*/ 201 h 300"/>
                    <a:gd name="T14" fmla="*/ 131 w 669"/>
                    <a:gd name="T15" fmla="*/ 201 h 300"/>
                    <a:gd name="T16" fmla="*/ 21 w 669"/>
                    <a:gd name="T17" fmla="*/ 242 h 300"/>
                    <a:gd name="T18" fmla="*/ 21 w 669"/>
                    <a:gd name="T19" fmla="*/ 242 h 300"/>
                    <a:gd name="T20" fmla="*/ 5 w 669"/>
                    <a:gd name="T21" fmla="*/ 278 h 300"/>
                    <a:gd name="T22" fmla="*/ 5 w 669"/>
                    <a:gd name="T23" fmla="*/ 278 h 300"/>
                    <a:gd name="T24" fmla="*/ 41 w 669"/>
                    <a:gd name="T25" fmla="*/ 294 h 300"/>
                    <a:gd name="T26" fmla="*/ 41 w 669"/>
                    <a:gd name="T27" fmla="*/ 294 h 300"/>
                    <a:gd name="T28" fmla="*/ 216 w 669"/>
                    <a:gd name="T29" fmla="*/ 228 h 300"/>
                    <a:gd name="T30" fmla="*/ 216 w 669"/>
                    <a:gd name="T31" fmla="*/ 228 h 300"/>
                    <a:gd name="T32" fmla="*/ 298 w 669"/>
                    <a:gd name="T33" fmla="*/ 197 h 300"/>
                    <a:gd name="T34" fmla="*/ 298 w 669"/>
                    <a:gd name="T35" fmla="*/ 197 h 300"/>
                    <a:gd name="T36" fmla="*/ 337 w 669"/>
                    <a:gd name="T37" fmla="*/ 182 h 300"/>
                    <a:gd name="T38" fmla="*/ 337 w 669"/>
                    <a:gd name="T39" fmla="*/ 182 h 300"/>
                    <a:gd name="T40" fmla="*/ 561 w 669"/>
                    <a:gd name="T41" fmla="*/ 89 h 300"/>
                    <a:gd name="T42" fmla="*/ 561 w 669"/>
                    <a:gd name="T43" fmla="*/ 89 h 300"/>
                    <a:gd name="T44" fmla="*/ 646 w 669"/>
                    <a:gd name="T45" fmla="*/ 54 h 300"/>
                    <a:gd name="T46" fmla="*/ 646 w 669"/>
                    <a:gd name="T47" fmla="*/ 54 h 300"/>
                    <a:gd name="T48" fmla="*/ 662 w 669"/>
                    <a:gd name="T49" fmla="*/ 17 h 300"/>
                    <a:gd name="T50" fmla="*/ 662 w 669"/>
                    <a:gd name="T51" fmla="*/ 17 h 300"/>
                    <a:gd name="T52" fmla="*/ 635 w 669"/>
                    <a:gd name="T53" fmla="*/ 0 h 300"/>
                    <a:gd name="T54" fmla="*/ 635 w 669"/>
                    <a:gd name="T55" fmla="*/ 0 h 300"/>
                    <a:gd name="T56" fmla="*/ 625 w 669"/>
                    <a:gd name="T57" fmla="*/ 1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9" h="300">
                      <a:moveTo>
                        <a:pt x="625" y="1"/>
                      </a:moveTo>
                      <a:lnTo>
                        <a:pt x="625" y="1"/>
                      </a:lnTo>
                      <a:cubicBezTo>
                        <a:pt x="541" y="36"/>
                        <a:pt x="457" y="72"/>
                        <a:pt x="373" y="107"/>
                      </a:cubicBezTo>
                      <a:lnTo>
                        <a:pt x="373" y="107"/>
                      </a:lnTo>
                      <a:cubicBezTo>
                        <a:pt x="342" y="120"/>
                        <a:pt x="310" y="132"/>
                        <a:pt x="278" y="145"/>
                      </a:cubicBezTo>
                      <a:lnTo>
                        <a:pt x="278" y="145"/>
                      </a:lnTo>
                      <a:cubicBezTo>
                        <a:pt x="229" y="163"/>
                        <a:pt x="180" y="182"/>
                        <a:pt x="131" y="201"/>
                      </a:cubicBezTo>
                      <a:lnTo>
                        <a:pt x="131" y="201"/>
                      </a:lnTo>
                      <a:cubicBezTo>
                        <a:pt x="95" y="215"/>
                        <a:pt x="58" y="228"/>
                        <a:pt x="21" y="242"/>
                      </a:cubicBezTo>
                      <a:lnTo>
                        <a:pt x="21" y="242"/>
                      </a:lnTo>
                      <a:cubicBezTo>
                        <a:pt x="7" y="248"/>
                        <a:pt x="0" y="264"/>
                        <a:pt x="5" y="278"/>
                      </a:cubicBezTo>
                      <a:lnTo>
                        <a:pt x="5" y="278"/>
                      </a:lnTo>
                      <a:cubicBezTo>
                        <a:pt x="11" y="293"/>
                        <a:pt x="27" y="299"/>
                        <a:pt x="41" y="294"/>
                      </a:cubicBezTo>
                      <a:lnTo>
                        <a:pt x="41" y="294"/>
                      </a:lnTo>
                      <a:cubicBezTo>
                        <a:pt x="100" y="272"/>
                        <a:pt x="158" y="251"/>
                        <a:pt x="216" y="228"/>
                      </a:cubicBezTo>
                      <a:lnTo>
                        <a:pt x="216" y="228"/>
                      </a:lnTo>
                      <a:cubicBezTo>
                        <a:pt x="244" y="218"/>
                        <a:pt x="271" y="208"/>
                        <a:pt x="298" y="197"/>
                      </a:cubicBezTo>
                      <a:lnTo>
                        <a:pt x="298" y="197"/>
                      </a:lnTo>
                      <a:cubicBezTo>
                        <a:pt x="311" y="192"/>
                        <a:pt x="324" y="187"/>
                        <a:pt x="337" y="182"/>
                      </a:cubicBezTo>
                      <a:lnTo>
                        <a:pt x="337" y="182"/>
                      </a:lnTo>
                      <a:cubicBezTo>
                        <a:pt x="412" y="151"/>
                        <a:pt x="487" y="121"/>
                        <a:pt x="561" y="89"/>
                      </a:cubicBezTo>
                      <a:lnTo>
                        <a:pt x="561" y="89"/>
                      </a:lnTo>
                      <a:cubicBezTo>
                        <a:pt x="589" y="77"/>
                        <a:pt x="618" y="65"/>
                        <a:pt x="646" y="54"/>
                      </a:cubicBezTo>
                      <a:lnTo>
                        <a:pt x="646" y="54"/>
                      </a:lnTo>
                      <a:cubicBezTo>
                        <a:pt x="660" y="48"/>
                        <a:pt x="668" y="31"/>
                        <a:pt x="662" y="17"/>
                      </a:cubicBezTo>
                      <a:lnTo>
                        <a:pt x="662" y="17"/>
                      </a:lnTo>
                      <a:cubicBezTo>
                        <a:pt x="658" y="7"/>
                        <a:pt x="647" y="0"/>
                        <a:pt x="635" y="0"/>
                      </a:cubicBezTo>
                      <a:lnTo>
                        <a:pt x="635" y="0"/>
                      </a:lnTo>
                      <a:cubicBezTo>
                        <a:pt x="632" y="0"/>
                        <a:pt x="629" y="0"/>
                        <a:pt x="62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392">
                  <a:extLst>
                    <a:ext uri="{FF2B5EF4-FFF2-40B4-BE49-F238E27FC236}">
                      <a16:creationId xmlns:a16="http://schemas.microsoft.com/office/drawing/2014/main" id="{88C314C0-B7A0-1142-83A4-AA9762686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0338" y="4113213"/>
                  <a:ext cx="73025" cy="352425"/>
                </a:xfrm>
                <a:custGeom>
                  <a:avLst/>
                  <a:gdLst>
                    <a:gd name="T0" fmla="*/ 143 w 201"/>
                    <a:gd name="T1" fmla="*/ 23 h 977"/>
                    <a:gd name="T2" fmla="*/ 143 w 201"/>
                    <a:gd name="T3" fmla="*/ 23 h 977"/>
                    <a:gd name="T4" fmla="*/ 82 w 201"/>
                    <a:gd name="T5" fmla="*/ 399 h 977"/>
                    <a:gd name="T6" fmla="*/ 82 w 201"/>
                    <a:gd name="T7" fmla="*/ 399 h 977"/>
                    <a:gd name="T8" fmla="*/ 44 w 201"/>
                    <a:gd name="T9" fmla="*/ 641 h 977"/>
                    <a:gd name="T10" fmla="*/ 44 w 201"/>
                    <a:gd name="T11" fmla="*/ 641 h 977"/>
                    <a:gd name="T12" fmla="*/ 23 w 201"/>
                    <a:gd name="T13" fmla="*/ 779 h 977"/>
                    <a:gd name="T14" fmla="*/ 23 w 201"/>
                    <a:gd name="T15" fmla="*/ 779 h 977"/>
                    <a:gd name="T16" fmla="*/ 1 w 201"/>
                    <a:gd name="T17" fmla="*/ 942 h 977"/>
                    <a:gd name="T18" fmla="*/ 1 w 201"/>
                    <a:gd name="T19" fmla="*/ 942 h 977"/>
                    <a:gd name="T20" fmla="*/ 25 w 201"/>
                    <a:gd name="T21" fmla="*/ 974 h 977"/>
                    <a:gd name="T22" fmla="*/ 25 w 201"/>
                    <a:gd name="T23" fmla="*/ 974 h 977"/>
                    <a:gd name="T24" fmla="*/ 57 w 201"/>
                    <a:gd name="T25" fmla="*/ 951 h 977"/>
                    <a:gd name="T26" fmla="*/ 57 w 201"/>
                    <a:gd name="T27" fmla="*/ 951 h 977"/>
                    <a:gd name="T28" fmla="*/ 95 w 201"/>
                    <a:gd name="T29" fmla="*/ 677 h 977"/>
                    <a:gd name="T30" fmla="*/ 95 w 201"/>
                    <a:gd name="T31" fmla="*/ 677 h 977"/>
                    <a:gd name="T32" fmla="*/ 127 w 201"/>
                    <a:gd name="T33" fmla="*/ 469 h 977"/>
                    <a:gd name="T34" fmla="*/ 127 w 201"/>
                    <a:gd name="T35" fmla="*/ 469 h 977"/>
                    <a:gd name="T36" fmla="*/ 198 w 201"/>
                    <a:gd name="T37" fmla="*/ 32 h 977"/>
                    <a:gd name="T38" fmla="*/ 198 w 201"/>
                    <a:gd name="T39" fmla="*/ 32 h 977"/>
                    <a:gd name="T40" fmla="*/ 174 w 201"/>
                    <a:gd name="T41" fmla="*/ 0 h 977"/>
                    <a:gd name="T42" fmla="*/ 174 w 201"/>
                    <a:gd name="T43" fmla="*/ 0 h 977"/>
                    <a:gd name="T44" fmla="*/ 170 w 201"/>
                    <a:gd name="T45" fmla="*/ 0 h 977"/>
                    <a:gd name="T46" fmla="*/ 170 w 201"/>
                    <a:gd name="T47" fmla="*/ 0 h 977"/>
                    <a:gd name="T48" fmla="*/ 143 w 201"/>
                    <a:gd name="T49" fmla="*/ 23 h 9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1" h="977">
                      <a:moveTo>
                        <a:pt x="143" y="23"/>
                      </a:moveTo>
                      <a:lnTo>
                        <a:pt x="143" y="23"/>
                      </a:lnTo>
                      <a:cubicBezTo>
                        <a:pt x="122" y="149"/>
                        <a:pt x="102" y="274"/>
                        <a:pt x="82" y="399"/>
                      </a:cubicBezTo>
                      <a:lnTo>
                        <a:pt x="82" y="399"/>
                      </a:lnTo>
                      <a:cubicBezTo>
                        <a:pt x="69" y="480"/>
                        <a:pt x="57" y="560"/>
                        <a:pt x="44" y="641"/>
                      </a:cubicBezTo>
                      <a:lnTo>
                        <a:pt x="44" y="641"/>
                      </a:lnTo>
                      <a:cubicBezTo>
                        <a:pt x="37" y="687"/>
                        <a:pt x="30" y="733"/>
                        <a:pt x="23" y="779"/>
                      </a:cubicBezTo>
                      <a:lnTo>
                        <a:pt x="23" y="779"/>
                      </a:lnTo>
                      <a:cubicBezTo>
                        <a:pt x="15" y="833"/>
                        <a:pt x="7" y="888"/>
                        <a:pt x="1" y="942"/>
                      </a:cubicBezTo>
                      <a:lnTo>
                        <a:pt x="1" y="942"/>
                      </a:lnTo>
                      <a:cubicBezTo>
                        <a:pt x="0" y="957"/>
                        <a:pt x="9" y="971"/>
                        <a:pt x="25" y="974"/>
                      </a:cubicBezTo>
                      <a:lnTo>
                        <a:pt x="25" y="974"/>
                      </a:lnTo>
                      <a:cubicBezTo>
                        <a:pt x="39" y="976"/>
                        <a:pt x="55" y="965"/>
                        <a:pt x="57" y="951"/>
                      </a:cubicBezTo>
                      <a:lnTo>
                        <a:pt x="57" y="951"/>
                      </a:lnTo>
                      <a:cubicBezTo>
                        <a:pt x="67" y="859"/>
                        <a:pt x="81" y="768"/>
                        <a:pt x="95" y="677"/>
                      </a:cubicBezTo>
                      <a:lnTo>
                        <a:pt x="95" y="677"/>
                      </a:lnTo>
                      <a:cubicBezTo>
                        <a:pt x="105" y="607"/>
                        <a:pt x="116" y="538"/>
                        <a:pt x="127" y="469"/>
                      </a:cubicBezTo>
                      <a:lnTo>
                        <a:pt x="127" y="469"/>
                      </a:lnTo>
                      <a:cubicBezTo>
                        <a:pt x="150" y="324"/>
                        <a:pt x="174" y="178"/>
                        <a:pt x="198" y="32"/>
                      </a:cubicBezTo>
                      <a:lnTo>
                        <a:pt x="198" y="32"/>
                      </a:lnTo>
                      <a:cubicBezTo>
                        <a:pt x="200" y="17"/>
                        <a:pt x="190" y="2"/>
                        <a:pt x="174" y="0"/>
                      </a:cubicBezTo>
                      <a:lnTo>
                        <a:pt x="174" y="0"/>
                      </a:lnTo>
                      <a:cubicBezTo>
                        <a:pt x="173" y="0"/>
                        <a:pt x="172" y="0"/>
                        <a:pt x="170" y="0"/>
                      </a:cubicBezTo>
                      <a:lnTo>
                        <a:pt x="170" y="0"/>
                      </a:lnTo>
                      <a:cubicBezTo>
                        <a:pt x="157" y="0"/>
                        <a:pt x="145" y="10"/>
                        <a:pt x="143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393">
                  <a:extLst>
                    <a:ext uri="{FF2B5EF4-FFF2-40B4-BE49-F238E27FC236}">
                      <a16:creationId xmlns:a16="http://schemas.microsoft.com/office/drawing/2014/main" id="{26781C09-1AA1-2342-A701-A759EC357B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6838" y="4195763"/>
                  <a:ext cx="250825" cy="141287"/>
                </a:xfrm>
                <a:custGeom>
                  <a:avLst/>
                  <a:gdLst>
                    <a:gd name="T0" fmla="*/ 19 w 698"/>
                    <a:gd name="T1" fmla="*/ 2 h 391"/>
                    <a:gd name="T2" fmla="*/ 19 w 698"/>
                    <a:gd name="T3" fmla="*/ 2 h 391"/>
                    <a:gd name="T4" fmla="*/ 4 w 698"/>
                    <a:gd name="T5" fmla="*/ 17 h 391"/>
                    <a:gd name="T6" fmla="*/ 4 w 698"/>
                    <a:gd name="T7" fmla="*/ 17 h 391"/>
                    <a:gd name="T8" fmla="*/ 3 w 698"/>
                    <a:gd name="T9" fmla="*/ 38 h 391"/>
                    <a:gd name="T10" fmla="*/ 3 w 698"/>
                    <a:gd name="T11" fmla="*/ 38 h 391"/>
                    <a:gd name="T12" fmla="*/ 18 w 698"/>
                    <a:gd name="T13" fmla="*/ 53 h 391"/>
                    <a:gd name="T14" fmla="*/ 18 w 698"/>
                    <a:gd name="T15" fmla="*/ 53 h 391"/>
                    <a:gd name="T16" fmla="*/ 24 w 698"/>
                    <a:gd name="T17" fmla="*/ 57 h 391"/>
                    <a:gd name="T18" fmla="*/ 24 w 698"/>
                    <a:gd name="T19" fmla="*/ 57 h 391"/>
                    <a:gd name="T20" fmla="*/ 18 w 698"/>
                    <a:gd name="T21" fmla="*/ 53 h 391"/>
                    <a:gd name="T22" fmla="*/ 18 w 698"/>
                    <a:gd name="T23" fmla="*/ 53 h 391"/>
                    <a:gd name="T24" fmla="*/ 172 w 698"/>
                    <a:gd name="T25" fmla="*/ 146 h 391"/>
                    <a:gd name="T26" fmla="*/ 172 w 698"/>
                    <a:gd name="T27" fmla="*/ 146 h 391"/>
                    <a:gd name="T28" fmla="*/ 266 w 698"/>
                    <a:gd name="T29" fmla="*/ 201 h 391"/>
                    <a:gd name="T30" fmla="*/ 266 w 698"/>
                    <a:gd name="T31" fmla="*/ 201 h 391"/>
                    <a:gd name="T32" fmla="*/ 342 w 698"/>
                    <a:gd name="T33" fmla="*/ 242 h 391"/>
                    <a:gd name="T34" fmla="*/ 342 w 698"/>
                    <a:gd name="T35" fmla="*/ 242 h 391"/>
                    <a:gd name="T36" fmla="*/ 379 w 698"/>
                    <a:gd name="T37" fmla="*/ 260 h 391"/>
                    <a:gd name="T38" fmla="*/ 379 w 698"/>
                    <a:gd name="T39" fmla="*/ 260 h 391"/>
                    <a:gd name="T40" fmla="*/ 451 w 698"/>
                    <a:gd name="T41" fmla="*/ 295 h 391"/>
                    <a:gd name="T42" fmla="*/ 451 w 698"/>
                    <a:gd name="T43" fmla="*/ 295 h 391"/>
                    <a:gd name="T44" fmla="*/ 501 w 698"/>
                    <a:gd name="T45" fmla="*/ 317 h 391"/>
                    <a:gd name="T46" fmla="*/ 501 w 698"/>
                    <a:gd name="T47" fmla="*/ 317 h 391"/>
                    <a:gd name="T48" fmla="*/ 654 w 698"/>
                    <a:gd name="T49" fmla="*/ 384 h 391"/>
                    <a:gd name="T50" fmla="*/ 654 w 698"/>
                    <a:gd name="T51" fmla="*/ 384 h 391"/>
                    <a:gd name="T52" fmla="*/ 690 w 698"/>
                    <a:gd name="T53" fmla="*/ 370 h 391"/>
                    <a:gd name="T54" fmla="*/ 690 w 698"/>
                    <a:gd name="T55" fmla="*/ 370 h 391"/>
                    <a:gd name="T56" fmla="*/ 676 w 698"/>
                    <a:gd name="T57" fmla="*/ 333 h 391"/>
                    <a:gd name="T58" fmla="*/ 676 w 698"/>
                    <a:gd name="T59" fmla="*/ 333 h 391"/>
                    <a:gd name="T60" fmla="*/ 549 w 698"/>
                    <a:gd name="T61" fmla="*/ 278 h 391"/>
                    <a:gd name="T62" fmla="*/ 549 w 698"/>
                    <a:gd name="T63" fmla="*/ 278 h 391"/>
                    <a:gd name="T64" fmla="*/ 484 w 698"/>
                    <a:gd name="T65" fmla="*/ 249 h 391"/>
                    <a:gd name="T66" fmla="*/ 484 w 698"/>
                    <a:gd name="T67" fmla="*/ 249 h 391"/>
                    <a:gd name="T68" fmla="*/ 429 w 698"/>
                    <a:gd name="T69" fmla="*/ 223 h 391"/>
                    <a:gd name="T70" fmla="*/ 429 w 698"/>
                    <a:gd name="T71" fmla="*/ 223 h 391"/>
                    <a:gd name="T72" fmla="*/ 388 w 698"/>
                    <a:gd name="T73" fmla="*/ 203 h 391"/>
                    <a:gd name="T74" fmla="*/ 388 w 698"/>
                    <a:gd name="T75" fmla="*/ 203 h 391"/>
                    <a:gd name="T76" fmla="*/ 317 w 698"/>
                    <a:gd name="T77" fmla="*/ 165 h 391"/>
                    <a:gd name="T78" fmla="*/ 317 w 698"/>
                    <a:gd name="T79" fmla="*/ 165 h 391"/>
                    <a:gd name="T80" fmla="*/ 270 w 698"/>
                    <a:gd name="T81" fmla="*/ 140 h 391"/>
                    <a:gd name="T82" fmla="*/ 270 w 698"/>
                    <a:gd name="T83" fmla="*/ 140 h 391"/>
                    <a:gd name="T84" fmla="*/ 225 w 698"/>
                    <a:gd name="T85" fmla="*/ 113 h 391"/>
                    <a:gd name="T86" fmla="*/ 225 w 698"/>
                    <a:gd name="T87" fmla="*/ 113 h 391"/>
                    <a:gd name="T88" fmla="*/ 82 w 698"/>
                    <a:gd name="T89" fmla="*/ 29 h 391"/>
                    <a:gd name="T90" fmla="*/ 82 w 698"/>
                    <a:gd name="T91" fmla="*/ 29 h 391"/>
                    <a:gd name="T92" fmla="*/ 89 w 698"/>
                    <a:gd name="T93" fmla="*/ 32 h 391"/>
                    <a:gd name="T94" fmla="*/ 89 w 698"/>
                    <a:gd name="T95" fmla="*/ 32 h 391"/>
                    <a:gd name="T96" fmla="*/ 40 w 698"/>
                    <a:gd name="T97" fmla="*/ 3 h 391"/>
                    <a:gd name="T98" fmla="*/ 40 w 698"/>
                    <a:gd name="T99" fmla="*/ 3 h 391"/>
                    <a:gd name="T100" fmla="*/ 30 w 698"/>
                    <a:gd name="T101" fmla="*/ 0 h 391"/>
                    <a:gd name="T102" fmla="*/ 30 w 698"/>
                    <a:gd name="T103" fmla="*/ 0 h 391"/>
                    <a:gd name="T104" fmla="*/ 19 w 698"/>
                    <a:gd name="T105" fmla="*/ 2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8" h="391">
                      <a:moveTo>
                        <a:pt x="19" y="2"/>
                      </a:moveTo>
                      <a:lnTo>
                        <a:pt x="19" y="2"/>
                      </a:lnTo>
                      <a:cubicBezTo>
                        <a:pt x="12" y="4"/>
                        <a:pt x="7" y="10"/>
                        <a:pt x="4" y="17"/>
                      </a:cubicBezTo>
                      <a:lnTo>
                        <a:pt x="4" y="17"/>
                      </a:lnTo>
                      <a:cubicBezTo>
                        <a:pt x="1" y="23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6" y="45"/>
                        <a:pt x="11" y="50"/>
                        <a:pt x="18" y="53"/>
                      </a:cubicBezTo>
                      <a:lnTo>
                        <a:pt x="18" y="53"/>
                      </a:lnTo>
                      <a:cubicBezTo>
                        <a:pt x="19" y="54"/>
                        <a:pt x="22" y="56"/>
                        <a:pt x="24" y="57"/>
                      </a:cubicBezTo>
                      <a:lnTo>
                        <a:pt x="24" y="57"/>
                      </a:lnTo>
                      <a:cubicBezTo>
                        <a:pt x="22" y="55"/>
                        <a:pt x="19" y="54"/>
                        <a:pt x="18" y="53"/>
                      </a:cubicBezTo>
                      <a:lnTo>
                        <a:pt x="18" y="53"/>
                      </a:lnTo>
                      <a:cubicBezTo>
                        <a:pt x="69" y="85"/>
                        <a:pt x="120" y="115"/>
                        <a:pt x="172" y="146"/>
                      </a:cubicBezTo>
                      <a:lnTo>
                        <a:pt x="172" y="146"/>
                      </a:lnTo>
                      <a:cubicBezTo>
                        <a:pt x="203" y="164"/>
                        <a:pt x="234" y="184"/>
                        <a:pt x="266" y="201"/>
                      </a:cubicBezTo>
                      <a:lnTo>
                        <a:pt x="266" y="201"/>
                      </a:lnTo>
                      <a:cubicBezTo>
                        <a:pt x="291" y="214"/>
                        <a:pt x="317" y="227"/>
                        <a:pt x="342" y="242"/>
                      </a:cubicBezTo>
                      <a:lnTo>
                        <a:pt x="342" y="242"/>
                      </a:lnTo>
                      <a:cubicBezTo>
                        <a:pt x="354" y="248"/>
                        <a:pt x="367" y="255"/>
                        <a:pt x="379" y="260"/>
                      </a:cubicBezTo>
                      <a:lnTo>
                        <a:pt x="379" y="260"/>
                      </a:lnTo>
                      <a:cubicBezTo>
                        <a:pt x="403" y="272"/>
                        <a:pt x="427" y="284"/>
                        <a:pt x="451" y="295"/>
                      </a:cubicBezTo>
                      <a:lnTo>
                        <a:pt x="451" y="295"/>
                      </a:lnTo>
                      <a:cubicBezTo>
                        <a:pt x="468" y="304"/>
                        <a:pt x="484" y="310"/>
                        <a:pt x="501" y="317"/>
                      </a:cubicBezTo>
                      <a:lnTo>
                        <a:pt x="501" y="317"/>
                      </a:lnTo>
                      <a:cubicBezTo>
                        <a:pt x="552" y="340"/>
                        <a:pt x="603" y="361"/>
                        <a:pt x="654" y="384"/>
                      </a:cubicBezTo>
                      <a:lnTo>
                        <a:pt x="654" y="384"/>
                      </a:lnTo>
                      <a:cubicBezTo>
                        <a:pt x="667" y="390"/>
                        <a:pt x="684" y="383"/>
                        <a:pt x="690" y="370"/>
                      </a:cubicBezTo>
                      <a:lnTo>
                        <a:pt x="690" y="370"/>
                      </a:lnTo>
                      <a:cubicBezTo>
                        <a:pt x="697" y="356"/>
                        <a:pt x="690" y="339"/>
                        <a:pt x="676" y="333"/>
                      </a:cubicBezTo>
                      <a:lnTo>
                        <a:pt x="676" y="333"/>
                      </a:lnTo>
                      <a:cubicBezTo>
                        <a:pt x="634" y="315"/>
                        <a:pt x="591" y="296"/>
                        <a:pt x="549" y="278"/>
                      </a:cubicBezTo>
                      <a:lnTo>
                        <a:pt x="549" y="278"/>
                      </a:lnTo>
                      <a:cubicBezTo>
                        <a:pt x="527" y="268"/>
                        <a:pt x="505" y="259"/>
                        <a:pt x="484" y="249"/>
                      </a:cubicBezTo>
                      <a:lnTo>
                        <a:pt x="484" y="249"/>
                      </a:lnTo>
                      <a:cubicBezTo>
                        <a:pt x="465" y="241"/>
                        <a:pt x="447" y="232"/>
                        <a:pt x="429" y="223"/>
                      </a:cubicBezTo>
                      <a:lnTo>
                        <a:pt x="429" y="223"/>
                      </a:lnTo>
                      <a:cubicBezTo>
                        <a:pt x="415" y="216"/>
                        <a:pt x="401" y="210"/>
                        <a:pt x="388" y="203"/>
                      </a:cubicBezTo>
                      <a:lnTo>
                        <a:pt x="388" y="203"/>
                      </a:lnTo>
                      <a:cubicBezTo>
                        <a:pt x="364" y="190"/>
                        <a:pt x="341" y="178"/>
                        <a:pt x="317" y="165"/>
                      </a:cubicBezTo>
                      <a:lnTo>
                        <a:pt x="317" y="165"/>
                      </a:lnTo>
                      <a:cubicBezTo>
                        <a:pt x="301" y="156"/>
                        <a:pt x="286" y="149"/>
                        <a:pt x="270" y="140"/>
                      </a:cubicBezTo>
                      <a:lnTo>
                        <a:pt x="270" y="140"/>
                      </a:lnTo>
                      <a:cubicBezTo>
                        <a:pt x="255" y="131"/>
                        <a:pt x="240" y="122"/>
                        <a:pt x="225" y="113"/>
                      </a:cubicBezTo>
                      <a:lnTo>
                        <a:pt x="225" y="113"/>
                      </a:lnTo>
                      <a:cubicBezTo>
                        <a:pt x="177" y="85"/>
                        <a:pt x="130" y="57"/>
                        <a:pt x="82" y="29"/>
                      </a:cubicBezTo>
                      <a:lnTo>
                        <a:pt x="82" y="29"/>
                      </a:lnTo>
                      <a:cubicBezTo>
                        <a:pt x="85" y="30"/>
                        <a:pt x="86" y="31"/>
                        <a:pt x="89" y="32"/>
                      </a:cubicBezTo>
                      <a:lnTo>
                        <a:pt x="89" y="32"/>
                      </a:lnTo>
                      <a:cubicBezTo>
                        <a:pt x="72" y="22"/>
                        <a:pt x="56" y="12"/>
                        <a:pt x="40" y="3"/>
                      </a:cubicBezTo>
                      <a:lnTo>
                        <a:pt x="40" y="3"/>
                      </a:lnTo>
                      <a:cubicBezTo>
                        <a:pt x="38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6" y="0"/>
                        <a:pt x="22" y="1"/>
                        <a:pt x="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75822C8-0626-1E4C-B46F-E5383E9E6F7E}"/>
                  </a:ext>
                </a:extLst>
              </p:cNvPr>
              <p:cNvGrpSpPr/>
              <p:nvPr/>
            </p:nvGrpSpPr>
            <p:grpSpPr>
              <a:xfrm>
                <a:off x="2983352" y="3436671"/>
                <a:ext cx="956507" cy="850367"/>
                <a:chOff x="3048000" y="3948113"/>
                <a:chExt cx="1216025" cy="1081087"/>
              </a:xfrm>
              <a:solidFill>
                <a:schemeClr val="accent1">
                  <a:lumMod val="60000"/>
                  <a:lumOff val="40000"/>
                </a:schemeClr>
              </a:solidFill>
            </p:grpSpPr>
            <p:sp>
              <p:nvSpPr>
                <p:cNvPr id="23" name="Freeform 394">
                  <a:extLst>
                    <a:ext uri="{FF2B5EF4-FFF2-40B4-BE49-F238E27FC236}">
                      <a16:creationId xmlns:a16="http://schemas.microsoft.com/office/drawing/2014/main" id="{BA59A4AD-653E-5243-846A-8041F3D7A8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24225" y="4010025"/>
                  <a:ext cx="784225" cy="790575"/>
                </a:xfrm>
                <a:custGeom>
                  <a:avLst/>
                  <a:gdLst>
                    <a:gd name="T0" fmla="*/ 2017 w 2178"/>
                    <a:gd name="T1" fmla="*/ 1683 h 2198"/>
                    <a:gd name="T2" fmla="*/ 51 w 2178"/>
                    <a:gd name="T3" fmla="*/ 907 h 2198"/>
                    <a:gd name="T4" fmla="*/ 1863 w 2178"/>
                    <a:gd name="T5" fmla="*/ 400 h 2198"/>
                    <a:gd name="T6" fmla="*/ 1903 w 2178"/>
                    <a:gd name="T7" fmla="*/ 362 h 2198"/>
                    <a:gd name="T8" fmla="*/ 824 w 2178"/>
                    <a:gd name="T9" fmla="*/ 81 h 2198"/>
                    <a:gd name="T10" fmla="*/ 390 w 2178"/>
                    <a:gd name="T11" fmla="*/ 365 h 2198"/>
                    <a:gd name="T12" fmla="*/ 58 w 2178"/>
                    <a:gd name="T13" fmla="*/ 764 h 2198"/>
                    <a:gd name="T14" fmla="*/ 17 w 2178"/>
                    <a:gd name="T15" fmla="*/ 910 h 2198"/>
                    <a:gd name="T16" fmla="*/ 37 w 2178"/>
                    <a:gd name="T17" fmla="*/ 937 h 2198"/>
                    <a:gd name="T18" fmla="*/ 48 w 2178"/>
                    <a:gd name="T19" fmla="*/ 913 h 2198"/>
                    <a:gd name="T20" fmla="*/ 204 w 2178"/>
                    <a:gd name="T21" fmla="*/ 641 h 2198"/>
                    <a:gd name="T22" fmla="*/ 526 w 2178"/>
                    <a:gd name="T23" fmla="*/ 324 h 2198"/>
                    <a:gd name="T24" fmla="*/ 1325 w 2178"/>
                    <a:gd name="T25" fmla="*/ 65 h 2198"/>
                    <a:gd name="T26" fmla="*/ 1503 w 2178"/>
                    <a:gd name="T27" fmla="*/ 99 h 2198"/>
                    <a:gd name="T28" fmla="*/ 1554 w 2178"/>
                    <a:gd name="T29" fmla="*/ 105 h 2198"/>
                    <a:gd name="T30" fmla="*/ 1658 w 2178"/>
                    <a:gd name="T31" fmla="*/ 189 h 2198"/>
                    <a:gd name="T32" fmla="*/ 1863 w 2178"/>
                    <a:gd name="T33" fmla="*/ 400 h 2198"/>
                    <a:gd name="T34" fmla="*/ 1863 w 2178"/>
                    <a:gd name="T35" fmla="*/ 400 h 2198"/>
                    <a:gd name="T36" fmla="*/ 1863 w 2178"/>
                    <a:gd name="T37" fmla="*/ 401 h 2198"/>
                    <a:gd name="T38" fmla="*/ 1864 w 2178"/>
                    <a:gd name="T39" fmla="*/ 402 h 2198"/>
                    <a:gd name="T40" fmla="*/ 1869 w 2178"/>
                    <a:gd name="T41" fmla="*/ 408 h 2198"/>
                    <a:gd name="T42" fmla="*/ 1870 w 2178"/>
                    <a:gd name="T43" fmla="*/ 409 h 2198"/>
                    <a:gd name="T44" fmla="*/ 1995 w 2178"/>
                    <a:gd name="T45" fmla="*/ 613 h 2198"/>
                    <a:gd name="T46" fmla="*/ 2028 w 2178"/>
                    <a:gd name="T47" fmla="*/ 684 h 2198"/>
                    <a:gd name="T48" fmla="*/ 2081 w 2178"/>
                    <a:gd name="T49" fmla="*/ 832 h 2198"/>
                    <a:gd name="T50" fmla="*/ 2097 w 2178"/>
                    <a:gd name="T51" fmla="*/ 906 h 2198"/>
                    <a:gd name="T52" fmla="*/ 2118 w 2178"/>
                    <a:gd name="T53" fmla="*/ 1074 h 2198"/>
                    <a:gd name="T54" fmla="*/ 2121 w 2178"/>
                    <a:gd name="T55" fmla="*/ 1152 h 2198"/>
                    <a:gd name="T56" fmla="*/ 2115 w 2178"/>
                    <a:gd name="T57" fmla="*/ 1284 h 2198"/>
                    <a:gd name="T58" fmla="*/ 2099 w 2178"/>
                    <a:gd name="T59" fmla="*/ 1400 h 2198"/>
                    <a:gd name="T60" fmla="*/ 2070 w 2178"/>
                    <a:gd name="T61" fmla="*/ 1521 h 2198"/>
                    <a:gd name="T62" fmla="*/ 2014 w 2178"/>
                    <a:gd name="T63" fmla="*/ 1689 h 2198"/>
                    <a:gd name="T64" fmla="*/ 1836 w 2178"/>
                    <a:gd name="T65" fmla="*/ 1944 h 2198"/>
                    <a:gd name="T66" fmla="*/ 1658 w 2178"/>
                    <a:gd name="T67" fmla="*/ 2110 h 2198"/>
                    <a:gd name="T68" fmla="*/ 1597 w 2178"/>
                    <a:gd name="T69" fmla="*/ 2171 h 2198"/>
                    <a:gd name="T70" fmla="*/ 1611 w 2178"/>
                    <a:gd name="T71" fmla="*/ 2181 h 2198"/>
                    <a:gd name="T72" fmla="*/ 1794 w 2178"/>
                    <a:gd name="T73" fmla="*/ 2066 h 2198"/>
                    <a:gd name="T74" fmla="*/ 1890 w 2178"/>
                    <a:gd name="T75" fmla="*/ 1968 h 2198"/>
                    <a:gd name="T76" fmla="*/ 1987 w 2178"/>
                    <a:gd name="T77" fmla="*/ 1850 h 2198"/>
                    <a:gd name="T78" fmla="*/ 2105 w 2178"/>
                    <a:gd name="T79" fmla="*/ 1597 h 2198"/>
                    <a:gd name="T80" fmla="*/ 2154 w 2178"/>
                    <a:gd name="T81" fmla="*/ 1410 h 2198"/>
                    <a:gd name="T82" fmla="*/ 2174 w 2178"/>
                    <a:gd name="T83" fmla="*/ 1227 h 2198"/>
                    <a:gd name="T84" fmla="*/ 2115 w 2178"/>
                    <a:gd name="T85" fmla="*/ 752 h 2198"/>
                    <a:gd name="T86" fmla="*/ 2015 w 2178"/>
                    <a:gd name="T87" fmla="*/ 533 h 2198"/>
                    <a:gd name="T88" fmla="*/ 1916 w 2178"/>
                    <a:gd name="T89" fmla="*/ 379 h 2198"/>
                    <a:gd name="T90" fmla="*/ 1914 w 2178"/>
                    <a:gd name="T91" fmla="*/ 377 h 2198"/>
                    <a:gd name="T92" fmla="*/ 1906 w 2178"/>
                    <a:gd name="T93" fmla="*/ 366 h 2198"/>
                    <a:gd name="T94" fmla="*/ 1905 w 2178"/>
                    <a:gd name="T95" fmla="*/ 364 h 2198"/>
                    <a:gd name="T96" fmla="*/ 1665 w 2178"/>
                    <a:gd name="T97" fmla="*/ 119 h 2198"/>
                    <a:gd name="T98" fmla="*/ 1572 w 2178"/>
                    <a:gd name="T99" fmla="*/ 52 h 2198"/>
                    <a:gd name="T100" fmla="*/ 1518 w 2178"/>
                    <a:gd name="T101" fmla="*/ 46 h 2198"/>
                    <a:gd name="T102" fmla="*/ 1344 w 2178"/>
                    <a:gd name="T103" fmla="*/ 11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178" h="2198">
                      <a:moveTo>
                        <a:pt x="2017" y="1683"/>
                      </a:moveTo>
                      <a:lnTo>
                        <a:pt x="2017" y="1683"/>
                      </a:lnTo>
                      <a:cubicBezTo>
                        <a:pt x="2016" y="1684"/>
                        <a:pt x="2015" y="1686"/>
                        <a:pt x="2015" y="1687"/>
                      </a:cubicBezTo>
                      <a:lnTo>
                        <a:pt x="2015" y="1687"/>
                      </a:lnTo>
                      <a:cubicBezTo>
                        <a:pt x="2015" y="1686"/>
                        <a:pt x="2016" y="1684"/>
                        <a:pt x="2017" y="1683"/>
                      </a:cubicBezTo>
                      <a:close/>
                      <a:moveTo>
                        <a:pt x="51" y="907"/>
                      </a:moveTo>
                      <a:lnTo>
                        <a:pt x="51" y="907"/>
                      </a:lnTo>
                      <a:lnTo>
                        <a:pt x="50" y="909"/>
                      </a:lnTo>
                      <a:lnTo>
                        <a:pt x="50" y="909"/>
                      </a:lnTo>
                      <a:lnTo>
                        <a:pt x="51" y="907"/>
                      </a:lnTo>
                      <a:close/>
                      <a:moveTo>
                        <a:pt x="1863" y="400"/>
                      </a:move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close/>
                      <a:moveTo>
                        <a:pt x="1903" y="362"/>
                      </a:moveTo>
                      <a:lnTo>
                        <a:pt x="1903" y="362"/>
                      </a:lnTo>
                      <a:cubicBezTo>
                        <a:pt x="1903" y="362"/>
                        <a:pt x="1904" y="362"/>
                        <a:pt x="1904" y="363"/>
                      </a:cubicBezTo>
                      <a:lnTo>
                        <a:pt x="1904" y="363"/>
                      </a:lnTo>
                      <a:cubicBezTo>
                        <a:pt x="1904" y="362"/>
                        <a:pt x="1903" y="362"/>
                        <a:pt x="1903" y="362"/>
                      </a:cubicBezTo>
                      <a:close/>
                      <a:moveTo>
                        <a:pt x="1162" y="1"/>
                      </a:moveTo>
                      <a:lnTo>
                        <a:pt x="1162" y="1"/>
                      </a:lnTo>
                      <a:cubicBezTo>
                        <a:pt x="1104" y="2"/>
                        <a:pt x="1046" y="11"/>
                        <a:pt x="989" y="25"/>
                      </a:cubicBezTo>
                      <a:lnTo>
                        <a:pt x="989" y="25"/>
                      </a:lnTo>
                      <a:cubicBezTo>
                        <a:pt x="932" y="38"/>
                        <a:pt x="878" y="58"/>
                        <a:pt x="824" y="81"/>
                      </a:cubicBezTo>
                      <a:lnTo>
                        <a:pt x="824" y="81"/>
                      </a:lnTo>
                      <a:cubicBezTo>
                        <a:pt x="719" y="126"/>
                        <a:pt x="620" y="186"/>
                        <a:pt x="527" y="254"/>
                      </a:cubicBezTo>
                      <a:lnTo>
                        <a:pt x="527" y="254"/>
                      </a:lnTo>
                      <a:cubicBezTo>
                        <a:pt x="480" y="289"/>
                        <a:pt x="434" y="327"/>
                        <a:pt x="390" y="365"/>
                      </a:cubicBezTo>
                      <a:lnTo>
                        <a:pt x="390" y="365"/>
                      </a:lnTo>
                      <a:cubicBezTo>
                        <a:pt x="346" y="404"/>
                        <a:pt x="303" y="444"/>
                        <a:pt x="262" y="487"/>
                      </a:cubicBezTo>
                      <a:lnTo>
                        <a:pt x="262" y="487"/>
                      </a:lnTo>
                      <a:cubicBezTo>
                        <a:pt x="223" y="529"/>
                        <a:pt x="186" y="573"/>
                        <a:pt x="151" y="619"/>
                      </a:cubicBezTo>
                      <a:lnTo>
                        <a:pt x="151" y="619"/>
                      </a:lnTo>
                      <a:cubicBezTo>
                        <a:pt x="116" y="664"/>
                        <a:pt x="86" y="714"/>
                        <a:pt x="58" y="764"/>
                      </a:cubicBezTo>
                      <a:lnTo>
                        <a:pt x="58" y="764"/>
                      </a:lnTo>
                      <a:cubicBezTo>
                        <a:pt x="37" y="803"/>
                        <a:pt x="17" y="844"/>
                        <a:pt x="0" y="886"/>
                      </a:cubicBezTo>
                      <a:lnTo>
                        <a:pt x="0" y="886"/>
                      </a:lnTo>
                      <a:cubicBezTo>
                        <a:pt x="6" y="894"/>
                        <a:pt x="12" y="902"/>
                        <a:pt x="17" y="910"/>
                      </a:cubicBezTo>
                      <a:lnTo>
                        <a:pt x="17" y="910"/>
                      </a:lnTo>
                      <a:cubicBezTo>
                        <a:pt x="17" y="911"/>
                        <a:pt x="17" y="911"/>
                        <a:pt x="18" y="912"/>
                      </a:cubicBezTo>
                      <a:lnTo>
                        <a:pt x="18" y="912"/>
                      </a:lnTo>
                      <a:cubicBezTo>
                        <a:pt x="22" y="915"/>
                        <a:pt x="24" y="920"/>
                        <a:pt x="27" y="924"/>
                      </a:cubicBezTo>
                      <a:lnTo>
                        <a:pt x="27" y="924"/>
                      </a:lnTo>
                      <a:cubicBezTo>
                        <a:pt x="30" y="929"/>
                        <a:pt x="33" y="933"/>
                        <a:pt x="37" y="937"/>
                      </a:cubicBezTo>
                      <a:lnTo>
                        <a:pt x="37" y="937"/>
                      </a:lnTo>
                      <a:cubicBezTo>
                        <a:pt x="37" y="938"/>
                        <a:pt x="37" y="939"/>
                        <a:pt x="38" y="939"/>
                      </a:cubicBezTo>
                      <a:lnTo>
                        <a:pt x="38" y="939"/>
                      </a:lnTo>
                      <a:cubicBezTo>
                        <a:pt x="41" y="930"/>
                        <a:pt x="45" y="922"/>
                        <a:pt x="48" y="913"/>
                      </a:cubicBezTo>
                      <a:lnTo>
                        <a:pt x="48" y="913"/>
                      </a:lnTo>
                      <a:cubicBezTo>
                        <a:pt x="70" y="863"/>
                        <a:pt x="94" y="815"/>
                        <a:pt x="119" y="768"/>
                      </a:cubicBezTo>
                      <a:lnTo>
                        <a:pt x="119" y="768"/>
                      </a:lnTo>
                      <a:cubicBezTo>
                        <a:pt x="146" y="721"/>
                        <a:pt x="175" y="678"/>
                        <a:pt x="208" y="636"/>
                      </a:cubicBezTo>
                      <a:lnTo>
                        <a:pt x="208" y="636"/>
                      </a:lnTo>
                      <a:cubicBezTo>
                        <a:pt x="207" y="638"/>
                        <a:pt x="205" y="640"/>
                        <a:pt x="204" y="641"/>
                      </a:cubicBezTo>
                      <a:lnTo>
                        <a:pt x="204" y="641"/>
                      </a:lnTo>
                      <a:cubicBezTo>
                        <a:pt x="249" y="583"/>
                        <a:pt x="298" y="528"/>
                        <a:pt x="351" y="476"/>
                      </a:cubicBezTo>
                      <a:lnTo>
                        <a:pt x="351" y="476"/>
                      </a:lnTo>
                      <a:cubicBezTo>
                        <a:pt x="406" y="422"/>
                        <a:pt x="465" y="372"/>
                        <a:pt x="526" y="324"/>
                      </a:cubicBezTo>
                      <a:lnTo>
                        <a:pt x="526" y="324"/>
                      </a:lnTo>
                      <a:cubicBezTo>
                        <a:pt x="631" y="244"/>
                        <a:pt x="743" y="176"/>
                        <a:pt x="864" y="124"/>
                      </a:cubicBezTo>
                      <a:lnTo>
                        <a:pt x="864" y="124"/>
                      </a:lnTo>
                      <a:cubicBezTo>
                        <a:pt x="937" y="95"/>
                        <a:pt x="1012" y="73"/>
                        <a:pt x="1088" y="62"/>
                      </a:cubicBezTo>
                      <a:lnTo>
                        <a:pt x="1088" y="62"/>
                      </a:lnTo>
                      <a:cubicBezTo>
                        <a:pt x="1167" y="52"/>
                        <a:pt x="1247" y="54"/>
                        <a:pt x="1325" y="65"/>
                      </a:cubicBezTo>
                      <a:lnTo>
                        <a:pt x="1325" y="65"/>
                      </a:lnTo>
                      <a:cubicBezTo>
                        <a:pt x="1355" y="69"/>
                        <a:pt x="1386" y="74"/>
                        <a:pt x="1416" y="80"/>
                      </a:cubicBezTo>
                      <a:lnTo>
                        <a:pt x="1416" y="80"/>
                      </a:lnTo>
                      <a:cubicBezTo>
                        <a:pt x="1445" y="86"/>
                        <a:pt x="1474" y="92"/>
                        <a:pt x="1503" y="99"/>
                      </a:cubicBezTo>
                      <a:lnTo>
                        <a:pt x="1503" y="99"/>
                      </a:lnTo>
                      <a:cubicBezTo>
                        <a:pt x="1512" y="101"/>
                        <a:pt x="1520" y="100"/>
                        <a:pt x="1526" y="96"/>
                      </a:cubicBezTo>
                      <a:lnTo>
                        <a:pt x="1526" y="96"/>
                      </a:lnTo>
                      <a:cubicBezTo>
                        <a:pt x="1528" y="98"/>
                        <a:pt x="1532" y="99"/>
                        <a:pt x="1534" y="100"/>
                      </a:cubicBezTo>
                      <a:lnTo>
                        <a:pt x="1534" y="100"/>
                      </a:lnTo>
                      <a:cubicBezTo>
                        <a:pt x="1541" y="101"/>
                        <a:pt x="1547" y="103"/>
                        <a:pt x="1554" y="105"/>
                      </a:cubicBezTo>
                      <a:lnTo>
                        <a:pt x="1554" y="105"/>
                      </a:lnTo>
                      <a:cubicBezTo>
                        <a:pt x="1567" y="112"/>
                        <a:pt x="1578" y="121"/>
                        <a:pt x="1590" y="129"/>
                      </a:cubicBezTo>
                      <a:lnTo>
                        <a:pt x="1590" y="129"/>
                      </a:lnTo>
                      <a:cubicBezTo>
                        <a:pt x="1614" y="148"/>
                        <a:pt x="1637" y="167"/>
                        <a:pt x="1658" y="189"/>
                      </a:cubicBezTo>
                      <a:lnTo>
                        <a:pt x="1658" y="189"/>
                      </a:lnTo>
                      <a:cubicBezTo>
                        <a:pt x="1682" y="211"/>
                        <a:pt x="1705" y="233"/>
                        <a:pt x="1728" y="256"/>
                      </a:cubicBezTo>
                      <a:lnTo>
                        <a:pt x="1728" y="256"/>
                      </a:lnTo>
                      <a:cubicBezTo>
                        <a:pt x="1752" y="279"/>
                        <a:pt x="1776" y="303"/>
                        <a:pt x="1799" y="327"/>
                      </a:cubicBezTo>
                      <a:lnTo>
                        <a:pt x="1799" y="327"/>
                      </a:lnTo>
                      <a:cubicBezTo>
                        <a:pt x="1822" y="351"/>
                        <a:pt x="1842" y="375"/>
                        <a:pt x="1863" y="400"/>
                      </a:cubicBezTo>
                      <a:lnTo>
                        <a:pt x="1863" y="400"/>
                      </a:lnTo>
                      <a:cubicBezTo>
                        <a:pt x="1862" y="399"/>
                        <a:pt x="1862" y="399"/>
                        <a:pt x="1862" y="399"/>
                      </a:cubicBezTo>
                      <a:lnTo>
                        <a:pt x="1862" y="399"/>
                      </a:lnTo>
                      <a:lnTo>
                        <a:pt x="1863" y="400"/>
                      </a:lnTo>
                      <a:lnTo>
                        <a:pt x="1863" y="400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4" y="401"/>
                        <a:pt x="1864" y="402"/>
                      </a:cubicBezTo>
                      <a:lnTo>
                        <a:pt x="1864" y="402"/>
                      </a:lnTo>
                      <a:lnTo>
                        <a:pt x="1864" y="402"/>
                      </a:lnTo>
                      <a:cubicBezTo>
                        <a:pt x="1865" y="402"/>
                        <a:pt x="1865" y="402"/>
                        <a:pt x="1865" y="402"/>
                      </a:cubicBezTo>
                      <a:lnTo>
                        <a:pt x="1865" y="402"/>
                      </a:lnTo>
                      <a:lnTo>
                        <a:pt x="1865" y="402"/>
                      </a:lnTo>
                      <a:cubicBezTo>
                        <a:pt x="1866" y="405"/>
                        <a:pt x="1867" y="406"/>
                        <a:pt x="1869" y="408"/>
                      </a:cubicBez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70" y="409"/>
                      </a:lnTo>
                      <a:lnTo>
                        <a:pt x="1870" y="409"/>
                      </a:lnTo>
                      <a:cubicBezTo>
                        <a:pt x="1871" y="410"/>
                        <a:pt x="1872" y="412"/>
                        <a:pt x="1873" y="414"/>
                      </a:cubicBezTo>
                      <a:lnTo>
                        <a:pt x="1873" y="414"/>
                      </a:lnTo>
                      <a:cubicBezTo>
                        <a:pt x="1904" y="454"/>
                        <a:pt x="1931" y="497"/>
                        <a:pt x="1956" y="541"/>
                      </a:cubicBezTo>
                      <a:lnTo>
                        <a:pt x="1956" y="541"/>
                      </a:lnTo>
                      <a:cubicBezTo>
                        <a:pt x="1969" y="565"/>
                        <a:pt x="1982" y="589"/>
                        <a:pt x="1995" y="613"/>
                      </a:cubicBezTo>
                      <a:lnTo>
                        <a:pt x="1995" y="613"/>
                      </a:lnTo>
                      <a:cubicBezTo>
                        <a:pt x="2007" y="637"/>
                        <a:pt x="2018" y="661"/>
                        <a:pt x="2028" y="685"/>
                      </a:cubicBezTo>
                      <a:lnTo>
                        <a:pt x="2028" y="685"/>
                      </a:lnTo>
                      <a:lnTo>
                        <a:pt x="2028" y="684"/>
                      </a:lnTo>
                      <a:lnTo>
                        <a:pt x="2028" y="684"/>
                      </a:lnTo>
                      <a:cubicBezTo>
                        <a:pt x="2037" y="706"/>
                        <a:pt x="2047" y="728"/>
                        <a:pt x="2055" y="751"/>
                      </a:cubicBezTo>
                      <a:lnTo>
                        <a:pt x="2055" y="751"/>
                      </a:lnTo>
                      <a:cubicBezTo>
                        <a:pt x="2060" y="765"/>
                        <a:pt x="2065" y="779"/>
                        <a:pt x="2070" y="793"/>
                      </a:cubicBezTo>
                      <a:lnTo>
                        <a:pt x="2070" y="793"/>
                      </a:lnTo>
                      <a:cubicBezTo>
                        <a:pt x="2074" y="806"/>
                        <a:pt x="2078" y="820"/>
                        <a:pt x="2081" y="832"/>
                      </a:cubicBezTo>
                      <a:lnTo>
                        <a:pt x="2081" y="832"/>
                      </a:lnTo>
                      <a:cubicBezTo>
                        <a:pt x="2084" y="843"/>
                        <a:pt x="2087" y="856"/>
                        <a:pt x="2090" y="868"/>
                      </a:cubicBezTo>
                      <a:lnTo>
                        <a:pt x="2090" y="868"/>
                      </a:lnTo>
                      <a:cubicBezTo>
                        <a:pt x="2092" y="881"/>
                        <a:pt x="2095" y="893"/>
                        <a:pt x="2097" y="906"/>
                      </a:cubicBezTo>
                      <a:lnTo>
                        <a:pt x="2097" y="906"/>
                      </a:lnTo>
                      <a:cubicBezTo>
                        <a:pt x="2102" y="933"/>
                        <a:pt x="2106" y="959"/>
                        <a:pt x="2110" y="986"/>
                      </a:cubicBezTo>
                      <a:lnTo>
                        <a:pt x="2110" y="986"/>
                      </a:lnTo>
                      <a:cubicBezTo>
                        <a:pt x="2112" y="1001"/>
                        <a:pt x="2113" y="1016"/>
                        <a:pt x="2115" y="1031"/>
                      </a:cubicBezTo>
                      <a:lnTo>
                        <a:pt x="2115" y="1031"/>
                      </a:lnTo>
                      <a:cubicBezTo>
                        <a:pt x="2116" y="1045"/>
                        <a:pt x="2117" y="1060"/>
                        <a:pt x="2118" y="1074"/>
                      </a:cubicBezTo>
                      <a:lnTo>
                        <a:pt x="2118" y="1074"/>
                      </a:lnTo>
                      <a:cubicBezTo>
                        <a:pt x="2119" y="1087"/>
                        <a:pt x="2119" y="1099"/>
                        <a:pt x="2119" y="1112"/>
                      </a:cubicBezTo>
                      <a:lnTo>
                        <a:pt x="2119" y="1112"/>
                      </a:lnTo>
                      <a:cubicBezTo>
                        <a:pt x="2120" y="1125"/>
                        <a:pt x="2121" y="1139"/>
                        <a:pt x="2121" y="1152"/>
                      </a:cubicBezTo>
                      <a:lnTo>
                        <a:pt x="2121" y="1152"/>
                      </a:lnTo>
                      <a:cubicBezTo>
                        <a:pt x="2120" y="1171"/>
                        <a:pt x="2120" y="1190"/>
                        <a:pt x="2119" y="1209"/>
                      </a:cubicBezTo>
                      <a:lnTo>
                        <a:pt x="2119" y="1209"/>
                      </a:lnTo>
                      <a:cubicBezTo>
                        <a:pt x="2119" y="1222"/>
                        <a:pt x="2118" y="1235"/>
                        <a:pt x="2118" y="1248"/>
                      </a:cubicBezTo>
                      <a:lnTo>
                        <a:pt x="2118" y="1248"/>
                      </a:lnTo>
                      <a:cubicBezTo>
                        <a:pt x="2117" y="1260"/>
                        <a:pt x="2116" y="1272"/>
                        <a:pt x="2115" y="1284"/>
                      </a:cubicBezTo>
                      <a:lnTo>
                        <a:pt x="2115" y="1284"/>
                      </a:lnTo>
                      <a:cubicBezTo>
                        <a:pt x="2113" y="1300"/>
                        <a:pt x="2111" y="1317"/>
                        <a:pt x="2109" y="1333"/>
                      </a:cubicBezTo>
                      <a:lnTo>
                        <a:pt x="2109" y="1333"/>
                      </a:lnTo>
                      <a:cubicBezTo>
                        <a:pt x="2106" y="1356"/>
                        <a:pt x="2103" y="1378"/>
                        <a:pt x="2099" y="1400"/>
                      </a:cubicBezTo>
                      <a:lnTo>
                        <a:pt x="2099" y="1400"/>
                      </a:lnTo>
                      <a:cubicBezTo>
                        <a:pt x="2095" y="1417"/>
                        <a:pt x="2092" y="1432"/>
                        <a:pt x="2089" y="1449"/>
                      </a:cubicBezTo>
                      <a:lnTo>
                        <a:pt x="2089" y="1449"/>
                      </a:lnTo>
                      <a:cubicBezTo>
                        <a:pt x="2087" y="1460"/>
                        <a:pt x="2083" y="1471"/>
                        <a:pt x="2080" y="1482"/>
                      </a:cubicBezTo>
                      <a:lnTo>
                        <a:pt x="2080" y="1482"/>
                      </a:lnTo>
                      <a:cubicBezTo>
                        <a:pt x="2077" y="1495"/>
                        <a:pt x="2073" y="1508"/>
                        <a:pt x="2070" y="1521"/>
                      </a:cubicBezTo>
                      <a:lnTo>
                        <a:pt x="2070" y="1521"/>
                      </a:lnTo>
                      <a:cubicBezTo>
                        <a:pt x="2067" y="1533"/>
                        <a:pt x="2062" y="1546"/>
                        <a:pt x="2058" y="1559"/>
                      </a:cubicBezTo>
                      <a:lnTo>
                        <a:pt x="2058" y="1559"/>
                      </a:lnTo>
                      <a:cubicBezTo>
                        <a:pt x="2045" y="1602"/>
                        <a:pt x="2032" y="1646"/>
                        <a:pt x="2014" y="1689"/>
                      </a:cubicBezTo>
                      <a:lnTo>
                        <a:pt x="2014" y="1689"/>
                      </a:lnTo>
                      <a:cubicBezTo>
                        <a:pt x="1988" y="1747"/>
                        <a:pt x="1954" y="1801"/>
                        <a:pt x="1916" y="1851"/>
                      </a:cubicBezTo>
                      <a:lnTo>
                        <a:pt x="1916" y="1851"/>
                      </a:lnTo>
                      <a:cubicBezTo>
                        <a:pt x="1901" y="1871"/>
                        <a:pt x="1885" y="1889"/>
                        <a:pt x="1869" y="1908"/>
                      </a:cubicBezTo>
                      <a:lnTo>
                        <a:pt x="1869" y="1908"/>
                      </a:lnTo>
                      <a:cubicBezTo>
                        <a:pt x="1859" y="1920"/>
                        <a:pt x="1847" y="1932"/>
                        <a:pt x="1836" y="1944"/>
                      </a:cubicBezTo>
                      <a:lnTo>
                        <a:pt x="1836" y="1944"/>
                      </a:lnTo>
                      <a:cubicBezTo>
                        <a:pt x="1819" y="1962"/>
                        <a:pt x="1802" y="1980"/>
                        <a:pt x="1784" y="1998"/>
                      </a:cubicBezTo>
                      <a:lnTo>
                        <a:pt x="1784" y="1998"/>
                      </a:lnTo>
                      <a:cubicBezTo>
                        <a:pt x="1744" y="2038"/>
                        <a:pt x="1702" y="2075"/>
                        <a:pt x="1658" y="2110"/>
                      </a:cubicBezTo>
                      <a:lnTo>
                        <a:pt x="1658" y="2110"/>
                      </a:lnTo>
                      <a:cubicBezTo>
                        <a:pt x="1633" y="2129"/>
                        <a:pt x="1607" y="2147"/>
                        <a:pt x="1581" y="2164"/>
                      </a:cubicBezTo>
                      <a:lnTo>
                        <a:pt x="1581" y="2164"/>
                      </a:lnTo>
                      <a:cubicBezTo>
                        <a:pt x="1582" y="2165"/>
                        <a:pt x="1583" y="2166"/>
                        <a:pt x="1585" y="2167"/>
                      </a:cubicBezTo>
                      <a:lnTo>
                        <a:pt x="1585" y="2167"/>
                      </a:lnTo>
                      <a:cubicBezTo>
                        <a:pt x="1589" y="2167"/>
                        <a:pt x="1593" y="2169"/>
                        <a:pt x="1597" y="2171"/>
                      </a:cubicBezTo>
                      <a:lnTo>
                        <a:pt x="1597" y="2171"/>
                      </a:lnTo>
                      <a:cubicBezTo>
                        <a:pt x="1600" y="2174"/>
                        <a:pt x="1604" y="2176"/>
                        <a:pt x="1607" y="2179"/>
                      </a:cubicBezTo>
                      <a:lnTo>
                        <a:pt x="1607" y="2179"/>
                      </a:lnTo>
                      <a:cubicBezTo>
                        <a:pt x="1608" y="2179"/>
                        <a:pt x="1610" y="2180"/>
                        <a:pt x="1611" y="2181"/>
                      </a:cubicBezTo>
                      <a:lnTo>
                        <a:pt x="1611" y="2181"/>
                      </a:lnTo>
                      <a:cubicBezTo>
                        <a:pt x="1618" y="2186"/>
                        <a:pt x="1625" y="2191"/>
                        <a:pt x="1633" y="2197"/>
                      </a:cubicBezTo>
                      <a:lnTo>
                        <a:pt x="1633" y="2197"/>
                      </a:lnTo>
                      <a:cubicBezTo>
                        <a:pt x="1667" y="2173"/>
                        <a:pt x="1701" y="2148"/>
                        <a:pt x="1733" y="2121"/>
                      </a:cubicBezTo>
                      <a:lnTo>
                        <a:pt x="1733" y="2121"/>
                      </a:lnTo>
                      <a:cubicBezTo>
                        <a:pt x="1754" y="2103"/>
                        <a:pt x="1774" y="2085"/>
                        <a:pt x="1794" y="2066"/>
                      </a:cubicBezTo>
                      <a:lnTo>
                        <a:pt x="1794" y="2066"/>
                      </a:lnTo>
                      <a:cubicBezTo>
                        <a:pt x="1808" y="2053"/>
                        <a:pt x="1823" y="2039"/>
                        <a:pt x="1836" y="2025"/>
                      </a:cubicBezTo>
                      <a:lnTo>
                        <a:pt x="1836" y="2025"/>
                      </a:lnTo>
                      <a:cubicBezTo>
                        <a:pt x="1854" y="2006"/>
                        <a:pt x="1872" y="1987"/>
                        <a:pt x="1890" y="1968"/>
                      </a:cubicBezTo>
                      <a:lnTo>
                        <a:pt x="1890" y="1968"/>
                      </a:lnTo>
                      <a:cubicBezTo>
                        <a:pt x="1902" y="1956"/>
                        <a:pt x="1913" y="1942"/>
                        <a:pt x="1924" y="1929"/>
                      </a:cubicBezTo>
                      <a:lnTo>
                        <a:pt x="1924" y="1929"/>
                      </a:lnTo>
                      <a:cubicBezTo>
                        <a:pt x="1932" y="1920"/>
                        <a:pt x="1939" y="1911"/>
                        <a:pt x="1947" y="1903"/>
                      </a:cubicBezTo>
                      <a:lnTo>
                        <a:pt x="1947" y="1903"/>
                      </a:lnTo>
                      <a:cubicBezTo>
                        <a:pt x="1961" y="1885"/>
                        <a:pt x="1974" y="1867"/>
                        <a:pt x="1987" y="1850"/>
                      </a:cubicBezTo>
                      <a:lnTo>
                        <a:pt x="1987" y="1850"/>
                      </a:lnTo>
                      <a:cubicBezTo>
                        <a:pt x="2020" y="1802"/>
                        <a:pt x="2048" y="1752"/>
                        <a:pt x="2071" y="1698"/>
                      </a:cubicBezTo>
                      <a:lnTo>
                        <a:pt x="2071" y="1698"/>
                      </a:lnTo>
                      <a:cubicBezTo>
                        <a:pt x="2084" y="1665"/>
                        <a:pt x="2095" y="1631"/>
                        <a:pt x="2105" y="1597"/>
                      </a:cubicBezTo>
                      <a:lnTo>
                        <a:pt x="2105" y="1597"/>
                      </a:lnTo>
                      <a:cubicBezTo>
                        <a:pt x="2111" y="1576"/>
                        <a:pt x="2118" y="1556"/>
                        <a:pt x="2123" y="1535"/>
                      </a:cubicBezTo>
                      <a:lnTo>
                        <a:pt x="2123" y="1535"/>
                      </a:lnTo>
                      <a:cubicBezTo>
                        <a:pt x="2129" y="1513"/>
                        <a:pt x="2135" y="1492"/>
                        <a:pt x="2141" y="1470"/>
                      </a:cubicBezTo>
                      <a:lnTo>
                        <a:pt x="2141" y="1470"/>
                      </a:lnTo>
                      <a:cubicBezTo>
                        <a:pt x="2146" y="1450"/>
                        <a:pt x="2149" y="1430"/>
                        <a:pt x="2154" y="1410"/>
                      </a:cubicBezTo>
                      <a:lnTo>
                        <a:pt x="2154" y="1410"/>
                      </a:lnTo>
                      <a:cubicBezTo>
                        <a:pt x="2158" y="1390"/>
                        <a:pt x="2160" y="1370"/>
                        <a:pt x="2163" y="1350"/>
                      </a:cubicBezTo>
                      <a:lnTo>
                        <a:pt x="2163" y="1350"/>
                      </a:lnTo>
                      <a:cubicBezTo>
                        <a:pt x="2169" y="1310"/>
                        <a:pt x="2172" y="1268"/>
                        <a:pt x="2174" y="1227"/>
                      </a:cubicBezTo>
                      <a:lnTo>
                        <a:pt x="2174" y="1227"/>
                      </a:lnTo>
                      <a:cubicBezTo>
                        <a:pt x="2177" y="1186"/>
                        <a:pt x="2176" y="1145"/>
                        <a:pt x="2175" y="1105"/>
                      </a:cubicBezTo>
                      <a:lnTo>
                        <a:pt x="2175" y="1105"/>
                      </a:lnTo>
                      <a:cubicBezTo>
                        <a:pt x="2173" y="1024"/>
                        <a:pt x="2162" y="943"/>
                        <a:pt x="2145" y="864"/>
                      </a:cubicBezTo>
                      <a:lnTo>
                        <a:pt x="2145" y="864"/>
                      </a:lnTo>
                      <a:cubicBezTo>
                        <a:pt x="2138" y="826"/>
                        <a:pt x="2128" y="789"/>
                        <a:pt x="2115" y="752"/>
                      </a:cubicBezTo>
                      <a:lnTo>
                        <a:pt x="2115" y="752"/>
                      </a:lnTo>
                      <a:cubicBezTo>
                        <a:pt x="2100" y="712"/>
                        <a:pt x="2083" y="672"/>
                        <a:pt x="2066" y="632"/>
                      </a:cubicBezTo>
                      <a:lnTo>
                        <a:pt x="2066" y="632"/>
                      </a:lnTo>
                      <a:cubicBezTo>
                        <a:pt x="2051" y="599"/>
                        <a:pt x="2034" y="566"/>
                        <a:pt x="2015" y="533"/>
                      </a:cubicBezTo>
                      <a:lnTo>
                        <a:pt x="2015" y="533"/>
                      </a:lnTo>
                      <a:cubicBezTo>
                        <a:pt x="1995" y="498"/>
                        <a:pt x="1976" y="463"/>
                        <a:pt x="1953" y="430"/>
                      </a:cubicBezTo>
                      <a:lnTo>
                        <a:pt x="1953" y="430"/>
                      </a:lnTo>
                      <a:cubicBezTo>
                        <a:pt x="1942" y="414"/>
                        <a:pt x="1930" y="398"/>
                        <a:pt x="1919" y="382"/>
                      </a:cubicBezTo>
                      <a:lnTo>
                        <a:pt x="1919" y="382"/>
                      </a:lnTo>
                      <a:cubicBezTo>
                        <a:pt x="1918" y="381"/>
                        <a:pt x="1917" y="380"/>
                        <a:pt x="1916" y="379"/>
                      </a:cubicBezTo>
                      <a:lnTo>
                        <a:pt x="1916" y="379"/>
                      </a:lnTo>
                      <a:cubicBezTo>
                        <a:pt x="1916" y="378"/>
                        <a:pt x="1916" y="378"/>
                        <a:pt x="1915" y="377"/>
                      </a:cubicBezTo>
                      <a:lnTo>
                        <a:pt x="1915" y="377"/>
                      </a:lnTo>
                      <a:lnTo>
                        <a:pt x="1914" y="377"/>
                      </a:lnTo>
                      <a:lnTo>
                        <a:pt x="1914" y="377"/>
                      </a:lnTo>
                      <a:cubicBezTo>
                        <a:pt x="1913" y="375"/>
                        <a:pt x="1912" y="373"/>
                        <a:pt x="1910" y="371"/>
                      </a:cubicBezTo>
                      <a:lnTo>
                        <a:pt x="1910" y="371"/>
                      </a:lnTo>
                      <a:cubicBezTo>
                        <a:pt x="1909" y="369"/>
                        <a:pt x="1907" y="367"/>
                        <a:pt x="1905" y="364"/>
                      </a:cubicBezTo>
                      <a:lnTo>
                        <a:pt x="1905" y="364"/>
                      </a:lnTo>
                      <a:cubicBezTo>
                        <a:pt x="1906" y="365"/>
                        <a:pt x="1906" y="365"/>
                        <a:pt x="1906" y="366"/>
                      </a:cubicBezTo>
                      <a:lnTo>
                        <a:pt x="1906" y="366"/>
                      </a:lnTo>
                      <a:cubicBezTo>
                        <a:pt x="1906" y="365"/>
                        <a:pt x="1905" y="364"/>
                        <a:pt x="1904" y="364"/>
                      </a:cubicBezTo>
                      <a:lnTo>
                        <a:pt x="1904" y="364"/>
                      </a:lnTo>
                      <a:lnTo>
                        <a:pt x="1905" y="364"/>
                      </a:lnTo>
                      <a:lnTo>
                        <a:pt x="1905" y="364"/>
                      </a:lnTo>
                      <a:cubicBezTo>
                        <a:pt x="1881" y="334"/>
                        <a:pt x="1856" y="305"/>
                        <a:pt x="1829" y="277"/>
                      </a:cubicBezTo>
                      <a:lnTo>
                        <a:pt x="1829" y="277"/>
                      </a:lnTo>
                      <a:cubicBezTo>
                        <a:pt x="1803" y="250"/>
                        <a:pt x="1775" y="224"/>
                        <a:pt x="1748" y="197"/>
                      </a:cubicBezTo>
                      <a:lnTo>
                        <a:pt x="1748" y="197"/>
                      </a:lnTo>
                      <a:cubicBezTo>
                        <a:pt x="1721" y="171"/>
                        <a:pt x="1694" y="144"/>
                        <a:pt x="1665" y="119"/>
                      </a:cubicBezTo>
                      <a:lnTo>
                        <a:pt x="1665" y="119"/>
                      </a:lnTo>
                      <a:cubicBezTo>
                        <a:pt x="1650" y="106"/>
                        <a:pt x="1634" y="94"/>
                        <a:pt x="1618" y="82"/>
                      </a:cubicBezTo>
                      <a:lnTo>
                        <a:pt x="1618" y="82"/>
                      </a:lnTo>
                      <a:cubicBezTo>
                        <a:pt x="1604" y="71"/>
                        <a:pt x="1589" y="59"/>
                        <a:pt x="1572" y="52"/>
                      </a:cubicBezTo>
                      <a:lnTo>
                        <a:pt x="1572" y="52"/>
                      </a:lnTo>
                      <a:cubicBezTo>
                        <a:pt x="1564" y="50"/>
                        <a:pt x="1557" y="48"/>
                        <a:pt x="1549" y="46"/>
                      </a:cubicBezTo>
                      <a:lnTo>
                        <a:pt x="1549" y="46"/>
                      </a:lnTo>
                      <a:cubicBezTo>
                        <a:pt x="1542" y="43"/>
                        <a:pt x="1533" y="45"/>
                        <a:pt x="1527" y="49"/>
                      </a:cubicBezTo>
                      <a:lnTo>
                        <a:pt x="1527" y="49"/>
                      </a:lnTo>
                      <a:cubicBezTo>
                        <a:pt x="1524" y="48"/>
                        <a:pt x="1522" y="46"/>
                        <a:pt x="1518" y="46"/>
                      </a:cubicBezTo>
                      <a:lnTo>
                        <a:pt x="1518" y="46"/>
                      </a:lnTo>
                      <a:cubicBezTo>
                        <a:pt x="1492" y="40"/>
                        <a:pt x="1464" y="33"/>
                        <a:pt x="1438" y="28"/>
                      </a:cubicBezTo>
                      <a:lnTo>
                        <a:pt x="1438" y="28"/>
                      </a:lnTo>
                      <a:cubicBezTo>
                        <a:pt x="1406" y="22"/>
                        <a:pt x="1375" y="16"/>
                        <a:pt x="1344" y="11"/>
                      </a:cubicBezTo>
                      <a:lnTo>
                        <a:pt x="1344" y="11"/>
                      </a:lnTo>
                      <a:cubicBezTo>
                        <a:pt x="1293" y="3"/>
                        <a:pt x="1241" y="0"/>
                        <a:pt x="1190" y="0"/>
                      </a:cubicBezTo>
                      <a:lnTo>
                        <a:pt x="1190" y="0"/>
                      </a:lnTo>
                      <a:cubicBezTo>
                        <a:pt x="1181" y="0"/>
                        <a:pt x="1171" y="0"/>
                        <a:pt x="116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395">
                  <a:extLst>
                    <a:ext uri="{FF2B5EF4-FFF2-40B4-BE49-F238E27FC236}">
                      <a16:creationId xmlns:a16="http://schemas.microsoft.com/office/drawing/2014/main" id="{66AD3790-9083-5E45-935E-6F5DF55B6B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 396">
                  <a:extLst>
                    <a:ext uri="{FF2B5EF4-FFF2-40B4-BE49-F238E27FC236}">
                      <a16:creationId xmlns:a16="http://schemas.microsoft.com/office/drawing/2014/main" id="{4F9950EF-979C-974F-B2F1-E2F6F24BF5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86125" y="4419600"/>
                  <a:ext cx="555625" cy="449263"/>
                </a:xfrm>
                <a:custGeom>
                  <a:avLst/>
                  <a:gdLst>
                    <a:gd name="T0" fmla="*/ 115 w 1544"/>
                    <a:gd name="T1" fmla="*/ 590 h 1248"/>
                    <a:gd name="T2" fmla="*/ 117 w 1544"/>
                    <a:gd name="T3" fmla="*/ 597 h 1248"/>
                    <a:gd name="T4" fmla="*/ 8 w 1544"/>
                    <a:gd name="T5" fmla="*/ 130 h 1248"/>
                    <a:gd name="T6" fmla="*/ 2 w 1544"/>
                    <a:gd name="T7" fmla="*/ 305 h 1248"/>
                    <a:gd name="T8" fmla="*/ 23 w 1544"/>
                    <a:gd name="T9" fmla="*/ 484 h 1248"/>
                    <a:gd name="T10" fmla="*/ 80 w 1544"/>
                    <a:gd name="T11" fmla="*/ 650 h 1248"/>
                    <a:gd name="T12" fmla="*/ 284 w 1544"/>
                    <a:gd name="T13" fmla="*/ 922 h 1248"/>
                    <a:gd name="T14" fmla="*/ 418 w 1544"/>
                    <a:gd name="T15" fmla="*/ 1028 h 1248"/>
                    <a:gd name="T16" fmla="*/ 571 w 1544"/>
                    <a:gd name="T17" fmla="*/ 1112 h 1248"/>
                    <a:gd name="T18" fmla="*/ 735 w 1544"/>
                    <a:gd name="T19" fmla="*/ 1173 h 1248"/>
                    <a:gd name="T20" fmla="*/ 813 w 1544"/>
                    <a:gd name="T21" fmla="*/ 1194 h 1248"/>
                    <a:gd name="T22" fmla="*/ 877 w 1544"/>
                    <a:gd name="T23" fmla="*/ 1210 h 1248"/>
                    <a:gd name="T24" fmla="*/ 895 w 1544"/>
                    <a:gd name="T25" fmla="*/ 1213 h 1248"/>
                    <a:gd name="T26" fmla="*/ 939 w 1544"/>
                    <a:gd name="T27" fmla="*/ 1222 h 1248"/>
                    <a:gd name="T28" fmla="*/ 971 w 1544"/>
                    <a:gd name="T29" fmla="*/ 1227 h 1248"/>
                    <a:gd name="T30" fmla="*/ 1032 w 1544"/>
                    <a:gd name="T31" fmla="*/ 1237 h 1248"/>
                    <a:gd name="T32" fmla="*/ 1210 w 1544"/>
                    <a:gd name="T33" fmla="*/ 1243 h 1248"/>
                    <a:gd name="T34" fmla="*/ 1383 w 1544"/>
                    <a:gd name="T35" fmla="*/ 1217 h 1248"/>
                    <a:gd name="T36" fmla="*/ 1543 w 1544"/>
                    <a:gd name="T37" fmla="*/ 1162 h 1248"/>
                    <a:gd name="T38" fmla="*/ 1513 w 1544"/>
                    <a:gd name="T39" fmla="*/ 1142 h 1248"/>
                    <a:gd name="T40" fmla="*/ 1488 w 1544"/>
                    <a:gd name="T41" fmla="*/ 1124 h 1248"/>
                    <a:gd name="T42" fmla="*/ 1270 w 1544"/>
                    <a:gd name="T43" fmla="*/ 1182 h 1248"/>
                    <a:gd name="T44" fmla="*/ 1148 w 1544"/>
                    <a:gd name="T45" fmla="*/ 1189 h 1248"/>
                    <a:gd name="T46" fmla="*/ 1025 w 1544"/>
                    <a:gd name="T47" fmla="*/ 1180 h 1248"/>
                    <a:gd name="T48" fmla="*/ 1026 w 1544"/>
                    <a:gd name="T49" fmla="*/ 1180 h 1248"/>
                    <a:gd name="T50" fmla="*/ 1025 w 1544"/>
                    <a:gd name="T51" fmla="*/ 1180 h 1248"/>
                    <a:gd name="T52" fmla="*/ 1025 w 1544"/>
                    <a:gd name="T53" fmla="*/ 1180 h 1248"/>
                    <a:gd name="T54" fmla="*/ 1025 w 1544"/>
                    <a:gd name="T55" fmla="*/ 1180 h 1248"/>
                    <a:gd name="T56" fmla="*/ 1024 w 1544"/>
                    <a:gd name="T57" fmla="*/ 1180 h 1248"/>
                    <a:gd name="T58" fmla="*/ 1021 w 1544"/>
                    <a:gd name="T59" fmla="*/ 1179 h 1248"/>
                    <a:gd name="T60" fmla="*/ 1021 w 1544"/>
                    <a:gd name="T61" fmla="*/ 1179 h 1248"/>
                    <a:gd name="T62" fmla="*/ 1021 w 1544"/>
                    <a:gd name="T63" fmla="*/ 1179 h 1248"/>
                    <a:gd name="T64" fmla="*/ 1018 w 1544"/>
                    <a:gd name="T65" fmla="*/ 1179 h 1248"/>
                    <a:gd name="T66" fmla="*/ 1019 w 1544"/>
                    <a:gd name="T67" fmla="*/ 1179 h 1248"/>
                    <a:gd name="T68" fmla="*/ 929 w 1544"/>
                    <a:gd name="T69" fmla="*/ 1163 h 1248"/>
                    <a:gd name="T70" fmla="*/ 874 w 1544"/>
                    <a:gd name="T71" fmla="*/ 1152 h 1248"/>
                    <a:gd name="T72" fmla="*/ 788 w 1544"/>
                    <a:gd name="T73" fmla="*/ 1131 h 1248"/>
                    <a:gd name="T74" fmla="*/ 722 w 1544"/>
                    <a:gd name="T75" fmla="*/ 1111 h 1248"/>
                    <a:gd name="T76" fmla="*/ 623 w 1544"/>
                    <a:gd name="T77" fmla="*/ 1075 h 1248"/>
                    <a:gd name="T78" fmla="*/ 630 w 1544"/>
                    <a:gd name="T79" fmla="*/ 1078 h 1248"/>
                    <a:gd name="T80" fmla="*/ 504 w 1544"/>
                    <a:gd name="T81" fmla="*/ 1015 h 1248"/>
                    <a:gd name="T82" fmla="*/ 390 w 1544"/>
                    <a:gd name="T83" fmla="*/ 939 h 1248"/>
                    <a:gd name="T84" fmla="*/ 220 w 1544"/>
                    <a:gd name="T85" fmla="*/ 771 h 1248"/>
                    <a:gd name="T86" fmla="*/ 115 w 1544"/>
                    <a:gd name="T87" fmla="*/ 590 h 1248"/>
                    <a:gd name="T88" fmla="*/ 66 w 1544"/>
                    <a:gd name="T89" fmla="*/ 405 h 1248"/>
                    <a:gd name="T90" fmla="*/ 67 w 1544"/>
                    <a:gd name="T91" fmla="*/ 412 h 1248"/>
                    <a:gd name="T92" fmla="*/ 56 w 1544"/>
                    <a:gd name="T93" fmla="*/ 242 h 1248"/>
                    <a:gd name="T94" fmla="*/ 69 w 1544"/>
                    <a:gd name="T95" fmla="*/ 80 h 1248"/>
                    <a:gd name="T96" fmla="*/ 69 w 1544"/>
                    <a:gd name="T97" fmla="*/ 81 h 1248"/>
                    <a:gd name="T98" fmla="*/ 70 w 1544"/>
                    <a:gd name="T99" fmla="*/ 76 h 1248"/>
                    <a:gd name="T100" fmla="*/ 70 w 1544"/>
                    <a:gd name="T101" fmla="*/ 78 h 1248"/>
                    <a:gd name="T102" fmla="*/ 70 w 1544"/>
                    <a:gd name="T103" fmla="*/ 75 h 1248"/>
                    <a:gd name="T104" fmla="*/ 70 w 1544"/>
                    <a:gd name="T105" fmla="*/ 76 h 1248"/>
                    <a:gd name="T106" fmla="*/ 74 w 1544"/>
                    <a:gd name="T107" fmla="*/ 47 h 1248"/>
                    <a:gd name="T108" fmla="*/ 59 w 1544"/>
                    <a:gd name="T109" fmla="*/ 33 h 1248"/>
                    <a:gd name="T110" fmla="*/ 38 w 1544"/>
                    <a:gd name="T111" fmla="*/ 12 h 1248"/>
                    <a:gd name="T112" fmla="*/ 26 w 1544"/>
                    <a:gd name="T113" fmla="*/ 0 h 1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44" h="1248">
                      <a:moveTo>
                        <a:pt x="115" y="590"/>
                      </a:moveTo>
                      <a:lnTo>
                        <a:pt x="115" y="590"/>
                      </a:lnTo>
                      <a:cubicBezTo>
                        <a:pt x="115" y="592"/>
                        <a:pt x="116" y="594"/>
                        <a:pt x="117" y="597"/>
                      </a:cubicBezTo>
                      <a:lnTo>
                        <a:pt x="117" y="597"/>
                      </a:lnTo>
                      <a:cubicBezTo>
                        <a:pt x="116" y="594"/>
                        <a:pt x="115" y="592"/>
                        <a:pt x="115" y="590"/>
                      </a:cubicBezTo>
                      <a:close/>
                      <a:moveTo>
                        <a:pt x="8" y="130"/>
                      </a:moveTo>
                      <a:lnTo>
                        <a:pt x="8" y="130"/>
                      </a:lnTo>
                      <a:cubicBezTo>
                        <a:pt x="2" y="188"/>
                        <a:pt x="0" y="247"/>
                        <a:pt x="2" y="305"/>
                      </a:cubicBezTo>
                      <a:lnTo>
                        <a:pt x="2" y="305"/>
                      </a:lnTo>
                      <a:cubicBezTo>
                        <a:pt x="5" y="365"/>
                        <a:pt x="10" y="425"/>
                        <a:pt x="23" y="484"/>
                      </a:cubicBezTo>
                      <a:lnTo>
                        <a:pt x="23" y="484"/>
                      </a:lnTo>
                      <a:cubicBezTo>
                        <a:pt x="35" y="542"/>
                        <a:pt x="55" y="597"/>
                        <a:pt x="80" y="650"/>
                      </a:cubicBezTo>
                      <a:lnTo>
                        <a:pt x="80" y="650"/>
                      </a:lnTo>
                      <a:cubicBezTo>
                        <a:pt x="129" y="754"/>
                        <a:pt x="200" y="845"/>
                        <a:pt x="284" y="922"/>
                      </a:cubicBezTo>
                      <a:lnTo>
                        <a:pt x="284" y="922"/>
                      </a:lnTo>
                      <a:cubicBezTo>
                        <a:pt x="325" y="961"/>
                        <a:pt x="371" y="996"/>
                        <a:pt x="418" y="1028"/>
                      </a:cubicBezTo>
                      <a:lnTo>
                        <a:pt x="418" y="1028"/>
                      </a:lnTo>
                      <a:cubicBezTo>
                        <a:pt x="466" y="1061"/>
                        <a:pt x="518" y="1088"/>
                        <a:pt x="571" y="1112"/>
                      </a:cubicBezTo>
                      <a:lnTo>
                        <a:pt x="571" y="1112"/>
                      </a:lnTo>
                      <a:cubicBezTo>
                        <a:pt x="624" y="1136"/>
                        <a:pt x="678" y="1157"/>
                        <a:pt x="735" y="1173"/>
                      </a:cubicBezTo>
                      <a:lnTo>
                        <a:pt x="735" y="1173"/>
                      </a:lnTo>
                      <a:cubicBezTo>
                        <a:pt x="760" y="1181"/>
                        <a:pt x="786" y="1187"/>
                        <a:pt x="813" y="1194"/>
                      </a:cubicBezTo>
                      <a:lnTo>
                        <a:pt x="813" y="1194"/>
                      </a:lnTo>
                      <a:cubicBezTo>
                        <a:pt x="835" y="1199"/>
                        <a:pt x="856" y="1204"/>
                        <a:pt x="877" y="1210"/>
                      </a:cubicBezTo>
                      <a:lnTo>
                        <a:pt x="877" y="1210"/>
                      </a:lnTo>
                      <a:cubicBezTo>
                        <a:pt x="883" y="1211"/>
                        <a:pt x="889" y="1212"/>
                        <a:pt x="895" y="1213"/>
                      </a:cubicBezTo>
                      <a:lnTo>
                        <a:pt x="895" y="1213"/>
                      </a:lnTo>
                      <a:cubicBezTo>
                        <a:pt x="910" y="1216"/>
                        <a:pt x="924" y="1219"/>
                        <a:pt x="939" y="1222"/>
                      </a:cubicBezTo>
                      <a:lnTo>
                        <a:pt x="939" y="1222"/>
                      </a:lnTo>
                      <a:cubicBezTo>
                        <a:pt x="950" y="1223"/>
                        <a:pt x="960" y="1226"/>
                        <a:pt x="971" y="1227"/>
                      </a:cubicBezTo>
                      <a:lnTo>
                        <a:pt x="971" y="1227"/>
                      </a:lnTo>
                      <a:cubicBezTo>
                        <a:pt x="991" y="1232"/>
                        <a:pt x="1012" y="1234"/>
                        <a:pt x="1032" y="1237"/>
                      </a:cubicBezTo>
                      <a:lnTo>
                        <a:pt x="1032" y="1237"/>
                      </a:lnTo>
                      <a:cubicBezTo>
                        <a:pt x="1092" y="1244"/>
                        <a:pt x="1151" y="1247"/>
                        <a:pt x="1210" y="1243"/>
                      </a:cubicBezTo>
                      <a:lnTo>
                        <a:pt x="1210" y="1243"/>
                      </a:lnTo>
                      <a:cubicBezTo>
                        <a:pt x="1268" y="1240"/>
                        <a:pt x="1325" y="1230"/>
                        <a:pt x="1383" y="1217"/>
                      </a:cubicBezTo>
                      <a:lnTo>
                        <a:pt x="1383" y="1217"/>
                      </a:lnTo>
                      <a:cubicBezTo>
                        <a:pt x="1437" y="1203"/>
                        <a:pt x="1491" y="1184"/>
                        <a:pt x="1543" y="1162"/>
                      </a:cubicBezTo>
                      <a:lnTo>
                        <a:pt x="1543" y="1162"/>
                      </a:lnTo>
                      <a:cubicBezTo>
                        <a:pt x="1533" y="1156"/>
                        <a:pt x="1523" y="1149"/>
                        <a:pt x="1513" y="1142"/>
                      </a:cubicBezTo>
                      <a:lnTo>
                        <a:pt x="1513" y="1142"/>
                      </a:lnTo>
                      <a:cubicBezTo>
                        <a:pt x="1504" y="1136"/>
                        <a:pt x="1496" y="1131"/>
                        <a:pt x="1488" y="1124"/>
                      </a:cubicBezTo>
                      <a:lnTo>
                        <a:pt x="1488" y="1124"/>
                      </a:lnTo>
                      <a:cubicBezTo>
                        <a:pt x="1418" y="1152"/>
                        <a:pt x="1345" y="1171"/>
                        <a:pt x="1270" y="1182"/>
                      </a:cubicBezTo>
                      <a:lnTo>
                        <a:pt x="1270" y="1182"/>
                      </a:lnTo>
                      <a:cubicBezTo>
                        <a:pt x="1229" y="1187"/>
                        <a:pt x="1188" y="1190"/>
                        <a:pt x="1148" y="1189"/>
                      </a:cubicBezTo>
                      <a:lnTo>
                        <a:pt x="1148" y="1189"/>
                      </a:lnTo>
                      <a:cubicBezTo>
                        <a:pt x="1107" y="1189"/>
                        <a:pt x="1066" y="1185"/>
                        <a:pt x="1025" y="1180"/>
                      </a:cubicBezTo>
                      <a:lnTo>
                        <a:pt x="1025" y="1180"/>
                      </a:lnTo>
                      <a:cubicBezTo>
                        <a:pt x="1025" y="1180"/>
                        <a:pt x="1025" y="1180"/>
                        <a:pt x="1026" y="1180"/>
                      </a:cubicBezTo>
                      <a:lnTo>
                        <a:pt x="1026" y="1180"/>
                      </a:lnTo>
                      <a:cubicBezTo>
                        <a:pt x="1025" y="1180"/>
                        <a:pt x="1025" y="1180"/>
                        <a:pt x="1025" y="1180"/>
                      </a:cubicBez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4" y="1180"/>
                      </a:lnTo>
                      <a:lnTo>
                        <a:pt x="1024" y="1180"/>
                      </a:lnTo>
                      <a:cubicBezTo>
                        <a:pt x="1023" y="1180"/>
                        <a:pt x="1022" y="1179"/>
                        <a:pt x="1021" y="1179"/>
                      </a:cubicBez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cubicBezTo>
                        <a:pt x="1020" y="1179"/>
                        <a:pt x="1019" y="1179"/>
                        <a:pt x="1018" y="1179"/>
                      </a:cubicBezTo>
                      <a:lnTo>
                        <a:pt x="1018" y="1179"/>
                      </a:lnTo>
                      <a:lnTo>
                        <a:pt x="1019" y="1179"/>
                      </a:lnTo>
                      <a:lnTo>
                        <a:pt x="1019" y="1179"/>
                      </a:lnTo>
                      <a:cubicBezTo>
                        <a:pt x="989" y="1174"/>
                        <a:pt x="959" y="1169"/>
                        <a:pt x="929" y="1163"/>
                      </a:cubicBezTo>
                      <a:lnTo>
                        <a:pt x="929" y="1163"/>
                      </a:lnTo>
                      <a:cubicBezTo>
                        <a:pt x="910" y="1159"/>
                        <a:pt x="892" y="1156"/>
                        <a:pt x="874" y="1152"/>
                      </a:cubicBezTo>
                      <a:lnTo>
                        <a:pt x="874" y="1152"/>
                      </a:lnTo>
                      <a:cubicBezTo>
                        <a:pt x="845" y="1144"/>
                        <a:pt x="816" y="1138"/>
                        <a:pt x="788" y="1131"/>
                      </a:cubicBezTo>
                      <a:lnTo>
                        <a:pt x="788" y="1131"/>
                      </a:lnTo>
                      <a:cubicBezTo>
                        <a:pt x="765" y="1124"/>
                        <a:pt x="744" y="1118"/>
                        <a:pt x="722" y="1111"/>
                      </a:cubicBezTo>
                      <a:lnTo>
                        <a:pt x="722" y="1111"/>
                      </a:lnTo>
                      <a:cubicBezTo>
                        <a:pt x="688" y="1101"/>
                        <a:pt x="655" y="1088"/>
                        <a:pt x="623" y="1075"/>
                      </a:cubicBezTo>
                      <a:lnTo>
                        <a:pt x="623" y="1075"/>
                      </a:lnTo>
                      <a:cubicBezTo>
                        <a:pt x="625" y="1076"/>
                        <a:pt x="628" y="1076"/>
                        <a:pt x="630" y="1078"/>
                      </a:cubicBezTo>
                      <a:lnTo>
                        <a:pt x="630" y="1078"/>
                      </a:lnTo>
                      <a:cubicBezTo>
                        <a:pt x="587" y="1059"/>
                        <a:pt x="544" y="1039"/>
                        <a:pt x="504" y="1015"/>
                      </a:cubicBezTo>
                      <a:lnTo>
                        <a:pt x="504" y="1015"/>
                      </a:lnTo>
                      <a:cubicBezTo>
                        <a:pt x="464" y="992"/>
                        <a:pt x="426" y="967"/>
                        <a:pt x="390" y="939"/>
                      </a:cubicBezTo>
                      <a:lnTo>
                        <a:pt x="390" y="939"/>
                      </a:lnTo>
                      <a:cubicBezTo>
                        <a:pt x="327" y="890"/>
                        <a:pt x="269" y="834"/>
                        <a:pt x="220" y="771"/>
                      </a:cubicBezTo>
                      <a:lnTo>
                        <a:pt x="220" y="771"/>
                      </a:lnTo>
                      <a:cubicBezTo>
                        <a:pt x="177" y="715"/>
                        <a:pt x="142" y="654"/>
                        <a:pt x="115" y="590"/>
                      </a:cubicBezTo>
                      <a:lnTo>
                        <a:pt x="115" y="590"/>
                      </a:lnTo>
                      <a:cubicBezTo>
                        <a:pt x="90" y="530"/>
                        <a:pt x="75" y="469"/>
                        <a:pt x="66" y="405"/>
                      </a:cubicBezTo>
                      <a:lnTo>
                        <a:pt x="66" y="405"/>
                      </a:lnTo>
                      <a:cubicBezTo>
                        <a:pt x="66" y="407"/>
                        <a:pt x="66" y="410"/>
                        <a:pt x="67" y="412"/>
                      </a:cubicBezTo>
                      <a:lnTo>
                        <a:pt x="67" y="412"/>
                      </a:lnTo>
                      <a:cubicBezTo>
                        <a:pt x="60" y="356"/>
                        <a:pt x="56" y="300"/>
                        <a:pt x="56" y="242"/>
                      </a:cubicBezTo>
                      <a:lnTo>
                        <a:pt x="56" y="242"/>
                      </a:lnTo>
                      <a:cubicBezTo>
                        <a:pt x="57" y="188"/>
                        <a:pt x="62" y="134"/>
                        <a:pt x="69" y="80"/>
                      </a:cubicBezTo>
                      <a:lnTo>
                        <a:pt x="69" y="80"/>
                      </a:lnTo>
                      <a:lnTo>
                        <a:pt x="69" y="81"/>
                      </a:lnTo>
                      <a:lnTo>
                        <a:pt x="69" y="81"/>
                      </a:lnTo>
                      <a:cubicBezTo>
                        <a:pt x="69" y="80"/>
                        <a:pt x="69" y="78"/>
                        <a:pt x="70" y="76"/>
                      </a:cubicBezTo>
                      <a:lnTo>
                        <a:pt x="70" y="76"/>
                      </a:lnTo>
                      <a:cubicBezTo>
                        <a:pt x="70" y="77"/>
                        <a:pt x="70" y="77"/>
                        <a:pt x="70" y="78"/>
                      </a:cubicBezTo>
                      <a:lnTo>
                        <a:pt x="70" y="78"/>
                      </a:lnTo>
                      <a:cubicBezTo>
                        <a:pt x="70" y="77"/>
                        <a:pt x="70" y="76"/>
                        <a:pt x="70" y="76"/>
                      </a:cubicBezTo>
                      <a:lnTo>
                        <a:pt x="70" y="75"/>
                      </a:lnTo>
                      <a:lnTo>
                        <a:pt x="70" y="76"/>
                      </a:lnTo>
                      <a:lnTo>
                        <a:pt x="70" y="76"/>
                      </a:lnTo>
                      <a:cubicBezTo>
                        <a:pt x="71" y="66"/>
                        <a:pt x="73" y="57"/>
                        <a:pt x="74" y="47"/>
                      </a:cubicBezTo>
                      <a:lnTo>
                        <a:pt x="74" y="47"/>
                      </a:lnTo>
                      <a:cubicBezTo>
                        <a:pt x="69" y="43"/>
                        <a:pt x="64" y="38"/>
                        <a:pt x="59" y="33"/>
                      </a:cubicBezTo>
                      <a:lnTo>
                        <a:pt x="59" y="33"/>
                      </a:lnTo>
                      <a:cubicBezTo>
                        <a:pt x="52" y="26"/>
                        <a:pt x="45" y="19"/>
                        <a:pt x="38" y="12"/>
                      </a:cubicBezTo>
                      <a:lnTo>
                        <a:pt x="38" y="12"/>
                      </a:lnTo>
                      <a:cubicBezTo>
                        <a:pt x="33" y="8"/>
                        <a:pt x="30" y="4"/>
                        <a:pt x="26" y="0"/>
                      </a:cubicBezTo>
                      <a:lnTo>
                        <a:pt x="26" y="0"/>
                      </a:lnTo>
                      <a:cubicBezTo>
                        <a:pt x="18" y="43"/>
                        <a:pt x="12" y="87"/>
                        <a:pt x="8" y="1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397">
                  <a:extLst>
                    <a:ext uri="{FF2B5EF4-FFF2-40B4-BE49-F238E27FC236}">
                      <a16:creationId xmlns:a16="http://schemas.microsoft.com/office/drawing/2014/main" id="{680E1689-139D-D84E-A967-E658AC73E1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2838" y="4845050"/>
                  <a:ext cx="1587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398">
                  <a:extLst>
                    <a:ext uri="{FF2B5EF4-FFF2-40B4-BE49-F238E27FC236}">
                      <a16:creationId xmlns:a16="http://schemas.microsoft.com/office/drawing/2014/main" id="{90493743-44DD-5940-A7E7-EFF1E9BB65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6013" y="4845050"/>
                  <a:ext cx="1587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399">
                  <a:extLst>
                    <a:ext uri="{FF2B5EF4-FFF2-40B4-BE49-F238E27FC236}">
                      <a16:creationId xmlns:a16="http://schemas.microsoft.com/office/drawing/2014/main" id="{8D03C4B6-2E34-6749-9AB9-E813EE1EA1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200" y="4054475"/>
                  <a:ext cx="1588" cy="1588"/>
                </a:xfrm>
                <a:custGeom>
                  <a:avLst/>
                  <a:gdLst>
                    <a:gd name="T0" fmla="*/ 0 w 5"/>
                    <a:gd name="T1" fmla="*/ 2 h 3"/>
                    <a:gd name="T2" fmla="*/ 0 w 5"/>
                    <a:gd name="T3" fmla="*/ 2 h 3"/>
                    <a:gd name="T4" fmla="*/ 4 w 5"/>
                    <a:gd name="T5" fmla="*/ 0 h 3"/>
                    <a:gd name="T6" fmla="*/ 4 w 5"/>
                    <a:gd name="T7" fmla="*/ 0 h 3"/>
                    <a:gd name="T8" fmla="*/ 0 w 5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1" y="2"/>
                        <a:pt x="3" y="1"/>
                        <a:pt x="4" y="0"/>
                      </a:cubicBezTo>
                      <a:lnTo>
                        <a:pt x="4" y="0"/>
                      </a:lnTo>
                      <a:cubicBezTo>
                        <a:pt x="3" y="1"/>
                        <a:pt x="1" y="2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400">
                  <a:extLst>
                    <a:ext uri="{FF2B5EF4-FFF2-40B4-BE49-F238E27FC236}">
                      <a16:creationId xmlns:a16="http://schemas.microsoft.com/office/drawing/2014/main" id="{3104E4EA-3A2C-B24E-9ADF-9A67DC7C5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1 w 2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401">
                  <a:extLst>
                    <a:ext uri="{FF2B5EF4-FFF2-40B4-BE49-F238E27FC236}">
                      <a16:creationId xmlns:a16="http://schemas.microsoft.com/office/drawing/2014/main" id="{01643D62-5735-8946-9144-E11A976477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402">
                  <a:extLst>
                    <a:ext uri="{FF2B5EF4-FFF2-40B4-BE49-F238E27FC236}">
                      <a16:creationId xmlns:a16="http://schemas.microsoft.com/office/drawing/2014/main" id="{B6961636-73F3-8D41-9A74-B76096D171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  <a:gd name="T10" fmla="*/ 0 w 2"/>
                    <a:gd name="T11" fmla="*/ 0 h 2"/>
                    <a:gd name="T12" fmla="*/ 1 w 2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1"/>
                        <a:pt x="0" y="1"/>
                        <a:pt x="0" y="0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403">
                  <a:extLst>
                    <a:ext uri="{FF2B5EF4-FFF2-40B4-BE49-F238E27FC236}">
                      <a16:creationId xmlns:a16="http://schemas.microsoft.com/office/drawing/2014/main" id="{58B11791-17B5-4244-A6BF-A6E318FB7F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4"/>
                    <a:gd name="T1" fmla="*/ 1 h 5"/>
                    <a:gd name="T2" fmla="*/ 0 w 4"/>
                    <a:gd name="T3" fmla="*/ 1 h 5"/>
                    <a:gd name="T4" fmla="*/ 3 w 4"/>
                    <a:gd name="T5" fmla="*/ 4 h 5"/>
                    <a:gd name="T6" fmla="*/ 3 w 4"/>
                    <a:gd name="T7" fmla="*/ 4 h 5"/>
                    <a:gd name="T8" fmla="*/ 3 w 4"/>
                    <a:gd name="T9" fmla="*/ 4 h 5"/>
                    <a:gd name="T10" fmla="*/ 3 w 4"/>
                    <a:gd name="T11" fmla="*/ 4 h 5"/>
                    <a:gd name="T12" fmla="*/ 0 w 4"/>
                    <a:gd name="T13" fmla="*/ 0 h 5"/>
                    <a:gd name="T14" fmla="*/ 0 w 4"/>
                    <a:gd name="T15" fmla="*/ 0 h 5"/>
                    <a:gd name="T16" fmla="*/ 0 w 4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lnTo>
                        <a:pt x="0" y="1"/>
                      </a:lnTo>
                      <a:cubicBezTo>
                        <a:pt x="1" y="2"/>
                        <a:pt x="2" y="3"/>
                        <a:pt x="3" y="4"/>
                      </a:cubicBez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ubicBezTo>
                        <a:pt x="2" y="3"/>
                        <a:pt x="1" y="1"/>
                        <a:pt x="0" y="0"/>
                      </a:cubicBez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404">
                  <a:extLst>
                    <a:ext uri="{FF2B5EF4-FFF2-40B4-BE49-F238E27FC236}">
                      <a16:creationId xmlns:a16="http://schemas.microsoft.com/office/drawing/2014/main" id="{1998756E-F517-D94E-9770-A2D760A648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405">
                  <a:extLst>
                    <a:ext uri="{FF2B5EF4-FFF2-40B4-BE49-F238E27FC236}">
                      <a16:creationId xmlns:a16="http://schemas.microsoft.com/office/drawing/2014/main" id="{AC8431CA-40E6-DE4C-AB0E-9CE863A6AE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406">
                  <a:extLst>
                    <a:ext uri="{FF2B5EF4-FFF2-40B4-BE49-F238E27FC236}">
                      <a16:creationId xmlns:a16="http://schemas.microsoft.com/office/drawing/2014/main" id="{44C0C251-B3F8-614A-8F12-AEB4AFDBF1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1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0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0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407">
                  <a:extLst>
                    <a:ext uri="{FF2B5EF4-FFF2-40B4-BE49-F238E27FC236}">
                      <a16:creationId xmlns:a16="http://schemas.microsoft.com/office/drawing/2014/main" id="{E60CA36E-08A4-C940-BD94-9A9915DAB3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408">
                  <a:extLst>
                    <a:ext uri="{FF2B5EF4-FFF2-40B4-BE49-F238E27FC236}">
                      <a16:creationId xmlns:a16="http://schemas.microsoft.com/office/drawing/2014/main" id="{B0DF28DF-F953-2B45-8411-6CAB27B9BC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7325" y="4157663"/>
                  <a:ext cx="1588" cy="1587"/>
                </a:xfrm>
                <a:custGeom>
                  <a:avLst/>
                  <a:gdLst>
                    <a:gd name="T0" fmla="*/ 1 w 2"/>
                    <a:gd name="T1" fmla="*/ 2 h 3"/>
                    <a:gd name="T2" fmla="*/ 1 w 2"/>
                    <a:gd name="T3" fmla="*/ 2 h 3"/>
                    <a:gd name="T4" fmla="*/ 1 w 2"/>
                    <a:gd name="T5" fmla="*/ 2 h 3"/>
                    <a:gd name="T6" fmla="*/ 1 w 2"/>
                    <a:gd name="T7" fmla="*/ 2 h 3"/>
                    <a:gd name="T8" fmla="*/ 0 w 2"/>
                    <a:gd name="T9" fmla="*/ 0 h 3"/>
                    <a:gd name="T10" fmla="*/ 0 w 2"/>
                    <a:gd name="T11" fmla="*/ 0 h 3"/>
                    <a:gd name="T12" fmla="*/ 1 w 2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1"/>
                        <a:pt x="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409">
                  <a:extLst>
                    <a:ext uri="{FF2B5EF4-FFF2-40B4-BE49-F238E27FC236}">
                      <a16:creationId xmlns:a16="http://schemas.microsoft.com/office/drawing/2014/main" id="{76CDC885-809C-684F-9BB0-3CDC1E8095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11525" y="4448175"/>
                  <a:ext cx="1588" cy="1588"/>
                </a:xfrm>
                <a:custGeom>
                  <a:avLst/>
                  <a:gdLst>
                    <a:gd name="T0" fmla="*/ 0 w 2"/>
                    <a:gd name="T1" fmla="*/ 2 h 3"/>
                    <a:gd name="T2" fmla="*/ 0 w 2"/>
                    <a:gd name="T3" fmla="*/ 2 h 3"/>
                    <a:gd name="T4" fmla="*/ 1 w 2"/>
                    <a:gd name="T5" fmla="*/ 0 h 3"/>
                    <a:gd name="T6" fmla="*/ 1 w 2"/>
                    <a:gd name="T7" fmla="*/ 0 h 3"/>
                    <a:gd name="T8" fmla="*/ 0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0" y="1"/>
                        <a:pt x="1" y="1"/>
                        <a:pt x="1" y="0"/>
                      </a:cubicBezTo>
                      <a:lnTo>
                        <a:pt x="1" y="0"/>
                      </a:lnTo>
                      <a:cubicBezTo>
                        <a:pt x="1" y="1"/>
                        <a:pt x="0" y="1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410">
                  <a:extLst>
                    <a:ext uri="{FF2B5EF4-FFF2-40B4-BE49-F238E27FC236}">
                      <a16:creationId xmlns:a16="http://schemas.microsoft.com/office/drawing/2014/main" id="{2C2FDB69-E9A8-7F4C-AF72-3609D4F388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1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411">
                  <a:extLst>
                    <a:ext uri="{FF2B5EF4-FFF2-40B4-BE49-F238E27FC236}">
                      <a16:creationId xmlns:a16="http://schemas.microsoft.com/office/drawing/2014/main" id="{9E32F6D5-0B68-8D41-A784-3659E98D62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412">
                  <a:extLst>
                    <a:ext uri="{FF2B5EF4-FFF2-40B4-BE49-F238E27FC236}">
                      <a16:creationId xmlns:a16="http://schemas.microsoft.com/office/drawing/2014/main" id="{EB367F8D-AE10-1744-ADBF-898768437D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413">
                  <a:extLst>
                    <a:ext uri="{FF2B5EF4-FFF2-40B4-BE49-F238E27FC236}">
                      <a16:creationId xmlns:a16="http://schemas.microsoft.com/office/drawing/2014/main" id="{00F8264C-E3A7-E34F-9128-14D989D9BD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2 w 3"/>
                    <a:gd name="T1" fmla="*/ 1 h 2"/>
                    <a:gd name="T2" fmla="*/ 2 w 3"/>
                    <a:gd name="T3" fmla="*/ 1 h 2"/>
                    <a:gd name="T4" fmla="*/ 0 w 3"/>
                    <a:gd name="T5" fmla="*/ 0 h 2"/>
                    <a:gd name="T6" fmla="*/ 0 w 3"/>
                    <a:gd name="T7" fmla="*/ 0 h 2"/>
                    <a:gd name="T8" fmla="*/ 2 w 3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2" y="1"/>
                      </a:moveTo>
                      <a:lnTo>
                        <a:pt x="2" y="1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1"/>
                        <a:pt x="1" y="1"/>
                        <a:pt x="2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414">
                  <a:extLst>
                    <a:ext uri="{FF2B5EF4-FFF2-40B4-BE49-F238E27FC236}">
                      <a16:creationId xmlns:a16="http://schemas.microsoft.com/office/drawing/2014/main" id="{2616DDD0-18C1-9A4F-B528-2527E94932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415">
                  <a:extLst>
                    <a:ext uri="{FF2B5EF4-FFF2-40B4-BE49-F238E27FC236}">
                      <a16:creationId xmlns:a16="http://schemas.microsoft.com/office/drawing/2014/main" id="{241A8D7E-FA48-E24A-828D-70E93E5D9B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416">
                  <a:extLst>
                    <a:ext uri="{FF2B5EF4-FFF2-40B4-BE49-F238E27FC236}">
                      <a16:creationId xmlns:a16="http://schemas.microsoft.com/office/drawing/2014/main" id="{E1BB0053-7840-AA46-A421-D92F79224C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48000" y="3948113"/>
                  <a:ext cx="1216025" cy="1081087"/>
                </a:xfrm>
                <a:custGeom>
                  <a:avLst/>
                  <a:gdLst>
                    <a:gd name="T0" fmla="*/ 221 w 3378"/>
                    <a:gd name="T1" fmla="*/ 0 h 3001"/>
                    <a:gd name="T2" fmla="*/ 18 w 3378"/>
                    <a:gd name="T3" fmla="*/ 168 h 3001"/>
                    <a:gd name="T4" fmla="*/ 84 w 3378"/>
                    <a:gd name="T5" fmla="*/ 588 h 3001"/>
                    <a:gd name="T6" fmla="*/ 415 w 3378"/>
                    <a:gd name="T7" fmla="*/ 1088 h 3001"/>
                    <a:gd name="T8" fmla="*/ 536 w 3378"/>
                    <a:gd name="T9" fmla="*/ 1228 h 3001"/>
                    <a:gd name="T10" fmla="*/ 793 w 3378"/>
                    <a:gd name="T11" fmla="*/ 1496 h 3001"/>
                    <a:gd name="T12" fmla="*/ 991 w 3378"/>
                    <a:gd name="T13" fmla="*/ 1684 h 3001"/>
                    <a:gd name="T14" fmla="*/ 1164 w 3378"/>
                    <a:gd name="T15" fmla="*/ 1827 h 3001"/>
                    <a:gd name="T16" fmla="*/ 1689 w 3378"/>
                    <a:gd name="T17" fmla="*/ 2203 h 3001"/>
                    <a:gd name="T18" fmla="*/ 1996 w 3378"/>
                    <a:gd name="T19" fmla="*/ 2407 h 3001"/>
                    <a:gd name="T20" fmla="*/ 2414 w 3378"/>
                    <a:gd name="T21" fmla="*/ 2653 h 3001"/>
                    <a:gd name="T22" fmla="*/ 2838 w 3378"/>
                    <a:gd name="T23" fmla="*/ 2892 h 3001"/>
                    <a:gd name="T24" fmla="*/ 2946 w 3378"/>
                    <a:gd name="T25" fmla="*/ 2936 h 3001"/>
                    <a:gd name="T26" fmla="*/ 3186 w 3378"/>
                    <a:gd name="T27" fmla="*/ 2992 h 3001"/>
                    <a:gd name="T28" fmla="*/ 3291 w 3378"/>
                    <a:gd name="T29" fmla="*/ 2994 h 3001"/>
                    <a:gd name="T30" fmla="*/ 3375 w 3378"/>
                    <a:gd name="T31" fmla="*/ 2869 h 3001"/>
                    <a:gd name="T32" fmla="*/ 3298 w 3378"/>
                    <a:gd name="T33" fmla="*/ 2608 h 3001"/>
                    <a:gd name="T34" fmla="*/ 3088 w 3378"/>
                    <a:gd name="T35" fmla="*/ 2361 h 3001"/>
                    <a:gd name="T36" fmla="*/ 2828 w 3378"/>
                    <a:gd name="T37" fmla="*/ 2148 h 3001"/>
                    <a:gd name="T38" fmla="*/ 2687 w 3378"/>
                    <a:gd name="T39" fmla="*/ 2069 h 3001"/>
                    <a:gd name="T40" fmla="*/ 2741 w 3378"/>
                    <a:gd name="T41" fmla="*/ 2153 h 3001"/>
                    <a:gd name="T42" fmla="*/ 2986 w 3378"/>
                    <a:gd name="T43" fmla="*/ 2345 h 3001"/>
                    <a:gd name="T44" fmla="*/ 3231 w 3378"/>
                    <a:gd name="T45" fmla="*/ 2607 h 3001"/>
                    <a:gd name="T46" fmla="*/ 3318 w 3378"/>
                    <a:gd name="T47" fmla="*/ 2886 h 3001"/>
                    <a:gd name="T48" fmla="*/ 3296 w 3378"/>
                    <a:gd name="T49" fmla="*/ 2932 h 3001"/>
                    <a:gd name="T50" fmla="*/ 3133 w 3378"/>
                    <a:gd name="T51" fmla="*/ 2928 h 3001"/>
                    <a:gd name="T52" fmla="*/ 3003 w 3378"/>
                    <a:gd name="T53" fmla="*/ 2897 h 3001"/>
                    <a:gd name="T54" fmla="*/ 2829 w 3378"/>
                    <a:gd name="T55" fmla="*/ 2825 h 3001"/>
                    <a:gd name="T56" fmla="*/ 2613 w 3378"/>
                    <a:gd name="T57" fmla="*/ 2706 h 3001"/>
                    <a:gd name="T58" fmla="*/ 2328 w 3378"/>
                    <a:gd name="T59" fmla="*/ 2547 h 3001"/>
                    <a:gd name="T60" fmla="*/ 2264 w 3378"/>
                    <a:gd name="T61" fmla="*/ 2505 h 3001"/>
                    <a:gd name="T62" fmla="*/ 2231 w 3378"/>
                    <a:gd name="T63" fmla="*/ 2490 h 3001"/>
                    <a:gd name="T64" fmla="*/ 2177 w 3378"/>
                    <a:gd name="T65" fmla="*/ 2455 h 3001"/>
                    <a:gd name="T66" fmla="*/ 2040 w 3378"/>
                    <a:gd name="T67" fmla="*/ 2369 h 3001"/>
                    <a:gd name="T68" fmla="*/ 1887 w 3378"/>
                    <a:gd name="T69" fmla="*/ 2273 h 3001"/>
                    <a:gd name="T70" fmla="*/ 1281 w 3378"/>
                    <a:gd name="T71" fmla="*/ 1843 h 3001"/>
                    <a:gd name="T72" fmla="*/ 1060 w 3378"/>
                    <a:gd name="T73" fmla="*/ 1671 h 3001"/>
                    <a:gd name="T74" fmla="*/ 817 w 3378"/>
                    <a:gd name="T75" fmla="*/ 1441 h 3001"/>
                    <a:gd name="T76" fmla="*/ 723 w 3378"/>
                    <a:gd name="T77" fmla="*/ 1346 h 3001"/>
                    <a:gd name="T78" fmla="*/ 665 w 3378"/>
                    <a:gd name="T79" fmla="*/ 1285 h 3001"/>
                    <a:gd name="T80" fmla="*/ 430 w 3378"/>
                    <a:gd name="T81" fmla="*/ 1020 h 3001"/>
                    <a:gd name="T82" fmla="*/ 120 w 3378"/>
                    <a:gd name="T83" fmla="*/ 533 h 3001"/>
                    <a:gd name="T84" fmla="*/ 60 w 3378"/>
                    <a:gd name="T85" fmla="*/ 233 h 3001"/>
                    <a:gd name="T86" fmla="*/ 169 w 3378"/>
                    <a:gd name="T87" fmla="*/ 65 h 3001"/>
                    <a:gd name="T88" fmla="*/ 280 w 3378"/>
                    <a:gd name="T89" fmla="*/ 63 h 3001"/>
                    <a:gd name="T90" fmla="*/ 472 w 3378"/>
                    <a:gd name="T91" fmla="*/ 126 h 3001"/>
                    <a:gd name="T92" fmla="*/ 621 w 3378"/>
                    <a:gd name="T93" fmla="*/ 207 h 3001"/>
                    <a:gd name="T94" fmla="*/ 879 w 3378"/>
                    <a:gd name="T95" fmla="*/ 400 h 3001"/>
                    <a:gd name="T96" fmla="*/ 993 w 3378"/>
                    <a:gd name="T97" fmla="*/ 501 h 3001"/>
                    <a:gd name="T98" fmla="*/ 1069 w 3378"/>
                    <a:gd name="T99" fmla="*/ 497 h 3001"/>
                    <a:gd name="T100" fmla="*/ 894 w 3378"/>
                    <a:gd name="T101" fmla="*/ 340 h 3001"/>
                    <a:gd name="T102" fmla="*/ 613 w 3378"/>
                    <a:gd name="T103" fmla="*/ 137 h 3001"/>
                    <a:gd name="T104" fmla="*/ 499 w 3378"/>
                    <a:gd name="T105" fmla="*/ 76 h 3001"/>
                    <a:gd name="T106" fmla="*/ 359 w 3378"/>
                    <a:gd name="T107" fmla="*/ 24 h 3001"/>
                    <a:gd name="T108" fmla="*/ 221 w 3378"/>
                    <a:gd name="T109" fmla="*/ 0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378" h="3001">
                      <a:moveTo>
                        <a:pt x="207" y="56"/>
                      </a:moveTo>
                      <a:lnTo>
                        <a:pt x="207" y="56"/>
                      </a:lnTo>
                      <a:cubicBezTo>
                        <a:pt x="206" y="56"/>
                        <a:pt x="205" y="56"/>
                        <a:pt x="205" y="56"/>
                      </a:cubicBezTo>
                      <a:lnTo>
                        <a:pt x="205" y="56"/>
                      </a:lnTo>
                      <a:cubicBezTo>
                        <a:pt x="205" y="56"/>
                        <a:pt x="206" y="56"/>
                        <a:pt x="207" y="56"/>
                      </a:cubicBezTo>
                      <a:close/>
                      <a:moveTo>
                        <a:pt x="221" y="0"/>
                      </a:moveTo>
                      <a:lnTo>
                        <a:pt x="221" y="0"/>
                      </a:lnTo>
                      <a:cubicBezTo>
                        <a:pt x="205" y="0"/>
                        <a:pt x="189" y="3"/>
                        <a:pt x="174" y="6"/>
                      </a:cubicBezTo>
                      <a:lnTo>
                        <a:pt x="174" y="6"/>
                      </a:lnTo>
                      <a:cubicBezTo>
                        <a:pt x="150" y="11"/>
                        <a:pt x="128" y="22"/>
                        <a:pt x="108" y="36"/>
                      </a:cubicBezTo>
                      <a:lnTo>
                        <a:pt x="108" y="36"/>
                      </a:lnTo>
                      <a:cubicBezTo>
                        <a:pt x="87" y="53"/>
                        <a:pt x="69" y="73"/>
                        <a:pt x="53" y="95"/>
                      </a:cubicBezTo>
                      <a:lnTo>
                        <a:pt x="53" y="95"/>
                      </a:lnTo>
                      <a:cubicBezTo>
                        <a:pt x="38" y="118"/>
                        <a:pt x="27" y="143"/>
                        <a:pt x="18" y="168"/>
                      </a:cubicBezTo>
                      <a:lnTo>
                        <a:pt x="18" y="168"/>
                      </a:lnTo>
                      <a:cubicBezTo>
                        <a:pt x="9" y="196"/>
                        <a:pt x="4" y="226"/>
                        <a:pt x="3" y="255"/>
                      </a:cubicBezTo>
                      <a:lnTo>
                        <a:pt x="3" y="255"/>
                      </a:lnTo>
                      <a:cubicBezTo>
                        <a:pt x="0" y="313"/>
                        <a:pt x="10" y="370"/>
                        <a:pt x="24" y="426"/>
                      </a:cubicBezTo>
                      <a:lnTo>
                        <a:pt x="24" y="426"/>
                      </a:lnTo>
                      <a:cubicBezTo>
                        <a:pt x="38" y="481"/>
                        <a:pt x="60" y="535"/>
                        <a:pt x="84" y="588"/>
                      </a:cubicBezTo>
                      <a:lnTo>
                        <a:pt x="84" y="588"/>
                      </a:lnTo>
                      <a:cubicBezTo>
                        <a:pt x="107" y="641"/>
                        <a:pt x="135" y="692"/>
                        <a:pt x="165" y="743"/>
                      </a:cubicBezTo>
                      <a:lnTo>
                        <a:pt x="165" y="743"/>
                      </a:lnTo>
                      <a:cubicBezTo>
                        <a:pt x="206" y="811"/>
                        <a:pt x="250" y="876"/>
                        <a:pt x="299" y="940"/>
                      </a:cubicBezTo>
                      <a:lnTo>
                        <a:pt x="299" y="940"/>
                      </a:lnTo>
                      <a:cubicBezTo>
                        <a:pt x="328" y="977"/>
                        <a:pt x="357" y="1015"/>
                        <a:pt x="386" y="1053"/>
                      </a:cubicBezTo>
                      <a:lnTo>
                        <a:pt x="386" y="1053"/>
                      </a:lnTo>
                      <a:cubicBezTo>
                        <a:pt x="395" y="1065"/>
                        <a:pt x="406" y="1076"/>
                        <a:pt x="415" y="1088"/>
                      </a:cubicBezTo>
                      <a:lnTo>
                        <a:pt x="415" y="1088"/>
                      </a:lnTo>
                      <a:cubicBezTo>
                        <a:pt x="434" y="1110"/>
                        <a:pt x="453" y="1133"/>
                        <a:pt x="472" y="1155"/>
                      </a:cubicBezTo>
                      <a:lnTo>
                        <a:pt x="472" y="1155"/>
                      </a:lnTo>
                      <a:cubicBezTo>
                        <a:pt x="484" y="1170"/>
                        <a:pt x="497" y="1184"/>
                        <a:pt x="509" y="1198"/>
                      </a:cubicBezTo>
                      <a:lnTo>
                        <a:pt x="509" y="1198"/>
                      </a:lnTo>
                      <a:cubicBezTo>
                        <a:pt x="518" y="1208"/>
                        <a:pt x="527" y="1218"/>
                        <a:pt x="536" y="1228"/>
                      </a:cubicBezTo>
                      <a:lnTo>
                        <a:pt x="536" y="1228"/>
                      </a:lnTo>
                      <a:cubicBezTo>
                        <a:pt x="567" y="1261"/>
                        <a:pt x="598" y="1295"/>
                        <a:pt x="629" y="1328"/>
                      </a:cubicBezTo>
                      <a:lnTo>
                        <a:pt x="629" y="1328"/>
                      </a:lnTo>
                      <a:cubicBezTo>
                        <a:pt x="640" y="1340"/>
                        <a:pt x="652" y="1352"/>
                        <a:pt x="663" y="1364"/>
                      </a:cubicBezTo>
                      <a:lnTo>
                        <a:pt x="663" y="1364"/>
                      </a:lnTo>
                      <a:cubicBezTo>
                        <a:pt x="684" y="1385"/>
                        <a:pt x="704" y="1406"/>
                        <a:pt x="725" y="1427"/>
                      </a:cubicBezTo>
                      <a:lnTo>
                        <a:pt x="725" y="1427"/>
                      </a:lnTo>
                      <a:cubicBezTo>
                        <a:pt x="747" y="1451"/>
                        <a:pt x="770" y="1474"/>
                        <a:pt x="793" y="1496"/>
                      </a:cubicBezTo>
                      <a:lnTo>
                        <a:pt x="793" y="1496"/>
                      </a:lnTo>
                      <a:cubicBezTo>
                        <a:pt x="814" y="1517"/>
                        <a:pt x="835" y="1538"/>
                        <a:pt x="855" y="1558"/>
                      </a:cubicBezTo>
                      <a:lnTo>
                        <a:pt x="855" y="1558"/>
                      </a:lnTo>
                      <a:cubicBezTo>
                        <a:pt x="866" y="1568"/>
                        <a:pt x="876" y="1580"/>
                        <a:pt x="886" y="1590"/>
                      </a:cubicBezTo>
                      <a:lnTo>
                        <a:pt x="886" y="1590"/>
                      </a:lnTo>
                      <a:cubicBezTo>
                        <a:pt x="922" y="1621"/>
                        <a:pt x="956" y="1652"/>
                        <a:pt x="991" y="1684"/>
                      </a:cubicBezTo>
                      <a:lnTo>
                        <a:pt x="991" y="1684"/>
                      </a:lnTo>
                      <a:cubicBezTo>
                        <a:pt x="1001" y="1694"/>
                        <a:pt x="1012" y="1704"/>
                        <a:pt x="1022" y="1712"/>
                      </a:cubicBezTo>
                      <a:lnTo>
                        <a:pt x="1022" y="1712"/>
                      </a:lnTo>
                      <a:cubicBezTo>
                        <a:pt x="1037" y="1724"/>
                        <a:pt x="1052" y="1736"/>
                        <a:pt x="1066" y="1748"/>
                      </a:cubicBezTo>
                      <a:lnTo>
                        <a:pt x="1066" y="1748"/>
                      </a:lnTo>
                      <a:cubicBezTo>
                        <a:pt x="1089" y="1766"/>
                        <a:pt x="1111" y="1785"/>
                        <a:pt x="1134" y="1803"/>
                      </a:cubicBezTo>
                      <a:lnTo>
                        <a:pt x="1134" y="1803"/>
                      </a:lnTo>
                      <a:cubicBezTo>
                        <a:pt x="1144" y="1811"/>
                        <a:pt x="1154" y="1820"/>
                        <a:pt x="1164" y="1827"/>
                      </a:cubicBezTo>
                      <a:lnTo>
                        <a:pt x="1164" y="1827"/>
                      </a:lnTo>
                      <a:cubicBezTo>
                        <a:pt x="1229" y="1874"/>
                        <a:pt x="1293" y="1921"/>
                        <a:pt x="1358" y="1967"/>
                      </a:cubicBezTo>
                      <a:lnTo>
                        <a:pt x="1358" y="1967"/>
                      </a:lnTo>
                      <a:cubicBezTo>
                        <a:pt x="1426" y="2015"/>
                        <a:pt x="1494" y="2063"/>
                        <a:pt x="1563" y="2112"/>
                      </a:cubicBezTo>
                      <a:lnTo>
                        <a:pt x="1563" y="2112"/>
                      </a:lnTo>
                      <a:cubicBezTo>
                        <a:pt x="1605" y="2142"/>
                        <a:pt x="1647" y="2172"/>
                        <a:pt x="1689" y="2203"/>
                      </a:cubicBezTo>
                      <a:lnTo>
                        <a:pt x="1689" y="2203"/>
                      </a:lnTo>
                      <a:cubicBezTo>
                        <a:pt x="1718" y="2223"/>
                        <a:pt x="1746" y="2242"/>
                        <a:pt x="1774" y="2262"/>
                      </a:cubicBezTo>
                      <a:lnTo>
                        <a:pt x="1774" y="2262"/>
                      </a:lnTo>
                      <a:cubicBezTo>
                        <a:pt x="1796" y="2278"/>
                        <a:pt x="1819" y="2294"/>
                        <a:pt x="1842" y="2310"/>
                      </a:cubicBezTo>
                      <a:lnTo>
                        <a:pt x="1842" y="2310"/>
                      </a:lnTo>
                      <a:cubicBezTo>
                        <a:pt x="1849" y="2315"/>
                        <a:pt x="1857" y="2320"/>
                        <a:pt x="1865" y="2325"/>
                      </a:cubicBezTo>
                      <a:lnTo>
                        <a:pt x="1865" y="2325"/>
                      </a:lnTo>
                      <a:cubicBezTo>
                        <a:pt x="1909" y="2353"/>
                        <a:pt x="1952" y="2380"/>
                        <a:pt x="1996" y="2407"/>
                      </a:cubicBezTo>
                      <a:lnTo>
                        <a:pt x="1996" y="2407"/>
                      </a:lnTo>
                      <a:cubicBezTo>
                        <a:pt x="2027" y="2426"/>
                        <a:pt x="2058" y="2444"/>
                        <a:pt x="2089" y="2462"/>
                      </a:cubicBezTo>
                      <a:lnTo>
                        <a:pt x="2089" y="2462"/>
                      </a:lnTo>
                      <a:cubicBezTo>
                        <a:pt x="2119" y="2479"/>
                        <a:pt x="2149" y="2496"/>
                        <a:pt x="2178" y="2514"/>
                      </a:cubicBezTo>
                      <a:lnTo>
                        <a:pt x="2178" y="2514"/>
                      </a:lnTo>
                      <a:cubicBezTo>
                        <a:pt x="2257" y="2560"/>
                        <a:pt x="2335" y="2606"/>
                        <a:pt x="2414" y="2653"/>
                      </a:cubicBezTo>
                      <a:lnTo>
                        <a:pt x="2414" y="2653"/>
                      </a:lnTo>
                      <a:cubicBezTo>
                        <a:pt x="2478" y="2692"/>
                        <a:pt x="2543" y="2730"/>
                        <a:pt x="2608" y="2768"/>
                      </a:cubicBezTo>
                      <a:lnTo>
                        <a:pt x="2608" y="2768"/>
                      </a:lnTo>
                      <a:cubicBezTo>
                        <a:pt x="2646" y="2789"/>
                        <a:pt x="2684" y="2811"/>
                        <a:pt x="2721" y="2831"/>
                      </a:cubicBezTo>
                      <a:lnTo>
                        <a:pt x="2721" y="2831"/>
                      </a:lnTo>
                      <a:cubicBezTo>
                        <a:pt x="2738" y="2840"/>
                        <a:pt x="2754" y="2849"/>
                        <a:pt x="2771" y="2858"/>
                      </a:cubicBezTo>
                      <a:lnTo>
                        <a:pt x="2771" y="2858"/>
                      </a:lnTo>
                      <a:cubicBezTo>
                        <a:pt x="2794" y="2869"/>
                        <a:pt x="2816" y="2880"/>
                        <a:pt x="2838" y="2892"/>
                      </a:cubicBezTo>
                      <a:lnTo>
                        <a:pt x="2838" y="2892"/>
                      </a:lnTo>
                      <a:cubicBezTo>
                        <a:pt x="2855" y="2900"/>
                        <a:pt x="2873" y="2907"/>
                        <a:pt x="2891" y="2914"/>
                      </a:cubicBezTo>
                      <a:lnTo>
                        <a:pt x="2891" y="2914"/>
                      </a:lnTo>
                      <a:cubicBezTo>
                        <a:pt x="2899" y="2918"/>
                        <a:pt x="2907" y="2921"/>
                        <a:pt x="2915" y="2924"/>
                      </a:cubicBezTo>
                      <a:lnTo>
                        <a:pt x="2915" y="2924"/>
                      </a:lnTo>
                      <a:cubicBezTo>
                        <a:pt x="2925" y="2929"/>
                        <a:pt x="2936" y="2932"/>
                        <a:pt x="2946" y="2936"/>
                      </a:cubicBezTo>
                      <a:lnTo>
                        <a:pt x="2946" y="2936"/>
                      </a:lnTo>
                      <a:cubicBezTo>
                        <a:pt x="2965" y="2942"/>
                        <a:pt x="2983" y="2949"/>
                        <a:pt x="3002" y="2954"/>
                      </a:cubicBezTo>
                      <a:lnTo>
                        <a:pt x="3002" y="2954"/>
                      </a:lnTo>
                      <a:cubicBezTo>
                        <a:pt x="3022" y="2960"/>
                        <a:pt x="3041" y="2966"/>
                        <a:pt x="3062" y="2970"/>
                      </a:cubicBezTo>
                      <a:lnTo>
                        <a:pt x="3062" y="2970"/>
                      </a:lnTo>
                      <a:cubicBezTo>
                        <a:pt x="3083" y="2974"/>
                        <a:pt x="3104" y="2979"/>
                        <a:pt x="3125" y="2983"/>
                      </a:cubicBezTo>
                      <a:lnTo>
                        <a:pt x="3125" y="2983"/>
                      </a:lnTo>
                      <a:cubicBezTo>
                        <a:pt x="3145" y="2986"/>
                        <a:pt x="3166" y="2989"/>
                        <a:pt x="3186" y="2992"/>
                      </a:cubicBezTo>
                      <a:lnTo>
                        <a:pt x="3186" y="2992"/>
                      </a:lnTo>
                      <a:cubicBezTo>
                        <a:pt x="3198" y="2994"/>
                        <a:pt x="3209" y="2995"/>
                        <a:pt x="3220" y="2996"/>
                      </a:cubicBezTo>
                      <a:lnTo>
                        <a:pt x="3220" y="2996"/>
                      </a:lnTo>
                      <a:cubicBezTo>
                        <a:pt x="3228" y="2997"/>
                        <a:pt x="3235" y="2998"/>
                        <a:pt x="3243" y="2999"/>
                      </a:cubicBezTo>
                      <a:lnTo>
                        <a:pt x="3243" y="2999"/>
                      </a:lnTo>
                      <a:cubicBezTo>
                        <a:pt x="3259" y="3000"/>
                        <a:pt x="3275" y="2999"/>
                        <a:pt x="3291" y="2994"/>
                      </a:cubicBezTo>
                      <a:lnTo>
                        <a:pt x="3291" y="2994"/>
                      </a:lnTo>
                      <a:cubicBezTo>
                        <a:pt x="3304" y="2992"/>
                        <a:pt x="3316" y="2986"/>
                        <a:pt x="3326" y="2979"/>
                      </a:cubicBezTo>
                      <a:lnTo>
                        <a:pt x="3326" y="2979"/>
                      </a:lnTo>
                      <a:cubicBezTo>
                        <a:pt x="3337" y="2972"/>
                        <a:pt x="3344" y="2963"/>
                        <a:pt x="3352" y="2953"/>
                      </a:cubicBezTo>
                      <a:lnTo>
                        <a:pt x="3352" y="2953"/>
                      </a:lnTo>
                      <a:cubicBezTo>
                        <a:pt x="3359" y="2942"/>
                        <a:pt x="3364" y="2929"/>
                        <a:pt x="3368" y="2917"/>
                      </a:cubicBezTo>
                      <a:lnTo>
                        <a:pt x="3368" y="2917"/>
                      </a:lnTo>
                      <a:cubicBezTo>
                        <a:pt x="3373" y="2902"/>
                        <a:pt x="3374" y="2885"/>
                        <a:pt x="3375" y="2869"/>
                      </a:cubicBezTo>
                      <a:lnTo>
                        <a:pt x="3375" y="2869"/>
                      </a:lnTo>
                      <a:cubicBezTo>
                        <a:pt x="3377" y="2821"/>
                        <a:pt x="3367" y="2774"/>
                        <a:pt x="3350" y="2728"/>
                      </a:cubicBezTo>
                      <a:lnTo>
                        <a:pt x="3350" y="2728"/>
                      </a:lnTo>
                      <a:cubicBezTo>
                        <a:pt x="3343" y="2708"/>
                        <a:pt x="3336" y="2688"/>
                        <a:pt x="3328" y="2668"/>
                      </a:cubicBezTo>
                      <a:lnTo>
                        <a:pt x="3328" y="2668"/>
                      </a:lnTo>
                      <a:cubicBezTo>
                        <a:pt x="3320" y="2647"/>
                        <a:pt x="3310" y="2627"/>
                        <a:pt x="3298" y="2608"/>
                      </a:cubicBezTo>
                      <a:lnTo>
                        <a:pt x="3298" y="2608"/>
                      </a:lnTo>
                      <a:cubicBezTo>
                        <a:pt x="3292" y="2598"/>
                        <a:pt x="3286" y="2589"/>
                        <a:pt x="3280" y="2579"/>
                      </a:cubicBezTo>
                      <a:lnTo>
                        <a:pt x="3280" y="2579"/>
                      </a:lnTo>
                      <a:cubicBezTo>
                        <a:pt x="3269" y="2563"/>
                        <a:pt x="3257" y="2547"/>
                        <a:pt x="3245" y="2531"/>
                      </a:cubicBezTo>
                      <a:lnTo>
                        <a:pt x="3245" y="2531"/>
                      </a:lnTo>
                      <a:cubicBezTo>
                        <a:pt x="3222" y="2500"/>
                        <a:pt x="3196" y="2471"/>
                        <a:pt x="3170" y="2443"/>
                      </a:cubicBezTo>
                      <a:lnTo>
                        <a:pt x="3170" y="2443"/>
                      </a:lnTo>
                      <a:cubicBezTo>
                        <a:pt x="3143" y="2415"/>
                        <a:pt x="3116" y="2388"/>
                        <a:pt x="3088" y="2361"/>
                      </a:cubicBezTo>
                      <a:lnTo>
                        <a:pt x="3088" y="2361"/>
                      </a:lnTo>
                      <a:cubicBezTo>
                        <a:pt x="3060" y="2335"/>
                        <a:pt x="3031" y="2310"/>
                        <a:pt x="3002" y="2285"/>
                      </a:cubicBezTo>
                      <a:lnTo>
                        <a:pt x="3002" y="2285"/>
                      </a:lnTo>
                      <a:cubicBezTo>
                        <a:pt x="2973" y="2261"/>
                        <a:pt x="2942" y="2238"/>
                        <a:pt x="2912" y="2214"/>
                      </a:cubicBezTo>
                      <a:lnTo>
                        <a:pt x="2912" y="2214"/>
                      </a:lnTo>
                      <a:cubicBezTo>
                        <a:pt x="2883" y="2193"/>
                        <a:pt x="2856" y="2170"/>
                        <a:pt x="2828" y="2148"/>
                      </a:cubicBezTo>
                      <a:lnTo>
                        <a:pt x="2828" y="2148"/>
                      </a:lnTo>
                      <a:cubicBezTo>
                        <a:pt x="2800" y="2126"/>
                        <a:pt x="2772" y="2107"/>
                        <a:pt x="2744" y="2087"/>
                      </a:cubicBezTo>
                      <a:lnTo>
                        <a:pt x="2744" y="2087"/>
                      </a:lnTo>
                      <a:cubicBezTo>
                        <a:pt x="2737" y="2081"/>
                        <a:pt x="2731" y="2076"/>
                        <a:pt x="2726" y="2069"/>
                      </a:cubicBezTo>
                      <a:lnTo>
                        <a:pt x="2726" y="2069"/>
                      </a:lnTo>
                      <a:cubicBezTo>
                        <a:pt x="2722" y="2063"/>
                        <a:pt x="2713" y="2061"/>
                        <a:pt x="2707" y="2061"/>
                      </a:cubicBezTo>
                      <a:lnTo>
                        <a:pt x="2707" y="2061"/>
                      </a:lnTo>
                      <a:cubicBezTo>
                        <a:pt x="2699" y="2061"/>
                        <a:pt x="2692" y="2063"/>
                        <a:pt x="2687" y="2069"/>
                      </a:cubicBezTo>
                      <a:lnTo>
                        <a:pt x="2687" y="2069"/>
                      </a:lnTo>
                      <a:cubicBezTo>
                        <a:pt x="2681" y="2074"/>
                        <a:pt x="2678" y="2081"/>
                        <a:pt x="2678" y="2089"/>
                      </a:cubicBezTo>
                      <a:lnTo>
                        <a:pt x="2678" y="2089"/>
                      </a:lnTo>
                      <a:cubicBezTo>
                        <a:pt x="2678" y="2096"/>
                        <a:pt x="2682" y="2102"/>
                        <a:pt x="2687" y="2108"/>
                      </a:cubicBezTo>
                      <a:lnTo>
                        <a:pt x="2687" y="2108"/>
                      </a:lnTo>
                      <a:cubicBezTo>
                        <a:pt x="2701" y="2127"/>
                        <a:pt x="2722" y="2139"/>
                        <a:pt x="2741" y="2153"/>
                      </a:cubicBezTo>
                      <a:lnTo>
                        <a:pt x="2741" y="2153"/>
                      </a:lnTo>
                      <a:cubicBezTo>
                        <a:pt x="2757" y="2164"/>
                        <a:pt x="2772" y="2176"/>
                        <a:pt x="2788" y="2187"/>
                      </a:cubicBezTo>
                      <a:lnTo>
                        <a:pt x="2788" y="2187"/>
                      </a:lnTo>
                      <a:cubicBezTo>
                        <a:pt x="2807" y="2202"/>
                        <a:pt x="2826" y="2217"/>
                        <a:pt x="2845" y="2232"/>
                      </a:cubicBezTo>
                      <a:lnTo>
                        <a:pt x="2845" y="2232"/>
                      </a:lnTo>
                      <a:cubicBezTo>
                        <a:pt x="2866" y="2249"/>
                        <a:pt x="2887" y="2265"/>
                        <a:pt x="2909" y="2282"/>
                      </a:cubicBezTo>
                      <a:lnTo>
                        <a:pt x="2909" y="2282"/>
                      </a:lnTo>
                      <a:cubicBezTo>
                        <a:pt x="2935" y="2303"/>
                        <a:pt x="2961" y="2323"/>
                        <a:pt x="2986" y="2345"/>
                      </a:cubicBezTo>
                      <a:lnTo>
                        <a:pt x="2986" y="2345"/>
                      </a:lnTo>
                      <a:cubicBezTo>
                        <a:pt x="3013" y="2367"/>
                        <a:pt x="3039" y="2391"/>
                        <a:pt x="3064" y="2415"/>
                      </a:cubicBezTo>
                      <a:lnTo>
                        <a:pt x="3064" y="2415"/>
                      </a:lnTo>
                      <a:cubicBezTo>
                        <a:pt x="3111" y="2460"/>
                        <a:pt x="3157" y="2507"/>
                        <a:pt x="3197" y="2559"/>
                      </a:cubicBezTo>
                      <a:lnTo>
                        <a:pt x="3197" y="2559"/>
                      </a:lnTo>
                      <a:cubicBezTo>
                        <a:pt x="3209" y="2575"/>
                        <a:pt x="3220" y="2591"/>
                        <a:pt x="3231" y="2607"/>
                      </a:cubicBezTo>
                      <a:lnTo>
                        <a:pt x="3231" y="2607"/>
                      </a:lnTo>
                      <a:cubicBezTo>
                        <a:pt x="3248" y="2631"/>
                        <a:pt x="3263" y="2657"/>
                        <a:pt x="3275" y="2684"/>
                      </a:cubicBezTo>
                      <a:lnTo>
                        <a:pt x="3275" y="2684"/>
                      </a:lnTo>
                      <a:cubicBezTo>
                        <a:pt x="3275" y="2685"/>
                        <a:pt x="3275" y="2686"/>
                        <a:pt x="3275" y="2686"/>
                      </a:cubicBezTo>
                      <a:lnTo>
                        <a:pt x="3275" y="2686"/>
                      </a:lnTo>
                      <a:cubicBezTo>
                        <a:pt x="3293" y="2731"/>
                        <a:pt x="3311" y="2776"/>
                        <a:pt x="3318" y="2823"/>
                      </a:cubicBezTo>
                      <a:lnTo>
                        <a:pt x="3318" y="2823"/>
                      </a:lnTo>
                      <a:cubicBezTo>
                        <a:pt x="3320" y="2844"/>
                        <a:pt x="3321" y="2865"/>
                        <a:pt x="3318" y="2886"/>
                      </a:cubicBezTo>
                      <a:lnTo>
                        <a:pt x="3318" y="2886"/>
                      </a:lnTo>
                      <a:cubicBezTo>
                        <a:pt x="3317" y="2894"/>
                        <a:pt x="3314" y="2903"/>
                        <a:pt x="3311" y="2911"/>
                      </a:cubicBezTo>
                      <a:lnTo>
                        <a:pt x="3311" y="2911"/>
                      </a:lnTo>
                      <a:cubicBezTo>
                        <a:pt x="3309" y="2916"/>
                        <a:pt x="3306" y="2921"/>
                        <a:pt x="3302" y="2926"/>
                      </a:cubicBezTo>
                      <a:lnTo>
                        <a:pt x="3302" y="2926"/>
                      </a:lnTo>
                      <a:cubicBezTo>
                        <a:pt x="3301" y="2928"/>
                        <a:pt x="3298" y="2930"/>
                        <a:pt x="3296" y="2932"/>
                      </a:cubicBezTo>
                      <a:lnTo>
                        <a:pt x="3296" y="2932"/>
                      </a:lnTo>
                      <a:cubicBezTo>
                        <a:pt x="3293" y="2934"/>
                        <a:pt x="3289" y="2936"/>
                        <a:pt x="3286" y="2938"/>
                      </a:cubicBezTo>
                      <a:lnTo>
                        <a:pt x="3286" y="2938"/>
                      </a:lnTo>
                      <a:cubicBezTo>
                        <a:pt x="3280" y="2940"/>
                        <a:pt x="3275" y="2942"/>
                        <a:pt x="3268" y="2943"/>
                      </a:cubicBezTo>
                      <a:lnTo>
                        <a:pt x="3268" y="2943"/>
                      </a:lnTo>
                      <a:cubicBezTo>
                        <a:pt x="3245" y="2944"/>
                        <a:pt x="3221" y="2940"/>
                        <a:pt x="3197" y="2938"/>
                      </a:cubicBezTo>
                      <a:lnTo>
                        <a:pt x="3197" y="2938"/>
                      </a:lnTo>
                      <a:cubicBezTo>
                        <a:pt x="3176" y="2934"/>
                        <a:pt x="3154" y="2932"/>
                        <a:pt x="3133" y="2928"/>
                      </a:cubicBezTo>
                      <a:lnTo>
                        <a:pt x="3133" y="2928"/>
                      </a:lnTo>
                      <a:cubicBezTo>
                        <a:pt x="3111" y="2924"/>
                        <a:pt x="3089" y="2919"/>
                        <a:pt x="3066" y="2914"/>
                      </a:cubicBezTo>
                      <a:lnTo>
                        <a:pt x="3066" y="2914"/>
                      </a:lnTo>
                      <a:cubicBezTo>
                        <a:pt x="3056" y="2912"/>
                        <a:pt x="3047" y="2909"/>
                        <a:pt x="3037" y="2906"/>
                      </a:cubicBezTo>
                      <a:lnTo>
                        <a:pt x="3037" y="2906"/>
                      </a:lnTo>
                      <a:cubicBezTo>
                        <a:pt x="3026" y="2903"/>
                        <a:pt x="3014" y="2900"/>
                        <a:pt x="3003" y="2897"/>
                      </a:cubicBezTo>
                      <a:lnTo>
                        <a:pt x="3003" y="2897"/>
                      </a:lnTo>
                      <a:cubicBezTo>
                        <a:pt x="2992" y="2894"/>
                        <a:pt x="2981" y="2889"/>
                        <a:pt x="2971" y="2886"/>
                      </a:cubicBezTo>
                      <a:lnTo>
                        <a:pt x="2971" y="2886"/>
                      </a:lnTo>
                      <a:cubicBezTo>
                        <a:pt x="2960" y="2882"/>
                        <a:pt x="2949" y="2878"/>
                        <a:pt x="2937" y="2874"/>
                      </a:cubicBezTo>
                      <a:lnTo>
                        <a:pt x="2937" y="2874"/>
                      </a:lnTo>
                      <a:cubicBezTo>
                        <a:pt x="2918" y="2866"/>
                        <a:pt x="2899" y="2858"/>
                        <a:pt x="2879" y="2849"/>
                      </a:cubicBezTo>
                      <a:lnTo>
                        <a:pt x="2879" y="2849"/>
                      </a:lnTo>
                      <a:cubicBezTo>
                        <a:pt x="2862" y="2842"/>
                        <a:pt x="2846" y="2833"/>
                        <a:pt x="2829" y="2825"/>
                      </a:cubicBezTo>
                      <a:lnTo>
                        <a:pt x="2829" y="2825"/>
                      </a:lnTo>
                      <a:cubicBezTo>
                        <a:pt x="2815" y="2818"/>
                        <a:pt x="2799" y="2810"/>
                        <a:pt x="2785" y="2802"/>
                      </a:cubicBezTo>
                      <a:lnTo>
                        <a:pt x="2785" y="2802"/>
                      </a:lnTo>
                      <a:cubicBezTo>
                        <a:pt x="2762" y="2790"/>
                        <a:pt x="2739" y="2778"/>
                        <a:pt x="2717" y="2765"/>
                      </a:cubicBezTo>
                      <a:lnTo>
                        <a:pt x="2717" y="2765"/>
                      </a:lnTo>
                      <a:cubicBezTo>
                        <a:pt x="2682" y="2746"/>
                        <a:pt x="2648" y="2726"/>
                        <a:pt x="2613" y="2706"/>
                      </a:cubicBezTo>
                      <a:lnTo>
                        <a:pt x="2613" y="2706"/>
                      </a:lnTo>
                      <a:cubicBezTo>
                        <a:pt x="2575" y="2684"/>
                        <a:pt x="2537" y="2661"/>
                        <a:pt x="2499" y="2639"/>
                      </a:cubicBezTo>
                      <a:lnTo>
                        <a:pt x="2499" y="2639"/>
                      </a:lnTo>
                      <a:cubicBezTo>
                        <a:pt x="2451" y="2611"/>
                        <a:pt x="2405" y="2583"/>
                        <a:pt x="2358" y="2555"/>
                      </a:cubicBezTo>
                      <a:lnTo>
                        <a:pt x="2358" y="2555"/>
                      </a:lnTo>
                      <a:cubicBezTo>
                        <a:pt x="2353" y="2556"/>
                        <a:pt x="2348" y="2556"/>
                        <a:pt x="2344" y="2555"/>
                      </a:cubicBezTo>
                      <a:lnTo>
                        <a:pt x="2344" y="2555"/>
                      </a:lnTo>
                      <a:cubicBezTo>
                        <a:pt x="2338" y="2553"/>
                        <a:pt x="2332" y="2550"/>
                        <a:pt x="2328" y="2547"/>
                      </a:cubicBezTo>
                      <a:lnTo>
                        <a:pt x="2328" y="2547"/>
                      </a:lnTo>
                      <a:cubicBezTo>
                        <a:pt x="2321" y="2543"/>
                        <a:pt x="2315" y="2540"/>
                        <a:pt x="2309" y="2536"/>
                      </a:cubicBezTo>
                      <a:lnTo>
                        <a:pt x="2309" y="2536"/>
                      </a:lnTo>
                      <a:cubicBezTo>
                        <a:pt x="2301" y="2530"/>
                        <a:pt x="2293" y="2526"/>
                        <a:pt x="2286" y="2520"/>
                      </a:cubicBezTo>
                      <a:lnTo>
                        <a:pt x="2286" y="2520"/>
                      </a:lnTo>
                      <a:cubicBezTo>
                        <a:pt x="2279" y="2515"/>
                        <a:pt x="2271" y="2510"/>
                        <a:pt x="2264" y="2505"/>
                      </a:cubicBezTo>
                      <a:lnTo>
                        <a:pt x="2264" y="2505"/>
                      </a:lnTo>
                      <a:cubicBezTo>
                        <a:pt x="2261" y="2503"/>
                        <a:pt x="2258" y="2500"/>
                        <a:pt x="2254" y="2499"/>
                      </a:cubicBezTo>
                      <a:lnTo>
                        <a:pt x="2254" y="2499"/>
                      </a:lnTo>
                      <a:cubicBezTo>
                        <a:pt x="2252" y="2498"/>
                        <a:pt x="2249" y="2497"/>
                        <a:pt x="2246" y="2497"/>
                      </a:cubicBezTo>
                      <a:lnTo>
                        <a:pt x="2246" y="2497"/>
                      </a:lnTo>
                      <a:cubicBezTo>
                        <a:pt x="2244" y="2496"/>
                        <a:pt x="2242" y="2495"/>
                        <a:pt x="2240" y="2495"/>
                      </a:cubicBezTo>
                      <a:lnTo>
                        <a:pt x="2240" y="2495"/>
                      </a:lnTo>
                      <a:cubicBezTo>
                        <a:pt x="2237" y="2494"/>
                        <a:pt x="2234" y="2492"/>
                        <a:pt x="2231" y="2490"/>
                      </a:cubicBezTo>
                      <a:lnTo>
                        <a:pt x="2231" y="2490"/>
                      </a:lnTo>
                      <a:cubicBezTo>
                        <a:pt x="2229" y="2489"/>
                        <a:pt x="2226" y="2487"/>
                        <a:pt x="2223" y="2486"/>
                      </a:cubicBezTo>
                      <a:lnTo>
                        <a:pt x="2223" y="2486"/>
                      </a:lnTo>
                      <a:cubicBezTo>
                        <a:pt x="2218" y="2482"/>
                        <a:pt x="2213" y="2479"/>
                        <a:pt x="2208" y="2476"/>
                      </a:cubicBezTo>
                      <a:lnTo>
                        <a:pt x="2208" y="2476"/>
                      </a:lnTo>
                      <a:cubicBezTo>
                        <a:pt x="2197" y="2469"/>
                        <a:pt x="2187" y="2462"/>
                        <a:pt x="2177" y="2455"/>
                      </a:cubicBezTo>
                      <a:lnTo>
                        <a:pt x="2177" y="2455"/>
                      </a:lnTo>
                      <a:cubicBezTo>
                        <a:pt x="2165" y="2447"/>
                        <a:pt x="2154" y="2439"/>
                        <a:pt x="2143" y="2431"/>
                      </a:cubicBezTo>
                      <a:lnTo>
                        <a:pt x="2143" y="2431"/>
                      </a:lnTo>
                      <a:cubicBezTo>
                        <a:pt x="2137" y="2427"/>
                        <a:pt x="2132" y="2423"/>
                        <a:pt x="2126" y="2419"/>
                      </a:cubicBezTo>
                      <a:lnTo>
                        <a:pt x="2126" y="2419"/>
                      </a:lnTo>
                      <a:cubicBezTo>
                        <a:pt x="2109" y="2409"/>
                        <a:pt x="2093" y="2400"/>
                        <a:pt x="2077" y="2391"/>
                      </a:cubicBezTo>
                      <a:lnTo>
                        <a:pt x="2077" y="2391"/>
                      </a:lnTo>
                      <a:cubicBezTo>
                        <a:pt x="2065" y="2384"/>
                        <a:pt x="2052" y="2376"/>
                        <a:pt x="2040" y="2369"/>
                      </a:cubicBezTo>
                      <a:lnTo>
                        <a:pt x="2040" y="2369"/>
                      </a:lnTo>
                      <a:cubicBezTo>
                        <a:pt x="2024" y="2358"/>
                        <a:pt x="2007" y="2348"/>
                        <a:pt x="1991" y="2338"/>
                      </a:cubicBezTo>
                      <a:lnTo>
                        <a:pt x="1991" y="2338"/>
                      </a:lnTo>
                      <a:cubicBezTo>
                        <a:pt x="1966" y="2323"/>
                        <a:pt x="1941" y="2307"/>
                        <a:pt x="1916" y="2291"/>
                      </a:cubicBezTo>
                      <a:lnTo>
                        <a:pt x="1916" y="2291"/>
                      </a:lnTo>
                      <a:cubicBezTo>
                        <a:pt x="1906" y="2285"/>
                        <a:pt x="1896" y="2280"/>
                        <a:pt x="1887" y="2273"/>
                      </a:cubicBezTo>
                      <a:lnTo>
                        <a:pt x="1887" y="2273"/>
                      </a:lnTo>
                      <a:cubicBezTo>
                        <a:pt x="1823" y="2228"/>
                        <a:pt x="1758" y="2184"/>
                        <a:pt x="1695" y="2138"/>
                      </a:cubicBezTo>
                      <a:lnTo>
                        <a:pt x="1695" y="2138"/>
                      </a:lnTo>
                      <a:cubicBezTo>
                        <a:pt x="1627" y="2090"/>
                        <a:pt x="1561" y="2041"/>
                        <a:pt x="1493" y="1994"/>
                      </a:cubicBezTo>
                      <a:lnTo>
                        <a:pt x="1493" y="1994"/>
                      </a:lnTo>
                      <a:cubicBezTo>
                        <a:pt x="1448" y="1962"/>
                        <a:pt x="1402" y="1930"/>
                        <a:pt x="1357" y="1898"/>
                      </a:cubicBezTo>
                      <a:lnTo>
                        <a:pt x="1357" y="1898"/>
                      </a:lnTo>
                      <a:cubicBezTo>
                        <a:pt x="1331" y="1880"/>
                        <a:pt x="1306" y="1861"/>
                        <a:pt x="1281" y="1843"/>
                      </a:cubicBezTo>
                      <a:lnTo>
                        <a:pt x="1281" y="1843"/>
                      </a:lnTo>
                      <a:cubicBezTo>
                        <a:pt x="1251" y="1821"/>
                        <a:pt x="1221" y="1800"/>
                        <a:pt x="1191" y="1778"/>
                      </a:cubicBezTo>
                      <a:lnTo>
                        <a:pt x="1191" y="1778"/>
                      </a:lnTo>
                      <a:cubicBezTo>
                        <a:pt x="1157" y="1750"/>
                        <a:pt x="1123" y="1722"/>
                        <a:pt x="1088" y="1694"/>
                      </a:cubicBezTo>
                      <a:lnTo>
                        <a:pt x="1088" y="1694"/>
                      </a:lnTo>
                      <a:cubicBezTo>
                        <a:pt x="1079" y="1686"/>
                        <a:pt x="1069" y="1679"/>
                        <a:pt x="1060" y="1671"/>
                      </a:cubicBezTo>
                      <a:lnTo>
                        <a:pt x="1060" y="1671"/>
                      </a:lnTo>
                      <a:cubicBezTo>
                        <a:pt x="1044" y="1656"/>
                        <a:pt x="1028" y="1643"/>
                        <a:pt x="1013" y="1628"/>
                      </a:cubicBezTo>
                      <a:lnTo>
                        <a:pt x="1013" y="1628"/>
                      </a:lnTo>
                      <a:cubicBezTo>
                        <a:pt x="991" y="1609"/>
                        <a:pt x="970" y="1590"/>
                        <a:pt x="948" y="1570"/>
                      </a:cubicBezTo>
                      <a:lnTo>
                        <a:pt x="948" y="1570"/>
                      </a:lnTo>
                      <a:cubicBezTo>
                        <a:pt x="940" y="1563"/>
                        <a:pt x="932" y="1555"/>
                        <a:pt x="924" y="1547"/>
                      </a:cubicBezTo>
                      <a:lnTo>
                        <a:pt x="924" y="1547"/>
                      </a:lnTo>
                      <a:cubicBezTo>
                        <a:pt x="888" y="1512"/>
                        <a:pt x="853" y="1477"/>
                        <a:pt x="817" y="1441"/>
                      </a:cubicBezTo>
                      <a:lnTo>
                        <a:pt x="817" y="1441"/>
                      </a:lnTo>
                      <a:cubicBezTo>
                        <a:pt x="793" y="1418"/>
                        <a:pt x="771" y="1394"/>
                        <a:pt x="748" y="1372"/>
                      </a:cubicBezTo>
                      <a:lnTo>
                        <a:pt x="748" y="1372"/>
                      </a:lnTo>
                      <a:cubicBezTo>
                        <a:pt x="742" y="1365"/>
                        <a:pt x="736" y="1359"/>
                        <a:pt x="730" y="1353"/>
                      </a:cubicBezTo>
                      <a:lnTo>
                        <a:pt x="730" y="1353"/>
                      </a:lnTo>
                      <a:cubicBezTo>
                        <a:pt x="728" y="1350"/>
                        <a:pt x="726" y="1349"/>
                        <a:pt x="723" y="1346"/>
                      </a:cubicBezTo>
                      <a:lnTo>
                        <a:pt x="723" y="1346"/>
                      </a:lnTo>
                      <a:cubicBezTo>
                        <a:pt x="716" y="1339"/>
                        <a:pt x="709" y="1332"/>
                        <a:pt x="702" y="1325"/>
                      </a:cubicBezTo>
                      <a:lnTo>
                        <a:pt x="702" y="1325"/>
                      </a:lnTo>
                      <a:cubicBezTo>
                        <a:pt x="696" y="1320"/>
                        <a:pt x="691" y="1315"/>
                        <a:pt x="686" y="1309"/>
                      </a:cubicBezTo>
                      <a:lnTo>
                        <a:pt x="686" y="1309"/>
                      </a:lnTo>
                      <a:cubicBezTo>
                        <a:pt x="684" y="1307"/>
                        <a:pt x="683" y="1305"/>
                        <a:pt x="681" y="1302"/>
                      </a:cubicBezTo>
                      <a:lnTo>
                        <a:pt x="681" y="1302"/>
                      </a:lnTo>
                      <a:cubicBezTo>
                        <a:pt x="676" y="1297"/>
                        <a:pt x="670" y="1291"/>
                        <a:pt x="665" y="1285"/>
                      </a:cubicBezTo>
                      <a:lnTo>
                        <a:pt x="665" y="1285"/>
                      </a:lnTo>
                      <a:cubicBezTo>
                        <a:pt x="631" y="1248"/>
                        <a:pt x="596" y="1211"/>
                        <a:pt x="562" y="1174"/>
                      </a:cubicBezTo>
                      <a:lnTo>
                        <a:pt x="562" y="1174"/>
                      </a:lnTo>
                      <a:cubicBezTo>
                        <a:pt x="539" y="1149"/>
                        <a:pt x="517" y="1123"/>
                        <a:pt x="495" y="1096"/>
                      </a:cubicBezTo>
                      <a:lnTo>
                        <a:pt x="495" y="1096"/>
                      </a:lnTo>
                      <a:cubicBezTo>
                        <a:pt x="474" y="1071"/>
                        <a:pt x="452" y="1045"/>
                        <a:pt x="430" y="1020"/>
                      </a:cubicBezTo>
                      <a:lnTo>
                        <a:pt x="430" y="1020"/>
                      </a:lnTo>
                      <a:cubicBezTo>
                        <a:pt x="396" y="975"/>
                        <a:pt x="362" y="931"/>
                        <a:pt x="328" y="887"/>
                      </a:cubicBezTo>
                      <a:lnTo>
                        <a:pt x="328" y="887"/>
                      </a:lnTo>
                      <a:cubicBezTo>
                        <a:pt x="316" y="872"/>
                        <a:pt x="306" y="856"/>
                        <a:pt x="295" y="840"/>
                      </a:cubicBezTo>
                      <a:lnTo>
                        <a:pt x="295" y="840"/>
                      </a:lnTo>
                      <a:cubicBezTo>
                        <a:pt x="272" y="806"/>
                        <a:pt x="249" y="773"/>
                        <a:pt x="228" y="738"/>
                      </a:cubicBezTo>
                      <a:lnTo>
                        <a:pt x="228" y="738"/>
                      </a:lnTo>
                      <a:cubicBezTo>
                        <a:pt x="187" y="673"/>
                        <a:pt x="151" y="604"/>
                        <a:pt x="120" y="533"/>
                      </a:cubicBezTo>
                      <a:lnTo>
                        <a:pt x="120" y="533"/>
                      </a:lnTo>
                      <a:cubicBezTo>
                        <a:pt x="121" y="536"/>
                        <a:pt x="122" y="538"/>
                        <a:pt x="123" y="540"/>
                      </a:cubicBezTo>
                      <a:lnTo>
                        <a:pt x="123" y="540"/>
                      </a:lnTo>
                      <a:cubicBezTo>
                        <a:pt x="95" y="474"/>
                        <a:pt x="73" y="406"/>
                        <a:pt x="62" y="334"/>
                      </a:cubicBezTo>
                      <a:lnTo>
                        <a:pt x="62" y="334"/>
                      </a:lnTo>
                      <a:cubicBezTo>
                        <a:pt x="58" y="301"/>
                        <a:pt x="57" y="267"/>
                        <a:pt x="60" y="233"/>
                      </a:cubicBezTo>
                      <a:lnTo>
                        <a:pt x="60" y="233"/>
                      </a:lnTo>
                      <a:cubicBezTo>
                        <a:pt x="64" y="210"/>
                        <a:pt x="70" y="187"/>
                        <a:pt x="79" y="165"/>
                      </a:cubicBezTo>
                      <a:lnTo>
                        <a:pt x="79" y="165"/>
                      </a:lnTo>
                      <a:cubicBezTo>
                        <a:pt x="87" y="146"/>
                        <a:pt x="97" y="130"/>
                        <a:pt x="108" y="115"/>
                      </a:cubicBezTo>
                      <a:lnTo>
                        <a:pt x="108" y="115"/>
                      </a:lnTo>
                      <a:cubicBezTo>
                        <a:pt x="117" y="103"/>
                        <a:pt x="128" y="92"/>
                        <a:pt x="139" y="82"/>
                      </a:cubicBezTo>
                      <a:lnTo>
                        <a:pt x="139" y="82"/>
                      </a:lnTo>
                      <a:cubicBezTo>
                        <a:pt x="149" y="75"/>
                        <a:pt x="158" y="70"/>
                        <a:pt x="169" y="65"/>
                      </a:cubicBezTo>
                      <a:lnTo>
                        <a:pt x="169" y="65"/>
                      </a:lnTo>
                      <a:cubicBezTo>
                        <a:pt x="180" y="61"/>
                        <a:pt x="192" y="59"/>
                        <a:pt x="204" y="57"/>
                      </a:cubicBezTo>
                      <a:lnTo>
                        <a:pt x="204" y="57"/>
                      </a:lnTo>
                      <a:cubicBezTo>
                        <a:pt x="218" y="55"/>
                        <a:pt x="231" y="55"/>
                        <a:pt x="245" y="57"/>
                      </a:cubicBezTo>
                      <a:lnTo>
                        <a:pt x="245" y="57"/>
                      </a:lnTo>
                      <a:cubicBezTo>
                        <a:pt x="257" y="59"/>
                        <a:pt x="268" y="61"/>
                        <a:pt x="280" y="63"/>
                      </a:cubicBezTo>
                      <a:lnTo>
                        <a:pt x="280" y="63"/>
                      </a:lnTo>
                      <a:cubicBezTo>
                        <a:pt x="287" y="64"/>
                        <a:pt x="295" y="65"/>
                        <a:pt x="302" y="67"/>
                      </a:cubicBezTo>
                      <a:lnTo>
                        <a:pt x="302" y="67"/>
                      </a:lnTo>
                      <a:cubicBezTo>
                        <a:pt x="321" y="73"/>
                        <a:pt x="340" y="76"/>
                        <a:pt x="359" y="83"/>
                      </a:cubicBezTo>
                      <a:lnTo>
                        <a:pt x="359" y="83"/>
                      </a:lnTo>
                      <a:cubicBezTo>
                        <a:pt x="378" y="89"/>
                        <a:pt x="397" y="95"/>
                        <a:pt x="416" y="103"/>
                      </a:cubicBezTo>
                      <a:lnTo>
                        <a:pt x="416" y="103"/>
                      </a:lnTo>
                      <a:cubicBezTo>
                        <a:pt x="434" y="110"/>
                        <a:pt x="454" y="118"/>
                        <a:pt x="472" y="126"/>
                      </a:cubicBezTo>
                      <a:lnTo>
                        <a:pt x="472" y="126"/>
                      </a:lnTo>
                      <a:cubicBezTo>
                        <a:pt x="486" y="132"/>
                        <a:pt x="500" y="139"/>
                        <a:pt x="512" y="145"/>
                      </a:cubicBezTo>
                      <a:lnTo>
                        <a:pt x="512" y="145"/>
                      </a:lnTo>
                      <a:cubicBezTo>
                        <a:pt x="523" y="151"/>
                        <a:pt x="534" y="155"/>
                        <a:pt x="544" y="161"/>
                      </a:cubicBezTo>
                      <a:lnTo>
                        <a:pt x="544" y="161"/>
                      </a:lnTo>
                      <a:cubicBezTo>
                        <a:pt x="570" y="176"/>
                        <a:pt x="596" y="190"/>
                        <a:pt x="621" y="207"/>
                      </a:cubicBezTo>
                      <a:lnTo>
                        <a:pt x="621" y="207"/>
                      </a:lnTo>
                      <a:cubicBezTo>
                        <a:pt x="645" y="222"/>
                        <a:pt x="669" y="237"/>
                        <a:pt x="691" y="253"/>
                      </a:cubicBezTo>
                      <a:lnTo>
                        <a:pt x="691" y="253"/>
                      </a:lnTo>
                      <a:cubicBezTo>
                        <a:pt x="717" y="273"/>
                        <a:pt x="744" y="292"/>
                        <a:pt x="770" y="311"/>
                      </a:cubicBezTo>
                      <a:lnTo>
                        <a:pt x="770" y="311"/>
                      </a:lnTo>
                      <a:cubicBezTo>
                        <a:pt x="799" y="334"/>
                        <a:pt x="827" y="357"/>
                        <a:pt x="855" y="380"/>
                      </a:cubicBezTo>
                      <a:lnTo>
                        <a:pt x="855" y="380"/>
                      </a:lnTo>
                      <a:cubicBezTo>
                        <a:pt x="863" y="387"/>
                        <a:pt x="871" y="393"/>
                        <a:pt x="879" y="400"/>
                      </a:cubicBezTo>
                      <a:lnTo>
                        <a:pt x="879" y="400"/>
                      </a:lnTo>
                      <a:cubicBezTo>
                        <a:pt x="893" y="411"/>
                        <a:pt x="905" y="423"/>
                        <a:pt x="919" y="435"/>
                      </a:cubicBezTo>
                      <a:lnTo>
                        <a:pt x="919" y="435"/>
                      </a:lnTo>
                      <a:cubicBezTo>
                        <a:pt x="936" y="451"/>
                        <a:pt x="954" y="466"/>
                        <a:pt x="971" y="481"/>
                      </a:cubicBezTo>
                      <a:lnTo>
                        <a:pt x="971" y="481"/>
                      </a:lnTo>
                      <a:cubicBezTo>
                        <a:pt x="978" y="488"/>
                        <a:pt x="986" y="494"/>
                        <a:pt x="993" y="501"/>
                      </a:cubicBezTo>
                      <a:lnTo>
                        <a:pt x="993" y="501"/>
                      </a:lnTo>
                      <a:cubicBezTo>
                        <a:pt x="1024" y="531"/>
                        <a:pt x="1056" y="561"/>
                        <a:pt x="1087" y="590"/>
                      </a:cubicBezTo>
                      <a:lnTo>
                        <a:pt x="1087" y="590"/>
                      </a:lnTo>
                      <a:cubicBezTo>
                        <a:pt x="1098" y="601"/>
                        <a:pt x="1116" y="602"/>
                        <a:pt x="1127" y="590"/>
                      </a:cubicBezTo>
                      <a:lnTo>
                        <a:pt x="1127" y="590"/>
                      </a:lnTo>
                      <a:cubicBezTo>
                        <a:pt x="1137" y="580"/>
                        <a:pt x="1137" y="562"/>
                        <a:pt x="1127" y="551"/>
                      </a:cubicBezTo>
                      <a:lnTo>
                        <a:pt x="1127" y="551"/>
                      </a:lnTo>
                      <a:cubicBezTo>
                        <a:pt x="1107" y="533"/>
                        <a:pt x="1089" y="515"/>
                        <a:pt x="1069" y="497"/>
                      </a:cubicBezTo>
                      <a:lnTo>
                        <a:pt x="1069" y="497"/>
                      </a:lnTo>
                      <a:cubicBezTo>
                        <a:pt x="1056" y="484"/>
                        <a:pt x="1042" y="471"/>
                        <a:pt x="1029" y="458"/>
                      </a:cubicBezTo>
                      <a:lnTo>
                        <a:pt x="1029" y="458"/>
                      </a:lnTo>
                      <a:cubicBezTo>
                        <a:pt x="993" y="427"/>
                        <a:pt x="958" y="396"/>
                        <a:pt x="923" y="364"/>
                      </a:cubicBezTo>
                      <a:lnTo>
                        <a:pt x="923" y="364"/>
                      </a:lnTo>
                      <a:cubicBezTo>
                        <a:pt x="914" y="356"/>
                        <a:pt x="904" y="348"/>
                        <a:pt x="894" y="340"/>
                      </a:cubicBezTo>
                      <a:lnTo>
                        <a:pt x="894" y="340"/>
                      </a:lnTo>
                      <a:cubicBezTo>
                        <a:pt x="872" y="323"/>
                        <a:pt x="850" y="305"/>
                        <a:pt x="827" y="286"/>
                      </a:cubicBezTo>
                      <a:lnTo>
                        <a:pt x="827" y="286"/>
                      </a:lnTo>
                      <a:cubicBezTo>
                        <a:pt x="795" y="260"/>
                        <a:pt x="762" y="236"/>
                        <a:pt x="728" y="212"/>
                      </a:cubicBezTo>
                      <a:lnTo>
                        <a:pt x="728" y="212"/>
                      </a:lnTo>
                      <a:cubicBezTo>
                        <a:pt x="698" y="190"/>
                        <a:pt x="666" y="170"/>
                        <a:pt x="635" y="150"/>
                      </a:cubicBezTo>
                      <a:lnTo>
                        <a:pt x="635" y="150"/>
                      </a:lnTo>
                      <a:cubicBezTo>
                        <a:pt x="629" y="145"/>
                        <a:pt x="621" y="141"/>
                        <a:pt x="613" y="137"/>
                      </a:cubicBezTo>
                      <a:lnTo>
                        <a:pt x="613" y="137"/>
                      </a:lnTo>
                      <a:cubicBezTo>
                        <a:pt x="601" y="130"/>
                        <a:pt x="589" y="122"/>
                        <a:pt x="576" y="115"/>
                      </a:cubicBezTo>
                      <a:lnTo>
                        <a:pt x="576" y="115"/>
                      </a:lnTo>
                      <a:cubicBezTo>
                        <a:pt x="559" y="105"/>
                        <a:pt x="542" y="98"/>
                        <a:pt x="524" y="89"/>
                      </a:cubicBezTo>
                      <a:lnTo>
                        <a:pt x="524" y="89"/>
                      </a:lnTo>
                      <a:cubicBezTo>
                        <a:pt x="516" y="85"/>
                        <a:pt x="508" y="81"/>
                        <a:pt x="499" y="76"/>
                      </a:cubicBezTo>
                      <a:lnTo>
                        <a:pt x="499" y="76"/>
                      </a:lnTo>
                      <a:cubicBezTo>
                        <a:pt x="491" y="73"/>
                        <a:pt x="481" y="69"/>
                        <a:pt x="472" y="66"/>
                      </a:cubicBezTo>
                      <a:lnTo>
                        <a:pt x="472" y="66"/>
                      </a:lnTo>
                      <a:cubicBezTo>
                        <a:pt x="454" y="58"/>
                        <a:pt x="436" y="50"/>
                        <a:pt x="417" y="44"/>
                      </a:cubicBezTo>
                      <a:lnTo>
                        <a:pt x="417" y="44"/>
                      </a:lnTo>
                      <a:cubicBezTo>
                        <a:pt x="405" y="40"/>
                        <a:pt x="393" y="35"/>
                        <a:pt x="380" y="31"/>
                      </a:cubicBezTo>
                      <a:lnTo>
                        <a:pt x="380" y="31"/>
                      </a:lnTo>
                      <a:cubicBezTo>
                        <a:pt x="373" y="29"/>
                        <a:pt x="366" y="26"/>
                        <a:pt x="359" y="24"/>
                      </a:cubicBezTo>
                      <a:lnTo>
                        <a:pt x="359" y="24"/>
                      </a:lnTo>
                      <a:cubicBezTo>
                        <a:pt x="339" y="19"/>
                        <a:pt x="319" y="14"/>
                        <a:pt x="298" y="10"/>
                      </a:cubicBezTo>
                      <a:lnTo>
                        <a:pt x="298" y="10"/>
                      </a:lnTo>
                      <a:cubicBezTo>
                        <a:pt x="286" y="8"/>
                        <a:pt x="275" y="5"/>
                        <a:pt x="263" y="4"/>
                      </a:cubicBezTo>
                      <a:lnTo>
                        <a:pt x="263" y="4"/>
                      </a:lnTo>
                      <a:cubicBezTo>
                        <a:pt x="249" y="1"/>
                        <a:pt x="236" y="0"/>
                        <a:pt x="222" y="0"/>
                      </a:cubicBezTo>
                      <a:lnTo>
                        <a:pt x="22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417">
                  <a:extLst>
                    <a:ext uri="{FF2B5EF4-FFF2-40B4-BE49-F238E27FC236}">
                      <a16:creationId xmlns:a16="http://schemas.microsoft.com/office/drawing/2014/main" id="{42DD4B0A-4BE1-F841-9B79-943A895548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4238" y="4171950"/>
                  <a:ext cx="20637" cy="20638"/>
                </a:xfrm>
                <a:custGeom>
                  <a:avLst/>
                  <a:gdLst>
                    <a:gd name="T0" fmla="*/ 0 w 57"/>
                    <a:gd name="T1" fmla="*/ 27 h 57"/>
                    <a:gd name="T2" fmla="*/ 0 w 57"/>
                    <a:gd name="T3" fmla="*/ 27 h 57"/>
                    <a:gd name="T4" fmla="*/ 27 w 57"/>
                    <a:gd name="T5" fmla="*/ 56 h 57"/>
                    <a:gd name="T6" fmla="*/ 27 w 57"/>
                    <a:gd name="T7" fmla="*/ 56 h 57"/>
                    <a:gd name="T8" fmla="*/ 56 w 57"/>
                    <a:gd name="T9" fmla="*/ 27 h 57"/>
                    <a:gd name="T10" fmla="*/ 56 w 57"/>
                    <a:gd name="T11" fmla="*/ 27 h 57"/>
                    <a:gd name="T12" fmla="*/ 27 w 57"/>
                    <a:gd name="T13" fmla="*/ 0 h 57"/>
                    <a:gd name="T14" fmla="*/ 27 w 57"/>
                    <a:gd name="T15" fmla="*/ 0 h 57"/>
                    <a:gd name="T16" fmla="*/ 0 w 57"/>
                    <a:gd name="T17" fmla="*/ 2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" h="57">
                      <a:moveTo>
                        <a:pt x="0" y="27"/>
                      </a:moveTo>
                      <a:lnTo>
                        <a:pt x="0" y="27"/>
                      </a:lnTo>
                      <a:cubicBezTo>
                        <a:pt x="0" y="43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3" y="56"/>
                        <a:pt x="56" y="43"/>
                        <a:pt x="56" y="27"/>
                      </a:cubicBezTo>
                      <a:lnTo>
                        <a:pt x="56" y="27"/>
                      </a:lnTo>
                      <a:cubicBezTo>
                        <a:pt x="56" y="12"/>
                        <a:pt x="43" y="0"/>
                        <a:pt x="27" y="0"/>
                      </a:cubicBezTo>
                      <a:lnTo>
                        <a:pt x="27" y="0"/>
                      </a:lnTo>
                      <a:cubicBezTo>
                        <a:pt x="12" y="0"/>
                        <a:pt x="0" y="12"/>
                        <a:pt x="0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18">
                  <a:extLst>
                    <a:ext uri="{FF2B5EF4-FFF2-40B4-BE49-F238E27FC236}">
                      <a16:creationId xmlns:a16="http://schemas.microsoft.com/office/drawing/2014/main" id="{2932B759-57DD-7441-85A2-5FD1CBFF4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86113" y="4060825"/>
                  <a:ext cx="923925" cy="822325"/>
                </a:xfrm>
                <a:custGeom>
                  <a:avLst/>
                  <a:gdLst>
                    <a:gd name="T0" fmla="*/ 2513 w 2565"/>
                    <a:gd name="T1" fmla="*/ 2224 h 2284"/>
                    <a:gd name="T2" fmla="*/ 81 w 2565"/>
                    <a:gd name="T3" fmla="*/ 56 h 2284"/>
                    <a:gd name="T4" fmla="*/ 80 w 2565"/>
                    <a:gd name="T5" fmla="*/ 56 h 2284"/>
                    <a:gd name="T6" fmla="*/ 81 w 2565"/>
                    <a:gd name="T7" fmla="*/ 56 h 2284"/>
                    <a:gd name="T8" fmla="*/ 65 w 2565"/>
                    <a:gd name="T9" fmla="*/ 3 h 2284"/>
                    <a:gd name="T10" fmla="*/ 8 w 2565"/>
                    <a:gd name="T11" fmla="*/ 68 h 2284"/>
                    <a:gd name="T12" fmla="*/ 4 w 2565"/>
                    <a:gd name="T13" fmla="*/ 152 h 2284"/>
                    <a:gd name="T14" fmla="*/ 95 w 2565"/>
                    <a:gd name="T15" fmla="*/ 382 h 2284"/>
                    <a:gd name="T16" fmla="*/ 196 w 2565"/>
                    <a:gd name="T17" fmla="*/ 534 h 2284"/>
                    <a:gd name="T18" fmla="*/ 359 w 2565"/>
                    <a:gd name="T19" fmla="*/ 724 h 2284"/>
                    <a:gd name="T20" fmla="*/ 376 w 2565"/>
                    <a:gd name="T21" fmla="*/ 738 h 2284"/>
                    <a:gd name="T22" fmla="*/ 402 w 2565"/>
                    <a:gd name="T23" fmla="*/ 774 h 2284"/>
                    <a:gd name="T24" fmla="*/ 564 w 2565"/>
                    <a:gd name="T25" fmla="*/ 947 h 2284"/>
                    <a:gd name="T26" fmla="*/ 696 w 2565"/>
                    <a:gd name="T27" fmla="*/ 1070 h 2284"/>
                    <a:gd name="T28" fmla="*/ 885 w 2565"/>
                    <a:gd name="T29" fmla="*/ 1223 h 2284"/>
                    <a:gd name="T30" fmla="*/ 1485 w 2565"/>
                    <a:gd name="T31" fmla="*/ 1672 h 2284"/>
                    <a:gd name="T32" fmla="*/ 1780 w 2565"/>
                    <a:gd name="T33" fmla="*/ 1885 h 2284"/>
                    <a:gd name="T34" fmla="*/ 2284 w 2565"/>
                    <a:gd name="T35" fmla="*/ 2199 h 2284"/>
                    <a:gd name="T36" fmla="*/ 2451 w 2565"/>
                    <a:gd name="T37" fmla="*/ 2268 h 2284"/>
                    <a:gd name="T38" fmla="*/ 2559 w 2565"/>
                    <a:gd name="T39" fmla="*/ 2253 h 2284"/>
                    <a:gd name="T40" fmla="*/ 2540 w 2565"/>
                    <a:gd name="T41" fmla="*/ 2163 h 2284"/>
                    <a:gd name="T42" fmla="*/ 2467 w 2565"/>
                    <a:gd name="T43" fmla="*/ 2088 h 2284"/>
                    <a:gd name="T44" fmla="*/ 2458 w 2565"/>
                    <a:gd name="T45" fmla="*/ 2081 h 2284"/>
                    <a:gd name="T46" fmla="*/ 2453 w 2565"/>
                    <a:gd name="T47" fmla="*/ 2077 h 2284"/>
                    <a:gd name="T48" fmla="*/ 2404 w 2565"/>
                    <a:gd name="T49" fmla="*/ 2041 h 2284"/>
                    <a:gd name="T50" fmla="*/ 2171 w 2565"/>
                    <a:gd name="T51" fmla="*/ 1907 h 2284"/>
                    <a:gd name="T52" fmla="*/ 2143 w 2565"/>
                    <a:gd name="T53" fmla="*/ 1955 h 2284"/>
                    <a:gd name="T54" fmla="*/ 2350 w 2565"/>
                    <a:gd name="T55" fmla="*/ 2072 h 2284"/>
                    <a:gd name="T56" fmla="*/ 2422 w 2565"/>
                    <a:gd name="T57" fmla="*/ 2123 h 2284"/>
                    <a:gd name="T58" fmla="*/ 2434 w 2565"/>
                    <a:gd name="T59" fmla="*/ 2133 h 2284"/>
                    <a:gd name="T60" fmla="*/ 2490 w 2565"/>
                    <a:gd name="T61" fmla="*/ 2189 h 2284"/>
                    <a:gd name="T62" fmla="*/ 2502 w 2565"/>
                    <a:gd name="T63" fmla="*/ 2224 h 2284"/>
                    <a:gd name="T64" fmla="*/ 2403 w 2565"/>
                    <a:gd name="T65" fmla="*/ 2190 h 2284"/>
                    <a:gd name="T66" fmla="*/ 2091 w 2565"/>
                    <a:gd name="T67" fmla="*/ 2033 h 2284"/>
                    <a:gd name="T68" fmla="*/ 1996 w 2565"/>
                    <a:gd name="T69" fmla="*/ 1971 h 2284"/>
                    <a:gd name="T70" fmla="*/ 1208 w 2565"/>
                    <a:gd name="T71" fmla="*/ 1407 h 2284"/>
                    <a:gd name="T72" fmla="*/ 970 w 2565"/>
                    <a:gd name="T73" fmla="*/ 1220 h 2284"/>
                    <a:gd name="T74" fmla="*/ 682 w 2565"/>
                    <a:gd name="T75" fmla="*/ 982 h 2284"/>
                    <a:gd name="T76" fmla="*/ 603 w 2565"/>
                    <a:gd name="T77" fmla="*/ 907 h 2284"/>
                    <a:gd name="T78" fmla="*/ 332 w 2565"/>
                    <a:gd name="T79" fmla="*/ 609 h 2284"/>
                    <a:gd name="T80" fmla="*/ 235 w 2565"/>
                    <a:gd name="T81" fmla="*/ 494 h 2284"/>
                    <a:gd name="T82" fmla="*/ 143 w 2565"/>
                    <a:gd name="T83" fmla="*/ 353 h 2284"/>
                    <a:gd name="T84" fmla="*/ 59 w 2565"/>
                    <a:gd name="T85" fmla="*/ 142 h 2284"/>
                    <a:gd name="T86" fmla="*/ 57 w 2565"/>
                    <a:gd name="T87" fmla="*/ 103 h 2284"/>
                    <a:gd name="T88" fmla="*/ 73 w 2565"/>
                    <a:gd name="T89" fmla="*/ 62 h 2284"/>
                    <a:gd name="T90" fmla="*/ 84 w 2565"/>
                    <a:gd name="T91" fmla="*/ 56 h 2284"/>
                    <a:gd name="T92" fmla="*/ 130 w 2565"/>
                    <a:gd name="T93" fmla="*/ 57 h 2284"/>
                    <a:gd name="T94" fmla="*/ 219 w 2565"/>
                    <a:gd name="T95" fmla="*/ 85 h 2284"/>
                    <a:gd name="T96" fmla="*/ 322 w 2565"/>
                    <a:gd name="T97" fmla="*/ 140 h 2284"/>
                    <a:gd name="T98" fmla="*/ 457 w 2565"/>
                    <a:gd name="T99" fmla="*/ 239 h 2284"/>
                    <a:gd name="T100" fmla="*/ 534 w 2565"/>
                    <a:gd name="T101" fmla="*/ 312 h 2284"/>
                    <a:gd name="T102" fmla="*/ 620 w 2565"/>
                    <a:gd name="T103" fmla="*/ 323 h 2284"/>
                    <a:gd name="T104" fmla="*/ 572 w 2565"/>
                    <a:gd name="T105" fmla="*/ 272 h 2284"/>
                    <a:gd name="T106" fmla="*/ 430 w 2565"/>
                    <a:gd name="T107" fmla="*/ 147 h 2284"/>
                    <a:gd name="T108" fmla="*/ 282 w 2565"/>
                    <a:gd name="T109" fmla="*/ 53 h 2284"/>
                    <a:gd name="T110" fmla="*/ 135 w 2565"/>
                    <a:gd name="T111" fmla="*/ 3 h 2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565" h="2284">
                      <a:moveTo>
                        <a:pt x="2513" y="2223"/>
                      </a:moveTo>
                      <a:lnTo>
                        <a:pt x="2513" y="2223"/>
                      </a:lnTo>
                      <a:cubicBezTo>
                        <a:pt x="2513" y="2223"/>
                        <a:pt x="2513" y="2223"/>
                        <a:pt x="2513" y="2224"/>
                      </a:cubicBezTo>
                      <a:lnTo>
                        <a:pt x="2513" y="2224"/>
                      </a:lnTo>
                      <a:lnTo>
                        <a:pt x="2513" y="2224"/>
                      </a:lnTo>
                      <a:cubicBezTo>
                        <a:pt x="2513" y="2223"/>
                        <a:pt x="2513" y="2223"/>
                        <a:pt x="2513" y="2223"/>
                      </a:cubicBezTo>
                      <a:close/>
                      <a:moveTo>
                        <a:pt x="81" y="56"/>
                      </a:moveTo>
                      <a:lnTo>
                        <a:pt x="81" y="56"/>
                      </a:lnTo>
                      <a:lnTo>
                        <a:pt x="80" y="56"/>
                      </a:lnTo>
                      <a:lnTo>
                        <a:pt x="81" y="56"/>
                      </a:lnTo>
                      <a:lnTo>
                        <a:pt x="81" y="56"/>
                      </a:lnTo>
                      <a:cubicBezTo>
                        <a:pt x="80" y="57"/>
                        <a:pt x="79" y="57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79" y="57"/>
                        <a:pt x="80" y="56"/>
                      </a:cubicBezTo>
                      <a:lnTo>
                        <a:pt x="80" y="56"/>
                      </a:lnTo>
                      <a:lnTo>
                        <a:pt x="81" y="56"/>
                      </a:lnTo>
                      <a:close/>
                      <a:moveTo>
                        <a:pt x="82" y="56"/>
                      </a:moveTo>
                      <a:lnTo>
                        <a:pt x="82" y="56"/>
                      </a:lnTo>
                      <a:cubicBezTo>
                        <a:pt x="81" y="56"/>
                        <a:pt x="81" y="56"/>
                        <a:pt x="81" y="56"/>
                      </a:cubicBezTo>
                      <a:lnTo>
                        <a:pt x="81" y="56"/>
                      </a:lnTo>
                      <a:cubicBezTo>
                        <a:pt x="81" y="56"/>
                        <a:pt x="81" y="56"/>
                        <a:pt x="82" y="56"/>
                      </a:cubicBezTo>
                      <a:close/>
                      <a:moveTo>
                        <a:pt x="87" y="0"/>
                      </a:moveTo>
                      <a:lnTo>
                        <a:pt x="87" y="0"/>
                      </a:lnTo>
                      <a:cubicBezTo>
                        <a:pt x="80" y="0"/>
                        <a:pt x="73" y="1"/>
                        <a:pt x="65" y="3"/>
                      </a:cubicBezTo>
                      <a:lnTo>
                        <a:pt x="65" y="3"/>
                      </a:lnTo>
                      <a:cubicBezTo>
                        <a:pt x="60" y="4"/>
                        <a:pt x="54" y="7"/>
                        <a:pt x="49" y="10"/>
                      </a:cubicBezTo>
                      <a:lnTo>
                        <a:pt x="49" y="10"/>
                      </a:lnTo>
                      <a:cubicBezTo>
                        <a:pt x="39" y="14"/>
                        <a:pt x="31" y="25"/>
                        <a:pt x="24" y="34"/>
                      </a:cubicBezTo>
                      <a:lnTo>
                        <a:pt x="24" y="34"/>
                      </a:lnTo>
                      <a:cubicBezTo>
                        <a:pt x="16" y="44"/>
                        <a:pt x="12" y="57"/>
                        <a:pt x="8" y="68"/>
                      </a:cubicBezTo>
                      <a:lnTo>
                        <a:pt x="8" y="68"/>
                      </a:lnTo>
                      <a:cubicBezTo>
                        <a:pt x="3" y="82"/>
                        <a:pt x="2" y="98"/>
                        <a:pt x="1" y="113"/>
                      </a:cubicBezTo>
                      <a:lnTo>
                        <a:pt x="1" y="113"/>
                      </a:lnTo>
                      <a:cubicBezTo>
                        <a:pt x="0" y="125"/>
                        <a:pt x="2" y="139"/>
                        <a:pt x="4" y="152"/>
                      </a:cubicBezTo>
                      <a:lnTo>
                        <a:pt x="4" y="152"/>
                      </a:lnTo>
                      <a:cubicBezTo>
                        <a:pt x="6" y="166"/>
                        <a:pt x="9" y="180"/>
                        <a:pt x="13" y="194"/>
                      </a:cubicBezTo>
                      <a:lnTo>
                        <a:pt x="13" y="194"/>
                      </a:lnTo>
                      <a:cubicBezTo>
                        <a:pt x="20" y="222"/>
                        <a:pt x="31" y="251"/>
                        <a:pt x="43" y="278"/>
                      </a:cubicBezTo>
                      <a:lnTo>
                        <a:pt x="43" y="278"/>
                      </a:lnTo>
                      <a:cubicBezTo>
                        <a:pt x="58" y="313"/>
                        <a:pt x="75" y="348"/>
                        <a:pt x="95" y="382"/>
                      </a:cubicBezTo>
                      <a:lnTo>
                        <a:pt x="95" y="382"/>
                      </a:lnTo>
                      <a:cubicBezTo>
                        <a:pt x="104" y="398"/>
                        <a:pt x="114" y="415"/>
                        <a:pt x="125" y="431"/>
                      </a:cubicBezTo>
                      <a:lnTo>
                        <a:pt x="125" y="431"/>
                      </a:lnTo>
                      <a:cubicBezTo>
                        <a:pt x="148" y="466"/>
                        <a:pt x="171" y="501"/>
                        <a:pt x="196" y="534"/>
                      </a:cubicBezTo>
                      <a:lnTo>
                        <a:pt x="196" y="534"/>
                      </a:lnTo>
                      <a:cubicBezTo>
                        <a:pt x="209" y="549"/>
                        <a:pt x="221" y="565"/>
                        <a:pt x="234" y="581"/>
                      </a:cubicBezTo>
                      <a:lnTo>
                        <a:pt x="234" y="581"/>
                      </a:lnTo>
                      <a:cubicBezTo>
                        <a:pt x="247" y="596"/>
                        <a:pt x="260" y="612"/>
                        <a:pt x="273" y="627"/>
                      </a:cubicBezTo>
                      <a:lnTo>
                        <a:pt x="273" y="627"/>
                      </a:lnTo>
                      <a:cubicBezTo>
                        <a:pt x="302" y="659"/>
                        <a:pt x="330" y="692"/>
                        <a:pt x="359" y="724"/>
                      </a:cubicBezTo>
                      <a:lnTo>
                        <a:pt x="359" y="724"/>
                      </a:lnTo>
                      <a:cubicBezTo>
                        <a:pt x="361" y="725"/>
                        <a:pt x="364" y="726"/>
                        <a:pt x="366" y="728"/>
                      </a:cubicBezTo>
                      <a:lnTo>
                        <a:pt x="366" y="728"/>
                      </a:lnTo>
                      <a:cubicBezTo>
                        <a:pt x="370" y="730"/>
                        <a:pt x="373" y="733"/>
                        <a:pt x="376" y="738"/>
                      </a:cubicBezTo>
                      <a:lnTo>
                        <a:pt x="376" y="738"/>
                      </a:lnTo>
                      <a:cubicBezTo>
                        <a:pt x="383" y="747"/>
                        <a:pt x="390" y="757"/>
                        <a:pt x="397" y="768"/>
                      </a:cubicBezTo>
                      <a:lnTo>
                        <a:pt x="397" y="768"/>
                      </a:lnTo>
                      <a:cubicBezTo>
                        <a:pt x="397" y="768"/>
                        <a:pt x="397" y="768"/>
                        <a:pt x="398" y="769"/>
                      </a:cubicBezTo>
                      <a:lnTo>
                        <a:pt x="398" y="769"/>
                      </a:lnTo>
                      <a:cubicBezTo>
                        <a:pt x="400" y="770"/>
                        <a:pt x="401" y="772"/>
                        <a:pt x="402" y="774"/>
                      </a:cubicBezTo>
                      <a:lnTo>
                        <a:pt x="402" y="774"/>
                      </a:lnTo>
                      <a:cubicBezTo>
                        <a:pt x="441" y="817"/>
                        <a:pt x="479" y="860"/>
                        <a:pt x="521" y="902"/>
                      </a:cubicBezTo>
                      <a:lnTo>
                        <a:pt x="521" y="902"/>
                      </a:lnTo>
                      <a:cubicBezTo>
                        <a:pt x="535" y="917"/>
                        <a:pt x="549" y="932"/>
                        <a:pt x="564" y="947"/>
                      </a:cubicBezTo>
                      <a:lnTo>
                        <a:pt x="564" y="947"/>
                      </a:lnTo>
                      <a:cubicBezTo>
                        <a:pt x="581" y="963"/>
                        <a:pt x="598" y="979"/>
                        <a:pt x="615" y="995"/>
                      </a:cubicBezTo>
                      <a:lnTo>
                        <a:pt x="615" y="995"/>
                      </a:lnTo>
                      <a:cubicBezTo>
                        <a:pt x="627" y="1006"/>
                        <a:pt x="638" y="1018"/>
                        <a:pt x="650" y="1028"/>
                      </a:cubicBezTo>
                      <a:lnTo>
                        <a:pt x="650" y="1028"/>
                      </a:lnTo>
                      <a:cubicBezTo>
                        <a:pt x="666" y="1042"/>
                        <a:pt x="680" y="1056"/>
                        <a:pt x="696" y="1070"/>
                      </a:cubicBezTo>
                      <a:lnTo>
                        <a:pt x="696" y="1070"/>
                      </a:lnTo>
                      <a:cubicBezTo>
                        <a:pt x="730" y="1099"/>
                        <a:pt x="764" y="1127"/>
                        <a:pt x="799" y="1155"/>
                      </a:cubicBezTo>
                      <a:lnTo>
                        <a:pt x="799" y="1155"/>
                      </a:lnTo>
                      <a:cubicBezTo>
                        <a:pt x="827" y="1178"/>
                        <a:pt x="856" y="1200"/>
                        <a:pt x="885" y="1223"/>
                      </a:cubicBezTo>
                      <a:lnTo>
                        <a:pt x="885" y="1223"/>
                      </a:lnTo>
                      <a:cubicBezTo>
                        <a:pt x="949" y="1274"/>
                        <a:pt x="1012" y="1325"/>
                        <a:pt x="1076" y="1375"/>
                      </a:cubicBezTo>
                      <a:lnTo>
                        <a:pt x="1076" y="1375"/>
                      </a:lnTo>
                      <a:cubicBezTo>
                        <a:pt x="1143" y="1427"/>
                        <a:pt x="1210" y="1478"/>
                        <a:pt x="1279" y="1527"/>
                      </a:cubicBezTo>
                      <a:lnTo>
                        <a:pt x="1279" y="1527"/>
                      </a:lnTo>
                      <a:cubicBezTo>
                        <a:pt x="1348" y="1576"/>
                        <a:pt x="1417" y="1623"/>
                        <a:pt x="1485" y="1672"/>
                      </a:cubicBezTo>
                      <a:lnTo>
                        <a:pt x="1485" y="1672"/>
                      </a:lnTo>
                      <a:cubicBezTo>
                        <a:pt x="1551" y="1720"/>
                        <a:pt x="1618" y="1767"/>
                        <a:pt x="1683" y="1815"/>
                      </a:cubicBezTo>
                      <a:lnTo>
                        <a:pt x="1683" y="1815"/>
                      </a:lnTo>
                      <a:cubicBezTo>
                        <a:pt x="1716" y="1838"/>
                        <a:pt x="1748" y="1862"/>
                        <a:pt x="1780" y="1885"/>
                      </a:cubicBezTo>
                      <a:lnTo>
                        <a:pt x="1780" y="1885"/>
                      </a:lnTo>
                      <a:cubicBezTo>
                        <a:pt x="1811" y="1907"/>
                        <a:pt x="1841" y="1929"/>
                        <a:pt x="1872" y="1951"/>
                      </a:cubicBezTo>
                      <a:lnTo>
                        <a:pt x="1872" y="1951"/>
                      </a:lnTo>
                      <a:cubicBezTo>
                        <a:pt x="1936" y="1997"/>
                        <a:pt x="2000" y="2045"/>
                        <a:pt x="2069" y="2085"/>
                      </a:cubicBezTo>
                      <a:lnTo>
                        <a:pt x="2069" y="2085"/>
                      </a:lnTo>
                      <a:cubicBezTo>
                        <a:pt x="2139" y="2126"/>
                        <a:pt x="2210" y="2165"/>
                        <a:pt x="2284" y="2199"/>
                      </a:cubicBezTo>
                      <a:lnTo>
                        <a:pt x="2284" y="2199"/>
                      </a:lnTo>
                      <a:cubicBezTo>
                        <a:pt x="2321" y="2215"/>
                        <a:pt x="2357" y="2232"/>
                        <a:pt x="2394" y="2246"/>
                      </a:cubicBezTo>
                      <a:lnTo>
                        <a:pt x="2394" y="2246"/>
                      </a:lnTo>
                      <a:cubicBezTo>
                        <a:pt x="2412" y="2254"/>
                        <a:pt x="2431" y="2261"/>
                        <a:pt x="2451" y="2268"/>
                      </a:cubicBezTo>
                      <a:lnTo>
                        <a:pt x="2451" y="2268"/>
                      </a:lnTo>
                      <a:cubicBezTo>
                        <a:pt x="2459" y="2270"/>
                        <a:pt x="2468" y="2273"/>
                        <a:pt x="2476" y="2275"/>
                      </a:cubicBezTo>
                      <a:lnTo>
                        <a:pt x="2476" y="2275"/>
                      </a:lnTo>
                      <a:cubicBezTo>
                        <a:pt x="2496" y="2281"/>
                        <a:pt x="2520" y="2283"/>
                        <a:pt x="2539" y="2273"/>
                      </a:cubicBezTo>
                      <a:lnTo>
                        <a:pt x="2539" y="2273"/>
                      </a:lnTo>
                      <a:cubicBezTo>
                        <a:pt x="2548" y="2269"/>
                        <a:pt x="2554" y="2262"/>
                        <a:pt x="2559" y="2253"/>
                      </a:cubicBezTo>
                      <a:lnTo>
                        <a:pt x="2559" y="2253"/>
                      </a:lnTo>
                      <a:cubicBezTo>
                        <a:pt x="2563" y="2244"/>
                        <a:pt x="2564" y="2233"/>
                        <a:pt x="2564" y="2223"/>
                      </a:cubicBezTo>
                      <a:lnTo>
                        <a:pt x="2564" y="2223"/>
                      </a:lnTo>
                      <a:cubicBezTo>
                        <a:pt x="2563" y="2201"/>
                        <a:pt x="2552" y="2180"/>
                        <a:pt x="2540" y="2163"/>
                      </a:cubicBezTo>
                      <a:lnTo>
                        <a:pt x="2540" y="2163"/>
                      </a:lnTo>
                      <a:cubicBezTo>
                        <a:pt x="2529" y="2147"/>
                        <a:pt x="2515" y="2131"/>
                        <a:pt x="2501" y="2117"/>
                      </a:cubicBezTo>
                      <a:lnTo>
                        <a:pt x="2501" y="2117"/>
                      </a:lnTo>
                      <a:cubicBezTo>
                        <a:pt x="2493" y="2110"/>
                        <a:pt x="2486" y="2104"/>
                        <a:pt x="2479" y="2098"/>
                      </a:cubicBezTo>
                      <a:lnTo>
                        <a:pt x="2479" y="2098"/>
                      </a:lnTo>
                      <a:cubicBezTo>
                        <a:pt x="2475" y="2094"/>
                        <a:pt x="2471" y="2091"/>
                        <a:pt x="2467" y="2088"/>
                      </a:cubicBezTo>
                      <a:lnTo>
                        <a:pt x="2467" y="2088"/>
                      </a:lnTo>
                      <a:cubicBezTo>
                        <a:pt x="2465" y="2087"/>
                        <a:pt x="2464" y="2085"/>
                        <a:pt x="2462" y="2085"/>
                      </a:cubicBezTo>
                      <a:lnTo>
                        <a:pt x="2462" y="2085"/>
                      </a:lnTo>
                      <a:cubicBezTo>
                        <a:pt x="2461" y="2083"/>
                        <a:pt x="2460" y="2082"/>
                        <a:pt x="2458" y="2081"/>
                      </a:cubicBezTo>
                      <a:lnTo>
                        <a:pt x="2458" y="2081"/>
                      </a:lnTo>
                      <a:cubicBezTo>
                        <a:pt x="2457" y="2080"/>
                        <a:pt x="2457" y="2080"/>
                        <a:pt x="2457" y="2080"/>
                      </a:cubicBezTo>
                      <a:lnTo>
                        <a:pt x="2457" y="2080"/>
                      </a:lnTo>
                      <a:cubicBezTo>
                        <a:pt x="2456" y="2079"/>
                        <a:pt x="2455" y="2078"/>
                        <a:pt x="2454" y="2078"/>
                      </a:cubicBezTo>
                      <a:lnTo>
                        <a:pt x="2454" y="2078"/>
                      </a:lnTo>
                      <a:cubicBezTo>
                        <a:pt x="2453" y="2077"/>
                        <a:pt x="2453" y="2077"/>
                        <a:pt x="2453" y="2077"/>
                      </a:cubicBezTo>
                      <a:lnTo>
                        <a:pt x="2453" y="2077"/>
                      </a:lnTo>
                      <a:cubicBezTo>
                        <a:pt x="2452" y="2076"/>
                        <a:pt x="2450" y="2075"/>
                        <a:pt x="2448" y="2074"/>
                      </a:cubicBezTo>
                      <a:lnTo>
                        <a:pt x="2448" y="2074"/>
                      </a:lnTo>
                      <a:cubicBezTo>
                        <a:pt x="2434" y="2063"/>
                        <a:pt x="2419" y="2052"/>
                        <a:pt x="2404" y="2041"/>
                      </a:cubicBezTo>
                      <a:lnTo>
                        <a:pt x="2404" y="2041"/>
                      </a:lnTo>
                      <a:cubicBezTo>
                        <a:pt x="2372" y="2019"/>
                        <a:pt x="2341" y="1997"/>
                        <a:pt x="2308" y="1978"/>
                      </a:cubicBezTo>
                      <a:lnTo>
                        <a:pt x="2308" y="1978"/>
                      </a:lnTo>
                      <a:cubicBezTo>
                        <a:pt x="2285" y="1964"/>
                        <a:pt x="2261" y="1953"/>
                        <a:pt x="2237" y="1942"/>
                      </a:cubicBezTo>
                      <a:lnTo>
                        <a:pt x="2237" y="1942"/>
                      </a:lnTo>
                      <a:cubicBezTo>
                        <a:pt x="2215" y="1932"/>
                        <a:pt x="2193" y="1918"/>
                        <a:pt x="2171" y="1907"/>
                      </a:cubicBezTo>
                      <a:lnTo>
                        <a:pt x="2171" y="1907"/>
                      </a:lnTo>
                      <a:cubicBezTo>
                        <a:pt x="2158" y="1900"/>
                        <a:pt x="2141" y="1903"/>
                        <a:pt x="2133" y="1917"/>
                      </a:cubicBezTo>
                      <a:lnTo>
                        <a:pt x="2133" y="1917"/>
                      </a:lnTo>
                      <a:cubicBezTo>
                        <a:pt x="2126" y="1930"/>
                        <a:pt x="2129" y="1948"/>
                        <a:pt x="2143" y="1955"/>
                      </a:cubicBezTo>
                      <a:lnTo>
                        <a:pt x="2143" y="1955"/>
                      </a:lnTo>
                      <a:cubicBezTo>
                        <a:pt x="2165" y="1967"/>
                        <a:pt x="2186" y="1980"/>
                        <a:pt x="2209" y="1990"/>
                      </a:cubicBezTo>
                      <a:lnTo>
                        <a:pt x="2209" y="1990"/>
                      </a:lnTo>
                      <a:cubicBezTo>
                        <a:pt x="2233" y="2001"/>
                        <a:pt x="2257" y="2013"/>
                        <a:pt x="2280" y="2026"/>
                      </a:cubicBezTo>
                      <a:lnTo>
                        <a:pt x="2280" y="2026"/>
                      </a:lnTo>
                      <a:cubicBezTo>
                        <a:pt x="2304" y="2039"/>
                        <a:pt x="2327" y="2057"/>
                        <a:pt x="2350" y="2072"/>
                      </a:cubicBezTo>
                      <a:lnTo>
                        <a:pt x="2350" y="2072"/>
                      </a:lnTo>
                      <a:cubicBezTo>
                        <a:pt x="2373" y="2088"/>
                        <a:pt x="2396" y="2104"/>
                        <a:pt x="2418" y="2120"/>
                      </a:cubicBezTo>
                      <a:lnTo>
                        <a:pt x="2418" y="2120"/>
                      </a:lnTo>
                      <a:cubicBezTo>
                        <a:pt x="2420" y="2121"/>
                        <a:pt x="2421" y="2122"/>
                        <a:pt x="2422" y="2123"/>
                      </a:cubicBezTo>
                      <a:lnTo>
                        <a:pt x="2422" y="2123"/>
                      </a:lnTo>
                      <a:lnTo>
                        <a:pt x="2422" y="2123"/>
                      </a:lnTo>
                      <a:lnTo>
                        <a:pt x="2422" y="2123"/>
                      </a:lnTo>
                      <a:cubicBezTo>
                        <a:pt x="2423" y="2124"/>
                        <a:pt x="2425" y="2125"/>
                        <a:pt x="2426" y="2126"/>
                      </a:cubicBezTo>
                      <a:lnTo>
                        <a:pt x="2426" y="2126"/>
                      </a:lnTo>
                      <a:cubicBezTo>
                        <a:pt x="2429" y="2128"/>
                        <a:pt x="2431" y="2130"/>
                        <a:pt x="2434" y="2133"/>
                      </a:cubicBezTo>
                      <a:lnTo>
                        <a:pt x="2434" y="2133"/>
                      </a:lnTo>
                      <a:cubicBezTo>
                        <a:pt x="2442" y="2139"/>
                        <a:pt x="2450" y="2147"/>
                        <a:pt x="2458" y="2154"/>
                      </a:cubicBezTo>
                      <a:lnTo>
                        <a:pt x="2458" y="2154"/>
                      </a:lnTo>
                      <a:cubicBezTo>
                        <a:pt x="2470" y="2164"/>
                        <a:pt x="2480" y="2176"/>
                        <a:pt x="2490" y="2189"/>
                      </a:cubicBezTo>
                      <a:lnTo>
                        <a:pt x="2490" y="2189"/>
                      </a:lnTo>
                      <a:cubicBezTo>
                        <a:pt x="2496" y="2197"/>
                        <a:pt x="2501" y="2205"/>
                        <a:pt x="2505" y="2214"/>
                      </a:cubicBezTo>
                      <a:lnTo>
                        <a:pt x="2505" y="2214"/>
                      </a:lnTo>
                      <a:cubicBezTo>
                        <a:pt x="2506" y="2218"/>
                        <a:pt x="2508" y="2221"/>
                        <a:pt x="2508" y="2225"/>
                      </a:cubicBezTo>
                      <a:lnTo>
                        <a:pt x="2508" y="2225"/>
                      </a:lnTo>
                      <a:cubicBezTo>
                        <a:pt x="2506" y="2224"/>
                        <a:pt x="2504" y="2224"/>
                        <a:pt x="2502" y="2224"/>
                      </a:cubicBezTo>
                      <a:lnTo>
                        <a:pt x="2502" y="2224"/>
                      </a:lnTo>
                      <a:cubicBezTo>
                        <a:pt x="2485" y="2220"/>
                        <a:pt x="2468" y="2216"/>
                        <a:pt x="2452" y="2209"/>
                      </a:cubicBezTo>
                      <a:lnTo>
                        <a:pt x="2452" y="2209"/>
                      </a:lnTo>
                      <a:cubicBezTo>
                        <a:pt x="2436" y="2203"/>
                        <a:pt x="2420" y="2197"/>
                        <a:pt x="2403" y="2190"/>
                      </a:cubicBezTo>
                      <a:lnTo>
                        <a:pt x="2403" y="2190"/>
                      </a:lnTo>
                      <a:cubicBezTo>
                        <a:pt x="2405" y="2192"/>
                        <a:pt x="2408" y="2192"/>
                        <a:pt x="2410" y="2193"/>
                      </a:cubicBezTo>
                      <a:lnTo>
                        <a:pt x="2410" y="2193"/>
                      </a:lnTo>
                      <a:cubicBezTo>
                        <a:pt x="2338" y="2163"/>
                        <a:pt x="2269" y="2131"/>
                        <a:pt x="2200" y="2094"/>
                      </a:cubicBezTo>
                      <a:lnTo>
                        <a:pt x="2200" y="2094"/>
                      </a:lnTo>
                      <a:cubicBezTo>
                        <a:pt x="2164" y="2075"/>
                        <a:pt x="2127" y="2054"/>
                        <a:pt x="2091" y="2033"/>
                      </a:cubicBezTo>
                      <a:lnTo>
                        <a:pt x="2091" y="2033"/>
                      </a:lnTo>
                      <a:cubicBezTo>
                        <a:pt x="2076" y="2024"/>
                        <a:pt x="2061" y="2015"/>
                        <a:pt x="2046" y="2005"/>
                      </a:cubicBezTo>
                      <a:lnTo>
                        <a:pt x="2046" y="2005"/>
                      </a:lnTo>
                      <a:cubicBezTo>
                        <a:pt x="2029" y="1994"/>
                        <a:pt x="2013" y="1983"/>
                        <a:pt x="1996" y="1971"/>
                      </a:cubicBezTo>
                      <a:lnTo>
                        <a:pt x="1996" y="1971"/>
                      </a:lnTo>
                      <a:cubicBezTo>
                        <a:pt x="1862" y="1877"/>
                        <a:pt x="1731" y="1780"/>
                        <a:pt x="1599" y="1685"/>
                      </a:cubicBezTo>
                      <a:lnTo>
                        <a:pt x="1599" y="1685"/>
                      </a:lnTo>
                      <a:cubicBezTo>
                        <a:pt x="1533" y="1638"/>
                        <a:pt x="1467" y="1591"/>
                        <a:pt x="1400" y="1544"/>
                      </a:cubicBezTo>
                      <a:lnTo>
                        <a:pt x="1400" y="1544"/>
                      </a:lnTo>
                      <a:cubicBezTo>
                        <a:pt x="1337" y="1499"/>
                        <a:pt x="1271" y="1455"/>
                        <a:pt x="1208" y="1407"/>
                      </a:cubicBezTo>
                      <a:lnTo>
                        <a:pt x="1208" y="1407"/>
                      </a:lnTo>
                      <a:cubicBezTo>
                        <a:pt x="1192" y="1395"/>
                        <a:pt x="1176" y="1382"/>
                        <a:pt x="1160" y="1370"/>
                      </a:cubicBezTo>
                      <a:lnTo>
                        <a:pt x="1160" y="1370"/>
                      </a:lnTo>
                      <a:cubicBezTo>
                        <a:pt x="1096" y="1321"/>
                        <a:pt x="1033" y="1270"/>
                        <a:pt x="970" y="1220"/>
                      </a:cubicBezTo>
                      <a:lnTo>
                        <a:pt x="970" y="1220"/>
                      </a:lnTo>
                      <a:cubicBezTo>
                        <a:pt x="909" y="1171"/>
                        <a:pt x="847" y="1124"/>
                        <a:pt x="787" y="1074"/>
                      </a:cubicBezTo>
                      <a:lnTo>
                        <a:pt x="787" y="1074"/>
                      </a:lnTo>
                      <a:cubicBezTo>
                        <a:pt x="770" y="1059"/>
                        <a:pt x="752" y="1044"/>
                        <a:pt x="734" y="1029"/>
                      </a:cubicBezTo>
                      <a:lnTo>
                        <a:pt x="734" y="1029"/>
                      </a:lnTo>
                      <a:cubicBezTo>
                        <a:pt x="717" y="1014"/>
                        <a:pt x="700" y="998"/>
                        <a:pt x="682" y="982"/>
                      </a:cubicBezTo>
                      <a:lnTo>
                        <a:pt x="682" y="982"/>
                      </a:lnTo>
                      <a:cubicBezTo>
                        <a:pt x="670" y="972"/>
                        <a:pt x="659" y="960"/>
                        <a:pt x="647" y="949"/>
                      </a:cubicBezTo>
                      <a:lnTo>
                        <a:pt x="647" y="949"/>
                      </a:lnTo>
                      <a:cubicBezTo>
                        <a:pt x="632" y="935"/>
                        <a:pt x="617" y="921"/>
                        <a:pt x="603" y="907"/>
                      </a:cubicBezTo>
                      <a:lnTo>
                        <a:pt x="603" y="907"/>
                      </a:lnTo>
                      <a:cubicBezTo>
                        <a:pt x="576" y="879"/>
                        <a:pt x="548" y="851"/>
                        <a:pt x="521" y="823"/>
                      </a:cubicBezTo>
                      <a:lnTo>
                        <a:pt x="521" y="823"/>
                      </a:lnTo>
                      <a:cubicBezTo>
                        <a:pt x="491" y="789"/>
                        <a:pt x="461" y="756"/>
                        <a:pt x="431" y="723"/>
                      </a:cubicBezTo>
                      <a:lnTo>
                        <a:pt x="431" y="723"/>
                      </a:lnTo>
                      <a:cubicBezTo>
                        <a:pt x="398" y="685"/>
                        <a:pt x="365" y="647"/>
                        <a:pt x="332" y="609"/>
                      </a:cubicBezTo>
                      <a:lnTo>
                        <a:pt x="332" y="609"/>
                      </a:lnTo>
                      <a:cubicBezTo>
                        <a:pt x="313" y="588"/>
                        <a:pt x="295" y="567"/>
                        <a:pt x="277" y="546"/>
                      </a:cubicBezTo>
                      <a:lnTo>
                        <a:pt x="277" y="546"/>
                      </a:lnTo>
                      <a:cubicBezTo>
                        <a:pt x="263" y="529"/>
                        <a:pt x="249" y="511"/>
                        <a:pt x="235" y="494"/>
                      </a:cubicBezTo>
                      <a:lnTo>
                        <a:pt x="235" y="494"/>
                      </a:lnTo>
                      <a:cubicBezTo>
                        <a:pt x="224" y="478"/>
                        <a:pt x="213" y="463"/>
                        <a:pt x="202" y="447"/>
                      </a:cubicBezTo>
                      <a:lnTo>
                        <a:pt x="202" y="447"/>
                      </a:lnTo>
                      <a:cubicBezTo>
                        <a:pt x="191" y="431"/>
                        <a:pt x="181" y="414"/>
                        <a:pt x="170" y="398"/>
                      </a:cubicBezTo>
                      <a:lnTo>
                        <a:pt x="170" y="398"/>
                      </a:lnTo>
                      <a:cubicBezTo>
                        <a:pt x="160" y="384"/>
                        <a:pt x="152" y="368"/>
                        <a:pt x="143" y="353"/>
                      </a:cubicBezTo>
                      <a:lnTo>
                        <a:pt x="143" y="353"/>
                      </a:lnTo>
                      <a:cubicBezTo>
                        <a:pt x="125" y="323"/>
                        <a:pt x="110" y="293"/>
                        <a:pt x="95" y="262"/>
                      </a:cubicBezTo>
                      <a:lnTo>
                        <a:pt x="95" y="262"/>
                      </a:lnTo>
                      <a:cubicBezTo>
                        <a:pt x="80" y="223"/>
                        <a:pt x="65" y="183"/>
                        <a:pt x="59" y="142"/>
                      </a:cubicBezTo>
                      <a:lnTo>
                        <a:pt x="59" y="142"/>
                      </a:lnTo>
                      <a:lnTo>
                        <a:pt x="59" y="142"/>
                      </a:lnTo>
                      <a:lnTo>
                        <a:pt x="59" y="142"/>
                      </a:lnTo>
                      <a:cubicBezTo>
                        <a:pt x="59" y="141"/>
                        <a:pt x="59" y="141"/>
                        <a:pt x="58" y="140"/>
                      </a:cubicBezTo>
                      <a:lnTo>
                        <a:pt x="58" y="140"/>
                      </a:lnTo>
                      <a:cubicBezTo>
                        <a:pt x="57" y="128"/>
                        <a:pt x="56" y="115"/>
                        <a:pt x="57" y="103"/>
                      </a:cubicBezTo>
                      <a:lnTo>
                        <a:pt x="57" y="103"/>
                      </a:lnTo>
                      <a:cubicBezTo>
                        <a:pt x="59" y="93"/>
                        <a:pt x="61" y="84"/>
                        <a:pt x="65" y="74"/>
                      </a:cubicBezTo>
                      <a:lnTo>
                        <a:pt x="65" y="74"/>
                      </a:lnTo>
                      <a:cubicBezTo>
                        <a:pt x="67" y="70"/>
                        <a:pt x="70" y="66"/>
                        <a:pt x="73" y="62"/>
                      </a:cubicBezTo>
                      <a:lnTo>
                        <a:pt x="73" y="62"/>
                      </a:lnTo>
                      <a:cubicBezTo>
                        <a:pt x="73" y="61"/>
                        <a:pt x="74" y="60"/>
                        <a:pt x="75" y="59"/>
                      </a:cubicBezTo>
                      <a:lnTo>
                        <a:pt x="75" y="59"/>
                      </a:lnTo>
                      <a:cubicBezTo>
                        <a:pt x="76" y="59"/>
                        <a:pt x="76" y="59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81" y="57"/>
                        <a:pt x="84" y="56"/>
                      </a:cubicBezTo>
                      <a:lnTo>
                        <a:pt x="84" y="56"/>
                      </a:lnTo>
                      <a:cubicBezTo>
                        <a:pt x="95" y="55"/>
                        <a:pt x="106" y="55"/>
                        <a:pt x="118" y="56"/>
                      </a:cubicBezTo>
                      <a:lnTo>
                        <a:pt x="118" y="56"/>
                      </a:lnTo>
                      <a:cubicBezTo>
                        <a:pt x="121" y="56"/>
                        <a:pt x="125" y="57"/>
                        <a:pt x="130" y="57"/>
                      </a:cubicBezTo>
                      <a:lnTo>
                        <a:pt x="130" y="57"/>
                      </a:lnTo>
                      <a:cubicBezTo>
                        <a:pt x="129" y="57"/>
                        <a:pt x="128" y="57"/>
                        <a:pt x="127" y="57"/>
                      </a:cubicBezTo>
                      <a:lnTo>
                        <a:pt x="127" y="57"/>
                      </a:lnTo>
                      <a:cubicBezTo>
                        <a:pt x="145" y="60"/>
                        <a:pt x="161" y="64"/>
                        <a:pt x="178" y="70"/>
                      </a:cubicBezTo>
                      <a:lnTo>
                        <a:pt x="178" y="70"/>
                      </a:lnTo>
                      <a:cubicBezTo>
                        <a:pt x="192" y="74"/>
                        <a:pt x="206" y="80"/>
                        <a:pt x="219" y="85"/>
                      </a:cubicBezTo>
                      <a:lnTo>
                        <a:pt x="219" y="85"/>
                      </a:lnTo>
                      <a:cubicBezTo>
                        <a:pt x="236" y="93"/>
                        <a:pt x="254" y="100"/>
                        <a:pt x="270" y="110"/>
                      </a:cubicBezTo>
                      <a:lnTo>
                        <a:pt x="270" y="110"/>
                      </a:lnTo>
                      <a:cubicBezTo>
                        <a:pt x="287" y="119"/>
                        <a:pt x="306" y="128"/>
                        <a:pt x="322" y="140"/>
                      </a:cubicBezTo>
                      <a:lnTo>
                        <a:pt x="322" y="140"/>
                      </a:lnTo>
                      <a:cubicBezTo>
                        <a:pt x="341" y="151"/>
                        <a:pt x="359" y="164"/>
                        <a:pt x="377" y="176"/>
                      </a:cubicBezTo>
                      <a:lnTo>
                        <a:pt x="377" y="176"/>
                      </a:lnTo>
                      <a:cubicBezTo>
                        <a:pt x="392" y="187"/>
                        <a:pt x="406" y="198"/>
                        <a:pt x="421" y="210"/>
                      </a:cubicBezTo>
                      <a:lnTo>
                        <a:pt x="421" y="210"/>
                      </a:lnTo>
                      <a:cubicBezTo>
                        <a:pt x="433" y="219"/>
                        <a:pt x="445" y="229"/>
                        <a:pt x="457" y="239"/>
                      </a:cubicBezTo>
                      <a:lnTo>
                        <a:pt x="457" y="239"/>
                      </a:lnTo>
                      <a:cubicBezTo>
                        <a:pt x="469" y="251"/>
                        <a:pt x="483" y="262"/>
                        <a:pt x="496" y="274"/>
                      </a:cubicBezTo>
                      <a:lnTo>
                        <a:pt x="496" y="274"/>
                      </a:lnTo>
                      <a:cubicBezTo>
                        <a:pt x="508" y="287"/>
                        <a:pt x="522" y="299"/>
                        <a:pt x="534" y="312"/>
                      </a:cubicBezTo>
                      <a:lnTo>
                        <a:pt x="534" y="312"/>
                      </a:lnTo>
                      <a:cubicBezTo>
                        <a:pt x="550" y="329"/>
                        <a:pt x="565" y="346"/>
                        <a:pt x="581" y="363"/>
                      </a:cubicBezTo>
                      <a:lnTo>
                        <a:pt x="581" y="363"/>
                      </a:lnTo>
                      <a:cubicBezTo>
                        <a:pt x="591" y="374"/>
                        <a:pt x="610" y="373"/>
                        <a:pt x="620" y="363"/>
                      </a:cubicBezTo>
                      <a:lnTo>
                        <a:pt x="620" y="363"/>
                      </a:lnTo>
                      <a:cubicBezTo>
                        <a:pt x="632" y="352"/>
                        <a:pt x="630" y="335"/>
                        <a:pt x="620" y="323"/>
                      </a:cubicBezTo>
                      <a:lnTo>
                        <a:pt x="620" y="323"/>
                      </a:lnTo>
                      <a:cubicBezTo>
                        <a:pt x="612" y="313"/>
                        <a:pt x="603" y="304"/>
                        <a:pt x="594" y="294"/>
                      </a:cubicBezTo>
                      <a:lnTo>
                        <a:pt x="594" y="294"/>
                      </a:lnTo>
                      <a:cubicBezTo>
                        <a:pt x="587" y="286"/>
                        <a:pt x="580" y="279"/>
                        <a:pt x="572" y="272"/>
                      </a:cubicBezTo>
                      <a:lnTo>
                        <a:pt x="572" y="272"/>
                      </a:lnTo>
                      <a:cubicBezTo>
                        <a:pt x="558" y="258"/>
                        <a:pt x="545" y="244"/>
                        <a:pt x="531" y="231"/>
                      </a:cubicBezTo>
                      <a:lnTo>
                        <a:pt x="531" y="231"/>
                      </a:lnTo>
                      <a:cubicBezTo>
                        <a:pt x="516" y="217"/>
                        <a:pt x="500" y="204"/>
                        <a:pt x="485" y="190"/>
                      </a:cubicBezTo>
                      <a:lnTo>
                        <a:pt x="485" y="190"/>
                      </a:lnTo>
                      <a:cubicBezTo>
                        <a:pt x="467" y="175"/>
                        <a:pt x="449" y="161"/>
                        <a:pt x="430" y="147"/>
                      </a:cubicBezTo>
                      <a:lnTo>
                        <a:pt x="430" y="147"/>
                      </a:lnTo>
                      <a:cubicBezTo>
                        <a:pt x="399" y="123"/>
                        <a:pt x="366" y="101"/>
                        <a:pt x="333" y="81"/>
                      </a:cubicBezTo>
                      <a:lnTo>
                        <a:pt x="333" y="81"/>
                      </a:lnTo>
                      <a:cubicBezTo>
                        <a:pt x="316" y="71"/>
                        <a:pt x="299" y="61"/>
                        <a:pt x="282" y="53"/>
                      </a:cubicBezTo>
                      <a:lnTo>
                        <a:pt x="282" y="53"/>
                      </a:lnTo>
                      <a:cubicBezTo>
                        <a:pt x="262" y="43"/>
                        <a:pt x="242" y="34"/>
                        <a:pt x="221" y="26"/>
                      </a:cubicBezTo>
                      <a:lnTo>
                        <a:pt x="221" y="26"/>
                      </a:lnTo>
                      <a:cubicBezTo>
                        <a:pt x="203" y="18"/>
                        <a:pt x="184" y="13"/>
                        <a:pt x="166" y="9"/>
                      </a:cubicBezTo>
                      <a:lnTo>
                        <a:pt x="166" y="9"/>
                      </a:lnTo>
                      <a:cubicBezTo>
                        <a:pt x="155" y="6"/>
                        <a:pt x="145" y="4"/>
                        <a:pt x="135" y="3"/>
                      </a:cubicBezTo>
                      <a:lnTo>
                        <a:pt x="135" y="3"/>
                      </a:lnTo>
                      <a:cubicBezTo>
                        <a:pt x="123" y="1"/>
                        <a:pt x="111" y="0"/>
                        <a:pt x="99" y="0"/>
                      </a:cubicBezTo>
                      <a:lnTo>
                        <a:pt x="99" y="0"/>
                      </a:lnTo>
                      <a:cubicBezTo>
                        <a:pt x="95" y="0"/>
                        <a:pt x="91" y="0"/>
                        <a:pt x="8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419">
                  <a:extLst>
                    <a:ext uri="{FF2B5EF4-FFF2-40B4-BE49-F238E27FC236}">
                      <a16:creationId xmlns:a16="http://schemas.microsoft.com/office/drawing/2014/main" id="{53B60103-A422-974F-8DFB-45A6BEB83F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43350" y="4191000"/>
                  <a:ext cx="88900" cy="228600"/>
                </a:xfrm>
                <a:custGeom>
                  <a:avLst/>
                  <a:gdLst>
                    <a:gd name="T0" fmla="*/ 18 w 249"/>
                    <a:gd name="T1" fmla="*/ 3 h 633"/>
                    <a:gd name="T2" fmla="*/ 18 w 249"/>
                    <a:gd name="T3" fmla="*/ 3 h 633"/>
                    <a:gd name="T4" fmla="*/ 6 w 249"/>
                    <a:gd name="T5" fmla="*/ 41 h 633"/>
                    <a:gd name="T6" fmla="*/ 6 w 249"/>
                    <a:gd name="T7" fmla="*/ 41 h 633"/>
                    <a:gd name="T8" fmla="*/ 88 w 249"/>
                    <a:gd name="T9" fmla="*/ 236 h 633"/>
                    <a:gd name="T10" fmla="*/ 88 w 249"/>
                    <a:gd name="T11" fmla="*/ 236 h 633"/>
                    <a:gd name="T12" fmla="*/ 86 w 249"/>
                    <a:gd name="T13" fmla="*/ 229 h 633"/>
                    <a:gd name="T14" fmla="*/ 86 w 249"/>
                    <a:gd name="T15" fmla="*/ 229 h 633"/>
                    <a:gd name="T16" fmla="*/ 155 w 249"/>
                    <a:gd name="T17" fmla="*/ 468 h 633"/>
                    <a:gd name="T18" fmla="*/ 155 w 249"/>
                    <a:gd name="T19" fmla="*/ 468 h 633"/>
                    <a:gd name="T20" fmla="*/ 189 w 249"/>
                    <a:gd name="T21" fmla="*/ 607 h 633"/>
                    <a:gd name="T22" fmla="*/ 189 w 249"/>
                    <a:gd name="T23" fmla="*/ 607 h 633"/>
                    <a:gd name="T24" fmla="*/ 223 w 249"/>
                    <a:gd name="T25" fmla="*/ 629 h 633"/>
                    <a:gd name="T26" fmla="*/ 223 w 249"/>
                    <a:gd name="T27" fmla="*/ 629 h 633"/>
                    <a:gd name="T28" fmla="*/ 244 w 249"/>
                    <a:gd name="T29" fmla="*/ 595 h 633"/>
                    <a:gd name="T30" fmla="*/ 244 w 249"/>
                    <a:gd name="T31" fmla="*/ 595 h 633"/>
                    <a:gd name="T32" fmla="*/ 197 w 249"/>
                    <a:gd name="T33" fmla="*/ 410 h 633"/>
                    <a:gd name="T34" fmla="*/ 197 w 249"/>
                    <a:gd name="T35" fmla="*/ 410 h 633"/>
                    <a:gd name="T36" fmla="*/ 152 w 249"/>
                    <a:gd name="T37" fmla="*/ 251 h 633"/>
                    <a:gd name="T38" fmla="*/ 152 w 249"/>
                    <a:gd name="T39" fmla="*/ 251 h 633"/>
                    <a:gd name="T40" fmla="*/ 56 w 249"/>
                    <a:gd name="T41" fmla="*/ 16 h 633"/>
                    <a:gd name="T42" fmla="*/ 56 w 249"/>
                    <a:gd name="T43" fmla="*/ 16 h 633"/>
                    <a:gd name="T44" fmla="*/ 31 w 249"/>
                    <a:gd name="T45" fmla="*/ 0 h 633"/>
                    <a:gd name="T46" fmla="*/ 31 w 249"/>
                    <a:gd name="T47" fmla="*/ 0 h 633"/>
                    <a:gd name="T48" fmla="*/ 18 w 249"/>
                    <a:gd name="T49" fmla="*/ 3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49" h="633">
                      <a:moveTo>
                        <a:pt x="18" y="3"/>
                      </a:moveTo>
                      <a:lnTo>
                        <a:pt x="18" y="3"/>
                      </a:lnTo>
                      <a:cubicBezTo>
                        <a:pt x="4" y="11"/>
                        <a:pt x="0" y="27"/>
                        <a:pt x="6" y="41"/>
                      </a:cubicBezTo>
                      <a:lnTo>
                        <a:pt x="6" y="41"/>
                      </a:lnTo>
                      <a:cubicBezTo>
                        <a:pt x="36" y="105"/>
                        <a:pt x="64" y="170"/>
                        <a:pt x="88" y="236"/>
                      </a:cubicBezTo>
                      <a:lnTo>
                        <a:pt x="88" y="236"/>
                      </a:lnTo>
                      <a:cubicBezTo>
                        <a:pt x="87" y="234"/>
                        <a:pt x="86" y="231"/>
                        <a:pt x="86" y="229"/>
                      </a:cubicBezTo>
                      <a:lnTo>
                        <a:pt x="86" y="229"/>
                      </a:lnTo>
                      <a:cubicBezTo>
                        <a:pt x="114" y="308"/>
                        <a:pt x="134" y="389"/>
                        <a:pt x="155" y="468"/>
                      </a:cubicBezTo>
                      <a:lnTo>
                        <a:pt x="155" y="468"/>
                      </a:lnTo>
                      <a:cubicBezTo>
                        <a:pt x="167" y="515"/>
                        <a:pt x="179" y="561"/>
                        <a:pt x="189" y="607"/>
                      </a:cubicBezTo>
                      <a:lnTo>
                        <a:pt x="189" y="607"/>
                      </a:lnTo>
                      <a:cubicBezTo>
                        <a:pt x="193" y="622"/>
                        <a:pt x="208" y="632"/>
                        <a:pt x="223" y="629"/>
                      </a:cubicBezTo>
                      <a:lnTo>
                        <a:pt x="223" y="629"/>
                      </a:lnTo>
                      <a:cubicBezTo>
                        <a:pt x="238" y="625"/>
                        <a:pt x="248" y="610"/>
                        <a:pt x="244" y="595"/>
                      </a:cubicBezTo>
                      <a:lnTo>
                        <a:pt x="244" y="595"/>
                      </a:lnTo>
                      <a:cubicBezTo>
                        <a:pt x="229" y="533"/>
                        <a:pt x="214" y="472"/>
                        <a:pt x="197" y="410"/>
                      </a:cubicBezTo>
                      <a:lnTo>
                        <a:pt x="197" y="410"/>
                      </a:lnTo>
                      <a:cubicBezTo>
                        <a:pt x="184" y="357"/>
                        <a:pt x="169" y="303"/>
                        <a:pt x="152" y="251"/>
                      </a:cubicBezTo>
                      <a:lnTo>
                        <a:pt x="152" y="251"/>
                      </a:lnTo>
                      <a:cubicBezTo>
                        <a:pt x="125" y="170"/>
                        <a:pt x="91" y="92"/>
                        <a:pt x="56" y="16"/>
                      </a:cubicBezTo>
                      <a:lnTo>
                        <a:pt x="56" y="16"/>
                      </a:lnTo>
                      <a:cubicBezTo>
                        <a:pt x="52" y="6"/>
                        <a:pt x="41" y="0"/>
                        <a:pt x="31" y="0"/>
                      </a:cubicBezTo>
                      <a:lnTo>
                        <a:pt x="31" y="0"/>
                      </a:lnTo>
                      <a:cubicBezTo>
                        <a:pt x="27" y="0"/>
                        <a:pt x="22" y="1"/>
                        <a:pt x="18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420">
                  <a:extLst>
                    <a:ext uri="{FF2B5EF4-FFF2-40B4-BE49-F238E27FC236}">
                      <a16:creationId xmlns:a16="http://schemas.microsoft.com/office/drawing/2014/main" id="{BC00EF3B-649B-E749-839A-BE1A259393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308475"/>
                  <a:ext cx="38100" cy="144463"/>
                </a:xfrm>
                <a:custGeom>
                  <a:avLst/>
                  <a:gdLst>
                    <a:gd name="T0" fmla="*/ 23 w 104"/>
                    <a:gd name="T1" fmla="*/ 0 h 402"/>
                    <a:gd name="T2" fmla="*/ 23 w 104"/>
                    <a:gd name="T3" fmla="*/ 0 h 402"/>
                    <a:gd name="T4" fmla="*/ 2 w 104"/>
                    <a:gd name="T5" fmla="*/ 34 h 402"/>
                    <a:gd name="T6" fmla="*/ 2 w 104"/>
                    <a:gd name="T7" fmla="*/ 34 h 402"/>
                    <a:gd name="T8" fmla="*/ 43 w 104"/>
                    <a:gd name="T9" fmla="*/ 323 h 402"/>
                    <a:gd name="T10" fmla="*/ 43 w 104"/>
                    <a:gd name="T11" fmla="*/ 323 h 402"/>
                    <a:gd name="T12" fmla="*/ 46 w 104"/>
                    <a:gd name="T13" fmla="*/ 371 h 402"/>
                    <a:gd name="T14" fmla="*/ 46 w 104"/>
                    <a:gd name="T15" fmla="*/ 371 h 402"/>
                    <a:gd name="T16" fmla="*/ 53 w 104"/>
                    <a:gd name="T17" fmla="*/ 391 h 402"/>
                    <a:gd name="T18" fmla="*/ 53 w 104"/>
                    <a:gd name="T19" fmla="*/ 391 h 402"/>
                    <a:gd name="T20" fmla="*/ 73 w 104"/>
                    <a:gd name="T21" fmla="*/ 401 h 402"/>
                    <a:gd name="T22" fmla="*/ 73 w 104"/>
                    <a:gd name="T23" fmla="*/ 401 h 402"/>
                    <a:gd name="T24" fmla="*/ 93 w 104"/>
                    <a:gd name="T25" fmla="*/ 393 h 402"/>
                    <a:gd name="T26" fmla="*/ 93 w 104"/>
                    <a:gd name="T27" fmla="*/ 393 h 402"/>
                    <a:gd name="T28" fmla="*/ 102 w 104"/>
                    <a:gd name="T29" fmla="*/ 374 h 402"/>
                    <a:gd name="T30" fmla="*/ 102 w 104"/>
                    <a:gd name="T31" fmla="*/ 374 h 402"/>
                    <a:gd name="T32" fmla="*/ 94 w 104"/>
                    <a:gd name="T33" fmla="*/ 275 h 402"/>
                    <a:gd name="T34" fmla="*/ 94 w 104"/>
                    <a:gd name="T35" fmla="*/ 275 h 402"/>
                    <a:gd name="T36" fmla="*/ 85 w 104"/>
                    <a:gd name="T37" fmla="*/ 207 h 402"/>
                    <a:gd name="T38" fmla="*/ 85 w 104"/>
                    <a:gd name="T39" fmla="*/ 207 h 402"/>
                    <a:gd name="T40" fmla="*/ 57 w 104"/>
                    <a:gd name="T41" fmla="*/ 21 h 402"/>
                    <a:gd name="T42" fmla="*/ 57 w 104"/>
                    <a:gd name="T43" fmla="*/ 21 h 402"/>
                    <a:gd name="T44" fmla="*/ 28 w 104"/>
                    <a:gd name="T45" fmla="*/ 0 h 402"/>
                    <a:gd name="T46" fmla="*/ 28 w 104"/>
                    <a:gd name="T47" fmla="*/ 0 h 402"/>
                    <a:gd name="T48" fmla="*/ 23 w 104"/>
                    <a:gd name="T49" fmla="*/ 0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4" h="402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8" y="4"/>
                        <a:pt x="0" y="19"/>
                        <a:pt x="2" y="34"/>
                      </a:cubicBezTo>
                      <a:lnTo>
                        <a:pt x="2" y="34"/>
                      </a:lnTo>
                      <a:cubicBezTo>
                        <a:pt x="17" y="130"/>
                        <a:pt x="33" y="226"/>
                        <a:pt x="43" y="323"/>
                      </a:cubicBezTo>
                      <a:lnTo>
                        <a:pt x="43" y="323"/>
                      </a:lnTo>
                      <a:cubicBezTo>
                        <a:pt x="44" y="339"/>
                        <a:pt x="46" y="355"/>
                        <a:pt x="46" y="371"/>
                      </a:cubicBezTo>
                      <a:lnTo>
                        <a:pt x="46" y="371"/>
                      </a:lnTo>
                      <a:cubicBezTo>
                        <a:pt x="47" y="379"/>
                        <a:pt x="48" y="385"/>
                        <a:pt x="53" y="391"/>
                      </a:cubicBezTo>
                      <a:lnTo>
                        <a:pt x="53" y="391"/>
                      </a:lnTo>
                      <a:cubicBezTo>
                        <a:pt x="58" y="397"/>
                        <a:pt x="65" y="400"/>
                        <a:pt x="73" y="401"/>
                      </a:cubicBezTo>
                      <a:lnTo>
                        <a:pt x="73" y="401"/>
                      </a:lnTo>
                      <a:cubicBezTo>
                        <a:pt x="80" y="401"/>
                        <a:pt x="87" y="398"/>
                        <a:pt x="93" y="393"/>
                      </a:cubicBezTo>
                      <a:lnTo>
                        <a:pt x="93" y="393"/>
                      </a:lnTo>
                      <a:cubicBezTo>
                        <a:pt x="98" y="389"/>
                        <a:pt x="103" y="381"/>
                        <a:pt x="102" y="374"/>
                      </a:cubicBezTo>
                      <a:lnTo>
                        <a:pt x="102" y="374"/>
                      </a:lnTo>
                      <a:cubicBezTo>
                        <a:pt x="100" y="341"/>
                        <a:pt x="97" y="308"/>
                        <a:pt x="94" y="275"/>
                      </a:cubicBezTo>
                      <a:lnTo>
                        <a:pt x="94" y="275"/>
                      </a:lnTo>
                      <a:cubicBezTo>
                        <a:pt x="91" y="253"/>
                        <a:pt x="88" y="230"/>
                        <a:pt x="85" y="207"/>
                      </a:cubicBezTo>
                      <a:lnTo>
                        <a:pt x="85" y="207"/>
                      </a:lnTo>
                      <a:cubicBezTo>
                        <a:pt x="76" y="145"/>
                        <a:pt x="67" y="83"/>
                        <a:pt x="57" y="21"/>
                      </a:cubicBezTo>
                      <a:lnTo>
                        <a:pt x="57" y="21"/>
                      </a:lnTo>
                      <a:cubicBezTo>
                        <a:pt x="54" y="8"/>
                        <a:pt x="41" y="0"/>
                        <a:pt x="28" y="0"/>
                      </a:cubicBezTo>
                      <a:lnTo>
                        <a:pt x="28" y="0"/>
                      </a:lnTo>
                      <a:cubicBezTo>
                        <a:pt x="27" y="0"/>
                        <a:pt x="25" y="0"/>
                        <a:pt x="2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421">
                  <a:extLst>
                    <a:ext uri="{FF2B5EF4-FFF2-40B4-BE49-F238E27FC236}">
                      <a16:creationId xmlns:a16="http://schemas.microsoft.com/office/drawing/2014/main" id="{7A7F529C-F939-5447-A847-A30277B576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500563"/>
                  <a:ext cx="20637" cy="71437"/>
                </a:xfrm>
                <a:custGeom>
                  <a:avLst/>
                  <a:gdLst>
                    <a:gd name="T0" fmla="*/ 1 w 58"/>
                    <a:gd name="T1" fmla="*/ 27 h 198"/>
                    <a:gd name="T2" fmla="*/ 1 w 58"/>
                    <a:gd name="T3" fmla="*/ 27 h 198"/>
                    <a:gd name="T4" fmla="*/ 0 w 58"/>
                    <a:gd name="T5" fmla="*/ 167 h 198"/>
                    <a:gd name="T6" fmla="*/ 0 w 58"/>
                    <a:gd name="T7" fmla="*/ 167 h 198"/>
                    <a:gd name="T8" fmla="*/ 26 w 58"/>
                    <a:gd name="T9" fmla="*/ 196 h 198"/>
                    <a:gd name="T10" fmla="*/ 26 w 58"/>
                    <a:gd name="T11" fmla="*/ 196 h 198"/>
                    <a:gd name="T12" fmla="*/ 56 w 58"/>
                    <a:gd name="T13" fmla="*/ 170 h 198"/>
                    <a:gd name="T14" fmla="*/ 56 w 58"/>
                    <a:gd name="T15" fmla="*/ 170 h 198"/>
                    <a:gd name="T16" fmla="*/ 57 w 58"/>
                    <a:gd name="T17" fmla="*/ 29 h 198"/>
                    <a:gd name="T18" fmla="*/ 57 w 58"/>
                    <a:gd name="T19" fmla="*/ 29 h 198"/>
                    <a:gd name="T20" fmla="*/ 30 w 58"/>
                    <a:gd name="T21" fmla="*/ 0 h 198"/>
                    <a:gd name="T22" fmla="*/ 30 w 58"/>
                    <a:gd name="T23" fmla="*/ 0 h 198"/>
                    <a:gd name="T24" fmla="*/ 29 w 58"/>
                    <a:gd name="T25" fmla="*/ 0 h 198"/>
                    <a:gd name="T26" fmla="*/ 29 w 58"/>
                    <a:gd name="T27" fmla="*/ 0 h 198"/>
                    <a:gd name="T28" fmla="*/ 1 w 58"/>
                    <a:gd name="T29" fmla="*/ 27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8" h="198">
                      <a:moveTo>
                        <a:pt x="1" y="27"/>
                      </a:moveTo>
                      <a:lnTo>
                        <a:pt x="1" y="27"/>
                      </a:lnTo>
                      <a:cubicBezTo>
                        <a:pt x="0" y="73"/>
                        <a:pt x="0" y="120"/>
                        <a:pt x="0" y="167"/>
                      </a:cubicBezTo>
                      <a:lnTo>
                        <a:pt x="0" y="167"/>
                      </a:lnTo>
                      <a:cubicBezTo>
                        <a:pt x="0" y="182"/>
                        <a:pt x="11" y="195"/>
                        <a:pt x="26" y="196"/>
                      </a:cubicBezTo>
                      <a:lnTo>
                        <a:pt x="26" y="196"/>
                      </a:lnTo>
                      <a:cubicBezTo>
                        <a:pt x="42" y="197"/>
                        <a:pt x="56" y="185"/>
                        <a:pt x="56" y="170"/>
                      </a:cubicBezTo>
                      <a:lnTo>
                        <a:pt x="56" y="170"/>
                      </a:lnTo>
                      <a:cubicBezTo>
                        <a:pt x="56" y="123"/>
                        <a:pt x="56" y="76"/>
                        <a:pt x="57" y="29"/>
                      </a:cubicBezTo>
                      <a:lnTo>
                        <a:pt x="57" y="29"/>
                      </a:lnTo>
                      <a:cubicBezTo>
                        <a:pt x="57" y="14"/>
                        <a:pt x="46" y="1"/>
                        <a:pt x="30" y="0"/>
                      </a:cubicBezTo>
                      <a:lnTo>
                        <a:pt x="30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cubicBezTo>
                        <a:pt x="15" y="0"/>
                        <a:pt x="1" y="12"/>
                        <a:pt x="1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422">
                  <a:extLst>
                    <a:ext uri="{FF2B5EF4-FFF2-40B4-BE49-F238E27FC236}">
                      <a16:creationId xmlns:a16="http://schemas.microsoft.com/office/drawing/2014/main" id="{F0B2AB66-625F-724D-A5D5-459923944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975" y="4108450"/>
                  <a:ext cx="138113" cy="117475"/>
                </a:xfrm>
                <a:custGeom>
                  <a:avLst/>
                  <a:gdLst>
                    <a:gd name="T0" fmla="*/ 352 w 383"/>
                    <a:gd name="T1" fmla="*/ 61 h 326"/>
                    <a:gd name="T2" fmla="*/ 352 w 383"/>
                    <a:gd name="T3" fmla="*/ 61 h 326"/>
                    <a:gd name="T4" fmla="*/ 348 w 383"/>
                    <a:gd name="T5" fmla="*/ 64 h 326"/>
                    <a:gd name="T6" fmla="*/ 348 w 383"/>
                    <a:gd name="T7" fmla="*/ 64 h 326"/>
                    <a:gd name="T8" fmla="*/ 352 w 383"/>
                    <a:gd name="T9" fmla="*/ 61 h 326"/>
                    <a:gd name="T10" fmla="*/ 340 w 383"/>
                    <a:gd name="T11" fmla="*/ 3 h 326"/>
                    <a:gd name="T12" fmla="*/ 340 w 383"/>
                    <a:gd name="T13" fmla="*/ 3 h 326"/>
                    <a:gd name="T14" fmla="*/ 179 w 383"/>
                    <a:gd name="T15" fmla="*/ 126 h 326"/>
                    <a:gd name="T16" fmla="*/ 179 w 383"/>
                    <a:gd name="T17" fmla="*/ 126 h 326"/>
                    <a:gd name="T18" fmla="*/ 116 w 383"/>
                    <a:gd name="T19" fmla="*/ 181 h 326"/>
                    <a:gd name="T20" fmla="*/ 116 w 383"/>
                    <a:gd name="T21" fmla="*/ 181 h 326"/>
                    <a:gd name="T22" fmla="*/ 13 w 383"/>
                    <a:gd name="T23" fmla="*/ 274 h 326"/>
                    <a:gd name="T24" fmla="*/ 13 w 383"/>
                    <a:gd name="T25" fmla="*/ 274 h 326"/>
                    <a:gd name="T26" fmla="*/ 10 w 383"/>
                    <a:gd name="T27" fmla="*/ 313 h 326"/>
                    <a:gd name="T28" fmla="*/ 10 w 383"/>
                    <a:gd name="T29" fmla="*/ 313 h 326"/>
                    <a:gd name="T30" fmla="*/ 50 w 383"/>
                    <a:gd name="T31" fmla="*/ 315 h 326"/>
                    <a:gd name="T32" fmla="*/ 50 w 383"/>
                    <a:gd name="T33" fmla="*/ 315 h 326"/>
                    <a:gd name="T34" fmla="*/ 148 w 383"/>
                    <a:gd name="T35" fmla="*/ 227 h 326"/>
                    <a:gd name="T36" fmla="*/ 148 w 383"/>
                    <a:gd name="T37" fmla="*/ 227 h 326"/>
                    <a:gd name="T38" fmla="*/ 193 w 383"/>
                    <a:gd name="T39" fmla="*/ 188 h 326"/>
                    <a:gd name="T40" fmla="*/ 193 w 383"/>
                    <a:gd name="T41" fmla="*/ 188 h 326"/>
                    <a:gd name="T42" fmla="*/ 214 w 383"/>
                    <a:gd name="T43" fmla="*/ 170 h 326"/>
                    <a:gd name="T44" fmla="*/ 214 w 383"/>
                    <a:gd name="T45" fmla="*/ 170 h 326"/>
                    <a:gd name="T46" fmla="*/ 280 w 383"/>
                    <a:gd name="T47" fmla="*/ 115 h 326"/>
                    <a:gd name="T48" fmla="*/ 280 w 383"/>
                    <a:gd name="T49" fmla="*/ 115 h 326"/>
                    <a:gd name="T50" fmla="*/ 347 w 383"/>
                    <a:gd name="T51" fmla="*/ 65 h 326"/>
                    <a:gd name="T52" fmla="*/ 347 w 383"/>
                    <a:gd name="T53" fmla="*/ 65 h 326"/>
                    <a:gd name="T54" fmla="*/ 366 w 383"/>
                    <a:gd name="T55" fmla="*/ 53 h 326"/>
                    <a:gd name="T56" fmla="*/ 366 w 383"/>
                    <a:gd name="T57" fmla="*/ 53 h 326"/>
                    <a:gd name="T58" fmla="*/ 379 w 383"/>
                    <a:gd name="T59" fmla="*/ 37 h 326"/>
                    <a:gd name="T60" fmla="*/ 379 w 383"/>
                    <a:gd name="T61" fmla="*/ 37 h 326"/>
                    <a:gd name="T62" fmla="*/ 378 w 383"/>
                    <a:gd name="T63" fmla="*/ 16 h 326"/>
                    <a:gd name="T64" fmla="*/ 378 w 383"/>
                    <a:gd name="T65" fmla="*/ 16 h 326"/>
                    <a:gd name="T66" fmla="*/ 352 w 383"/>
                    <a:gd name="T67" fmla="*/ 0 h 326"/>
                    <a:gd name="T68" fmla="*/ 352 w 383"/>
                    <a:gd name="T69" fmla="*/ 0 h 326"/>
                    <a:gd name="T70" fmla="*/ 340 w 383"/>
                    <a:gd name="T71" fmla="*/ 3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83" h="326">
                      <a:moveTo>
                        <a:pt x="352" y="61"/>
                      </a:moveTo>
                      <a:lnTo>
                        <a:pt x="352" y="61"/>
                      </a:lnTo>
                      <a:cubicBezTo>
                        <a:pt x="351" y="63"/>
                        <a:pt x="349" y="63"/>
                        <a:pt x="348" y="64"/>
                      </a:cubicBezTo>
                      <a:lnTo>
                        <a:pt x="348" y="64"/>
                      </a:lnTo>
                      <a:cubicBezTo>
                        <a:pt x="349" y="63"/>
                        <a:pt x="351" y="63"/>
                        <a:pt x="352" y="61"/>
                      </a:cubicBezTo>
                      <a:close/>
                      <a:moveTo>
                        <a:pt x="340" y="3"/>
                      </a:moveTo>
                      <a:lnTo>
                        <a:pt x="340" y="3"/>
                      </a:lnTo>
                      <a:cubicBezTo>
                        <a:pt x="284" y="40"/>
                        <a:pt x="231" y="83"/>
                        <a:pt x="179" y="126"/>
                      </a:cubicBezTo>
                      <a:lnTo>
                        <a:pt x="179" y="126"/>
                      </a:lnTo>
                      <a:cubicBezTo>
                        <a:pt x="157" y="144"/>
                        <a:pt x="137" y="162"/>
                        <a:pt x="116" y="181"/>
                      </a:cubicBezTo>
                      <a:lnTo>
                        <a:pt x="116" y="181"/>
                      </a:lnTo>
                      <a:cubicBezTo>
                        <a:pt x="82" y="212"/>
                        <a:pt x="47" y="242"/>
                        <a:pt x="13" y="274"/>
                      </a:cubicBezTo>
                      <a:lnTo>
                        <a:pt x="13" y="274"/>
                      </a:lnTo>
                      <a:cubicBezTo>
                        <a:pt x="1" y="283"/>
                        <a:pt x="0" y="302"/>
                        <a:pt x="10" y="313"/>
                      </a:cubicBezTo>
                      <a:lnTo>
                        <a:pt x="10" y="313"/>
                      </a:lnTo>
                      <a:cubicBezTo>
                        <a:pt x="21" y="324"/>
                        <a:pt x="39" y="325"/>
                        <a:pt x="50" y="315"/>
                      </a:cubicBezTo>
                      <a:lnTo>
                        <a:pt x="50" y="315"/>
                      </a:lnTo>
                      <a:cubicBezTo>
                        <a:pt x="83" y="285"/>
                        <a:pt x="115" y="256"/>
                        <a:pt x="148" y="227"/>
                      </a:cubicBezTo>
                      <a:lnTo>
                        <a:pt x="148" y="227"/>
                      </a:lnTo>
                      <a:cubicBezTo>
                        <a:pt x="163" y="214"/>
                        <a:pt x="178" y="201"/>
                        <a:pt x="193" y="188"/>
                      </a:cubicBezTo>
                      <a:lnTo>
                        <a:pt x="193" y="188"/>
                      </a:lnTo>
                      <a:cubicBezTo>
                        <a:pt x="200" y="182"/>
                        <a:pt x="207" y="175"/>
                        <a:pt x="214" y="170"/>
                      </a:cubicBezTo>
                      <a:lnTo>
                        <a:pt x="214" y="170"/>
                      </a:lnTo>
                      <a:cubicBezTo>
                        <a:pt x="236" y="152"/>
                        <a:pt x="258" y="133"/>
                        <a:pt x="280" y="115"/>
                      </a:cubicBezTo>
                      <a:lnTo>
                        <a:pt x="280" y="115"/>
                      </a:lnTo>
                      <a:cubicBezTo>
                        <a:pt x="302" y="98"/>
                        <a:pt x="324" y="82"/>
                        <a:pt x="347" y="65"/>
                      </a:cubicBezTo>
                      <a:lnTo>
                        <a:pt x="347" y="65"/>
                      </a:lnTo>
                      <a:cubicBezTo>
                        <a:pt x="353" y="61"/>
                        <a:pt x="359" y="57"/>
                        <a:pt x="366" y="53"/>
                      </a:cubicBezTo>
                      <a:lnTo>
                        <a:pt x="366" y="53"/>
                      </a:lnTo>
                      <a:cubicBezTo>
                        <a:pt x="372" y="49"/>
                        <a:pt x="377" y="44"/>
                        <a:pt x="379" y="37"/>
                      </a:cubicBezTo>
                      <a:lnTo>
                        <a:pt x="379" y="37"/>
                      </a:lnTo>
                      <a:cubicBezTo>
                        <a:pt x="382" y="30"/>
                        <a:pt x="381" y="22"/>
                        <a:pt x="378" y="16"/>
                      </a:cubicBezTo>
                      <a:lnTo>
                        <a:pt x="378" y="16"/>
                      </a:lnTo>
                      <a:cubicBezTo>
                        <a:pt x="373" y="6"/>
                        <a:pt x="362" y="0"/>
                        <a:pt x="352" y="0"/>
                      </a:cubicBezTo>
                      <a:lnTo>
                        <a:pt x="352" y="0"/>
                      </a:lnTo>
                      <a:cubicBezTo>
                        <a:pt x="348" y="0"/>
                        <a:pt x="344" y="1"/>
                        <a:pt x="34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423">
                  <a:extLst>
                    <a:ext uri="{FF2B5EF4-FFF2-40B4-BE49-F238E27FC236}">
                      <a16:creationId xmlns:a16="http://schemas.microsoft.com/office/drawing/2014/main" id="{98DBE6EC-29E6-AC47-AE78-2A76F48F3C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7263" y="4176713"/>
                  <a:ext cx="120650" cy="69850"/>
                </a:xfrm>
                <a:custGeom>
                  <a:avLst/>
                  <a:gdLst>
                    <a:gd name="T0" fmla="*/ 287 w 333"/>
                    <a:gd name="T1" fmla="*/ 3 h 194"/>
                    <a:gd name="T2" fmla="*/ 287 w 333"/>
                    <a:gd name="T3" fmla="*/ 3 h 194"/>
                    <a:gd name="T4" fmla="*/ 155 w 333"/>
                    <a:gd name="T5" fmla="*/ 65 h 194"/>
                    <a:gd name="T6" fmla="*/ 155 w 333"/>
                    <a:gd name="T7" fmla="*/ 65 h 194"/>
                    <a:gd name="T8" fmla="*/ 19 w 333"/>
                    <a:gd name="T9" fmla="*/ 136 h 194"/>
                    <a:gd name="T10" fmla="*/ 19 w 333"/>
                    <a:gd name="T11" fmla="*/ 136 h 194"/>
                    <a:gd name="T12" fmla="*/ 7 w 333"/>
                    <a:gd name="T13" fmla="*/ 174 h 194"/>
                    <a:gd name="T14" fmla="*/ 7 w 333"/>
                    <a:gd name="T15" fmla="*/ 174 h 194"/>
                    <a:gd name="T16" fmla="*/ 44 w 333"/>
                    <a:gd name="T17" fmla="*/ 186 h 194"/>
                    <a:gd name="T18" fmla="*/ 44 w 333"/>
                    <a:gd name="T19" fmla="*/ 186 h 194"/>
                    <a:gd name="T20" fmla="*/ 181 w 333"/>
                    <a:gd name="T21" fmla="*/ 114 h 194"/>
                    <a:gd name="T22" fmla="*/ 181 w 333"/>
                    <a:gd name="T23" fmla="*/ 114 h 194"/>
                    <a:gd name="T24" fmla="*/ 313 w 333"/>
                    <a:gd name="T25" fmla="*/ 52 h 194"/>
                    <a:gd name="T26" fmla="*/ 313 w 333"/>
                    <a:gd name="T27" fmla="*/ 52 h 194"/>
                    <a:gd name="T28" fmla="*/ 325 w 333"/>
                    <a:gd name="T29" fmla="*/ 15 h 194"/>
                    <a:gd name="T30" fmla="*/ 325 w 333"/>
                    <a:gd name="T31" fmla="*/ 15 h 194"/>
                    <a:gd name="T32" fmla="*/ 301 w 333"/>
                    <a:gd name="T33" fmla="*/ 0 h 194"/>
                    <a:gd name="T34" fmla="*/ 301 w 333"/>
                    <a:gd name="T35" fmla="*/ 0 h 194"/>
                    <a:gd name="T36" fmla="*/ 287 w 333"/>
                    <a:gd name="T37" fmla="*/ 3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33" h="194">
                      <a:moveTo>
                        <a:pt x="287" y="3"/>
                      </a:moveTo>
                      <a:lnTo>
                        <a:pt x="287" y="3"/>
                      </a:lnTo>
                      <a:cubicBezTo>
                        <a:pt x="243" y="23"/>
                        <a:pt x="200" y="43"/>
                        <a:pt x="155" y="65"/>
                      </a:cubicBezTo>
                      <a:lnTo>
                        <a:pt x="155" y="65"/>
                      </a:lnTo>
                      <a:cubicBezTo>
                        <a:pt x="110" y="87"/>
                        <a:pt x="64" y="111"/>
                        <a:pt x="19" y="136"/>
                      </a:cubicBezTo>
                      <a:lnTo>
                        <a:pt x="19" y="136"/>
                      </a:lnTo>
                      <a:cubicBezTo>
                        <a:pt x="5" y="143"/>
                        <a:pt x="0" y="160"/>
                        <a:pt x="7" y="174"/>
                      </a:cubicBezTo>
                      <a:lnTo>
                        <a:pt x="7" y="174"/>
                      </a:lnTo>
                      <a:cubicBezTo>
                        <a:pt x="14" y="187"/>
                        <a:pt x="31" y="193"/>
                        <a:pt x="44" y="186"/>
                      </a:cubicBezTo>
                      <a:lnTo>
                        <a:pt x="44" y="186"/>
                      </a:lnTo>
                      <a:cubicBezTo>
                        <a:pt x="90" y="161"/>
                        <a:pt x="135" y="137"/>
                        <a:pt x="181" y="114"/>
                      </a:cubicBezTo>
                      <a:lnTo>
                        <a:pt x="181" y="114"/>
                      </a:lnTo>
                      <a:cubicBezTo>
                        <a:pt x="225" y="93"/>
                        <a:pt x="269" y="72"/>
                        <a:pt x="313" y="52"/>
                      </a:cubicBezTo>
                      <a:lnTo>
                        <a:pt x="313" y="52"/>
                      </a:lnTo>
                      <a:cubicBezTo>
                        <a:pt x="327" y="46"/>
                        <a:pt x="332" y="27"/>
                        <a:pt x="325" y="15"/>
                      </a:cubicBezTo>
                      <a:lnTo>
                        <a:pt x="325" y="15"/>
                      </a:lnTo>
                      <a:cubicBezTo>
                        <a:pt x="320" y="5"/>
                        <a:pt x="311" y="0"/>
                        <a:pt x="301" y="0"/>
                      </a:cubicBezTo>
                      <a:lnTo>
                        <a:pt x="301" y="0"/>
                      </a:lnTo>
                      <a:cubicBezTo>
                        <a:pt x="296" y="0"/>
                        <a:pt x="292" y="1"/>
                        <a:pt x="287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424">
                  <a:extLst>
                    <a:ext uri="{FF2B5EF4-FFF2-40B4-BE49-F238E27FC236}">
                      <a16:creationId xmlns:a16="http://schemas.microsoft.com/office/drawing/2014/main" id="{B4DA948D-9CD8-C04E-8D90-E31B5CE59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6150" y="4297363"/>
                  <a:ext cx="20638" cy="20637"/>
                </a:xfrm>
                <a:custGeom>
                  <a:avLst/>
                  <a:gdLst>
                    <a:gd name="T0" fmla="*/ 0 w 58"/>
                    <a:gd name="T1" fmla="*/ 26 h 57"/>
                    <a:gd name="T2" fmla="*/ 0 w 58"/>
                    <a:gd name="T3" fmla="*/ 26 h 57"/>
                    <a:gd name="T4" fmla="*/ 27 w 58"/>
                    <a:gd name="T5" fmla="*/ 56 h 57"/>
                    <a:gd name="T6" fmla="*/ 27 w 58"/>
                    <a:gd name="T7" fmla="*/ 56 h 57"/>
                    <a:gd name="T8" fmla="*/ 56 w 58"/>
                    <a:gd name="T9" fmla="*/ 29 h 57"/>
                    <a:gd name="T10" fmla="*/ 56 w 58"/>
                    <a:gd name="T11" fmla="*/ 29 h 57"/>
                    <a:gd name="T12" fmla="*/ 30 w 58"/>
                    <a:gd name="T13" fmla="*/ 0 h 57"/>
                    <a:gd name="T14" fmla="*/ 30 w 58"/>
                    <a:gd name="T15" fmla="*/ 0 h 57"/>
                    <a:gd name="T16" fmla="*/ 0 w 58"/>
                    <a:gd name="T17" fmla="*/ 2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8" h="57">
                      <a:moveTo>
                        <a:pt x="0" y="26"/>
                      </a:moveTo>
                      <a:lnTo>
                        <a:pt x="0" y="26"/>
                      </a:lnTo>
                      <a:cubicBezTo>
                        <a:pt x="0" y="41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2" y="56"/>
                        <a:pt x="55" y="45"/>
                        <a:pt x="56" y="29"/>
                      </a:cubicBezTo>
                      <a:lnTo>
                        <a:pt x="56" y="29"/>
                      </a:lnTo>
                      <a:cubicBezTo>
                        <a:pt x="57" y="15"/>
                        <a:pt x="45" y="0"/>
                        <a:pt x="30" y="0"/>
                      </a:cubicBezTo>
                      <a:lnTo>
                        <a:pt x="30" y="0"/>
                      </a:lnTo>
                      <a:cubicBezTo>
                        <a:pt x="14" y="0"/>
                        <a:pt x="1" y="11"/>
                        <a:pt x="0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425">
                  <a:extLst>
                    <a:ext uri="{FF2B5EF4-FFF2-40B4-BE49-F238E27FC236}">
                      <a16:creationId xmlns:a16="http://schemas.microsoft.com/office/drawing/2014/main" id="{C11CC5AF-57EE-5743-8341-4A3C039723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5338" y="4556125"/>
                  <a:ext cx="57150" cy="128588"/>
                </a:xfrm>
                <a:custGeom>
                  <a:avLst/>
                  <a:gdLst>
                    <a:gd name="T0" fmla="*/ 24 w 157"/>
                    <a:gd name="T1" fmla="*/ 1 h 355"/>
                    <a:gd name="T2" fmla="*/ 24 w 157"/>
                    <a:gd name="T3" fmla="*/ 1 h 355"/>
                    <a:gd name="T4" fmla="*/ 3 w 157"/>
                    <a:gd name="T5" fmla="*/ 34 h 355"/>
                    <a:gd name="T6" fmla="*/ 3 w 157"/>
                    <a:gd name="T7" fmla="*/ 34 h 355"/>
                    <a:gd name="T8" fmla="*/ 39 w 157"/>
                    <a:gd name="T9" fmla="*/ 187 h 355"/>
                    <a:gd name="T10" fmla="*/ 39 w 157"/>
                    <a:gd name="T11" fmla="*/ 187 h 355"/>
                    <a:gd name="T12" fmla="*/ 48 w 157"/>
                    <a:gd name="T13" fmla="*/ 218 h 355"/>
                    <a:gd name="T14" fmla="*/ 48 w 157"/>
                    <a:gd name="T15" fmla="*/ 218 h 355"/>
                    <a:gd name="T16" fmla="*/ 60 w 157"/>
                    <a:gd name="T17" fmla="*/ 251 h 355"/>
                    <a:gd name="T18" fmla="*/ 60 w 157"/>
                    <a:gd name="T19" fmla="*/ 251 h 355"/>
                    <a:gd name="T20" fmla="*/ 99 w 157"/>
                    <a:gd name="T21" fmla="*/ 335 h 355"/>
                    <a:gd name="T22" fmla="*/ 99 w 157"/>
                    <a:gd name="T23" fmla="*/ 335 h 355"/>
                    <a:gd name="T24" fmla="*/ 137 w 157"/>
                    <a:gd name="T25" fmla="*/ 347 h 355"/>
                    <a:gd name="T26" fmla="*/ 137 w 157"/>
                    <a:gd name="T27" fmla="*/ 347 h 355"/>
                    <a:gd name="T28" fmla="*/ 149 w 157"/>
                    <a:gd name="T29" fmla="*/ 309 h 355"/>
                    <a:gd name="T30" fmla="*/ 149 w 157"/>
                    <a:gd name="T31" fmla="*/ 309 h 355"/>
                    <a:gd name="T32" fmla="*/ 126 w 157"/>
                    <a:gd name="T33" fmla="*/ 266 h 355"/>
                    <a:gd name="T34" fmla="*/ 126 w 157"/>
                    <a:gd name="T35" fmla="*/ 266 h 355"/>
                    <a:gd name="T36" fmla="*/ 115 w 157"/>
                    <a:gd name="T37" fmla="*/ 240 h 355"/>
                    <a:gd name="T38" fmla="*/ 115 w 157"/>
                    <a:gd name="T39" fmla="*/ 240 h 355"/>
                    <a:gd name="T40" fmla="*/ 115 w 157"/>
                    <a:gd name="T41" fmla="*/ 240 h 355"/>
                    <a:gd name="T42" fmla="*/ 115 w 157"/>
                    <a:gd name="T43" fmla="*/ 240 h 355"/>
                    <a:gd name="T44" fmla="*/ 102 w 157"/>
                    <a:gd name="T45" fmla="*/ 203 h 355"/>
                    <a:gd name="T46" fmla="*/ 102 w 157"/>
                    <a:gd name="T47" fmla="*/ 203 h 355"/>
                    <a:gd name="T48" fmla="*/ 87 w 157"/>
                    <a:gd name="T49" fmla="*/ 150 h 355"/>
                    <a:gd name="T50" fmla="*/ 87 w 157"/>
                    <a:gd name="T51" fmla="*/ 150 h 355"/>
                    <a:gd name="T52" fmla="*/ 75 w 157"/>
                    <a:gd name="T53" fmla="*/ 96 h 355"/>
                    <a:gd name="T54" fmla="*/ 75 w 157"/>
                    <a:gd name="T55" fmla="*/ 96 h 355"/>
                    <a:gd name="T56" fmla="*/ 57 w 157"/>
                    <a:gd name="T57" fmla="*/ 23 h 355"/>
                    <a:gd name="T58" fmla="*/ 57 w 157"/>
                    <a:gd name="T59" fmla="*/ 23 h 355"/>
                    <a:gd name="T60" fmla="*/ 30 w 157"/>
                    <a:gd name="T61" fmla="*/ 0 h 355"/>
                    <a:gd name="T62" fmla="*/ 30 w 157"/>
                    <a:gd name="T63" fmla="*/ 0 h 355"/>
                    <a:gd name="T64" fmla="*/ 24 w 157"/>
                    <a:gd name="T65" fmla="*/ 1 h 3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7" h="355"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9" y="4"/>
                        <a:pt x="0" y="20"/>
                        <a:pt x="3" y="34"/>
                      </a:cubicBezTo>
                      <a:lnTo>
                        <a:pt x="3" y="34"/>
                      </a:lnTo>
                      <a:cubicBezTo>
                        <a:pt x="15" y="85"/>
                        <a:pt x="26" y="136"/>
                        <a:pt x="39" y="187"/>
                      </a:cubicBezTo>
                      <a:lnTo>
                        <a:pt x="39" y="187"/>
                      </a:lnTo>
                      <a:cubicBezTo>
                        <a:pt x="42" y="197"/>
                        <a:pt x="45" y="207"/>
                        <a:pt x="48" y="218"/>
                      </a:cubicBezTo>
                      <a:lnTo>
                        <a:pt x="48" y="218"/>
                      </a:lnTo>
                      <a:cubicBezTo>
                        <a:pt x="51" y="229"/>
                        <a:pt x="56" y="240"/>
                        <a:pt x="60" y="251"/>
                      </a:cubicBezTo>
                      <a:lnTo>
                        <a:pt x="60" y="251"/>
                      </a:lnTo>
                      <a:cubicBezTo>
                        <a:pt x="70" y="280"/>
                        <a:pt x="83" y="308"/>
                        <a:pt x="99" y="335"/>
                      </a:cubicBezTo>
                      <a:lnTo>
                        <a:pt x="99" y="335"/>
                      </a:lnTo>
                      <a:cubicBezTo>
                        <a:pt x="107" y="348"/>
                        <a:pt x="122" y="354"/>
                        <a:pt x="137" y="347"/>
                      </a:cubicBezTo>
                      <a:lnTo>
                        <a:pt x="137" y="347"/>
                      </a:lnTo>
                      <a:cubicBezTo>
                        <a:pt x="149" y="340"/>
                        <a:pt x="156" y="322"/>
                        <a:pt x="149" y="309"/>
                      </a:cubicBezTo>
                      <a:lnTo>
                        <a:pt x="149" y="309"/>
                      </a:lnTo>
                      <a:cubicBezTo>
                        <a:pt x="140" y="295"/>
                        <a:pt x="132" y="281"/>
                        <a:pt x="126" y="266"/>
                      </a:cubicBezTo>
                      <a:lnTo>
                        <a:pt x="126" y="266"/>
                      </a:lnTo>
                      <a:cubicBezTo>
                        <a:pt x="122" y="257"/>
                        <a:pt x="118" y="249"/>
                        <a:pt x="115" y="240"/>
                      </a:cubicBezTo>
                      <a:lnTo>
                        <a:pt x="115" y="240"/>
                      </a:lnTo>
                      <a:lnTo>
                        <a:pt x="115" y="240"/>
                      </a:lnTo>
                      <a:lnTo>
                        <a:pt x="115" y="240"/>
                      </a:lnTo>
                      <a:cubicBezTo>
                        <a:pt x="110" y="228"/>
                        <a:pt x="105" y="216"/>
                        <a:pt x="102" y="203"/>
                      </a:cubicBezTo>
                      <a:lnTo>
                        <a:pt x="102" y="203"/>
                      </a:lnTo>
                      <a:cubicBezTo>
                        <a:pt x="97" y="186"/>
                        <a:pt x="92" y="167"/>
                        <a:pt x="87" y="150"/>
                      </a:cubicBezTo>
                      <a:lnTo>
                        <a:pt x="87" y="150"/>
                      </a:lnTo>
                      <a:cubicBezTo>
                        <a:pt x="83" y="132"/>
                        <a:pt x="79" y="114"/>
                        <a:pt x="75" y="96"/>
                      </a:cubicBezTo>
                      <a:lnTo>
                        <a:pt x="75" y="96"/>
                      </a:lnTo>
                      <a:cubicBezTo>
                        <a:pt x="69" y="71"/>
                        <a:pt x="63" y="46"/>
                        <a:pt x="57" y="23"/>
                      </a:cubicBezTo>
                      <a:lnTo>
                        <a:pt x="57" y="23"/>
                      </a:lnTo>
                      <a:cubicBezTo>
                        <a:pt x="54" y="10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1"/>
                        <a:pt x="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426">
                  <a:extLst>
                    <a:ext uri="{FF2B5EF4-FFF2-40B4-BE49-F238E27FC236}">
                      <a16:creationId xmlns:a16="http://schemas.microsoft.com/office/drawing/2014/main" id="{B6D2F04A-20D3-CA4D-9D37-1C4A994B6D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3438" y="4608513"/>
                  <a:ext cx="95250" cy="119062"/>
                </a:xfrm>
                <a:custGeom>
                  <a:avLst/>
                  <a:gdLst>
                    <a:gd name="T0" fmla="*/ 20 w 263"/>
                    <a:gd name="T1" fmla="*/ 2 h 332"/>
                    <a:gd name="T2" fmla="*/ 20 w 263"/>
                    <a:gd name="T3" fmla="*/ 2 h 332"/>
                    <a:gd name="T4" fmla="*/ 8 w 263"/>
                    <a:gd name="T5" fmla="*/ 40 h 332"/>
                    <a:gd name="T6" fmla="*/ 8 w 263"/>
                    <a:gd name="T7" fmla="*/ 40 h 332"/>
                    <a:gd name="T8" fmla="*/ 66 w 263"/>
                    <a:gd name="T9" fmla="*/ 131 h 332"/>
                    <a:gd name="T10" fmla="*/ 66 w 263"/>
                    <a:gd name="T11" fmla="*/ 131 h 332"/>
                    <a:gd name="T12" fmla="*/ 105 w 263"/>
                    <a:gd name="T13" fmla="*/ 191 h 332"/>
                    <a:gd name="T14" fmla="*/ 105 w 263"/>
                    <a:gd name="T15" fmla="*/ 191 h 332"/>
                    <a:gd name="T16" fmla="*/ 151 w 263"/>
                    <a:gd name="T17" fmla="*/ 253 h 332"/>
                    <a:gd name="T18" fmla="*/ 151 w 263"/>
                    <a:gd name="T19" fmla="*/ 253 h 332"/>
                    <a:gd name="T20" fmla="*/ 210 w 263"/>
                    <a:gd name="T21" fmla="*/ 318 h 332"/>
                    <a:gd name="T22" fmla="*/ 210 w 263"/>
                    <a:gd name="T23" fmla="*/ 318 h 332"/>
                    <a:gd name="T24" fmla="*/ 249 w 263"/>
                    <a:gd name="T25" fmla="*/ 320 h 332"/>
                    <a:gd name="T26" fmla="*/ 249 w 263"/>
                    <a:gd name="T27" fmla="*/ 320 h 332"/>
                    <a:gd name="T28" fmla="*/ 251 w 263"/>
                    <a:gd name="T29" fmla="*/ 281 h 332"/>
                    <a:gd name="T30" fmla="*/ 251 w 263"/>
                    <a:gd name="T31" fmla="*/ 281 h 332"/>
                    <a:gd name="T32" fmla="*/ 187 w 263"/>
                    <a:gd name="T33" fmla="*/ 207 h 332"/>
                    <a:gd name="T34" fmla="*/ 187 w 263"/>
                    <a:gd name="T35" fmla="*/ 207 h 332"/>
                    <a:gd name="T36" fmla="*/ 144 w 263"/>
                    <a:gd name="T37" fmla="*/ 149 h 332"/>
                    <a:gd name="T38" fmla="*/ 144 w 263"/>
                    <a:gd name="T39" fmla="*/ 149 h 332"/>
                    <a:gd name="T40" fmla="*/ 57 w 263"/>
                    <a:gd name="T41" fmla="*/ 14 h 332"/>
                    <a:gd name="T42" fmla="*/ 57 w 263"/>
                    <a:gd name="T43" fmla="*/ 14 h 332"/>
                    <a:gd name="T44" fmla="*/ 41 w 263"/>
                    <a:gd name="T45" fmla="*/ 1 h 332"/>
                    <a:gd name="T46" fmla="*/ 41 w 263"/>
                    <a:gd name="T47" fmla="*/ 1 h 332"/>
                    <a:gd name="T48" fmla="*/ 33 w 263"/>
                    <a:gd name="T49" fmla="*/ 0 h 332"/>
                    <a:gd name="T50" fmla="*/ 33 w 263"/>
                    <a:gd name="T51" fmla="*/ 0 h 332"/>
                    <a:gd name="T52" fmla="*/ 20 w 263"/>
                    <a:gd name="T53" fmla="*/ 2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63" h="332">
                      <a:moveTo>
                        <a:pt x="20" y="2"/>
                      </a:moveTo>
                      <a:lnTo>
                        <a:pt x="20" y="2"/>
                      </a:lnTo>
                      <a:cubicBezTo>
                        <a:pt x="8" y="9"/>
                        <a:pt x="0" y="27"/>
                        <a:pt x="8" y="40"/>
                      </a:cubicBezTo>
                      <a:lnTo>
                        <a:pt x="8" y="40"/>
                      </a:lnTo>
                      <a:cubicBezTo>
                        <a:pt x="27" y="71"/>
                        <a:pt x="46" y="101"/>
                        <a:pt x="66" y="131"/>
                      </a:cubicBezTo>
                      <a:lnTo>
                        <a:pt x="66" y="131"/>
                      </a:lnTo>
                      <a:cubicBezTo>
                        <a:pt x="79" y="151"/>
                        <a:pt x="91" y="172"/>
                        <a:pt x="105" y="191"/>
                      </a:cubicBezTo>
                      <a:lnTo>
                        <a:pt x="105" y="191"/>
                      </a:lnTo>
                      <a:cubicBezTo>
                        <a:pt x="121" y="212"/>
                        <a:pt x="135" y="233"/>
                        <a:pt x="151" y="253"/>
                      </a:cubicBezTo>
                      <a:lnTo>
                        <a:pt x="151" y="253"/>
                      </a:lnTo>
                      <a:cubicBezTo>
                        <a:pt x="170" y="275"/>
                        <a:pt x="189" y="297"/>
                        <a:pt x="210" y="318"/>
                      </a:cubicBezTo>
                      <a:lnTo>
                        <a:pt x="210" y="318"/>
                      </a:lnTo>
                      <a:cubicBezTo>
                        <a:pt x="220" y="329"/>
                        <a:pt x="237" y="331"/>
                        <a:pt x="249" y="320"/>
                      </a:cubicBezTo>
                      <a:lnTo>
                        <a:pt x="249" y="320"/>
                      </a:lnTo>
                      <a:cubicBezTo>
                        <a:pt x="260" y="310"/>
                        <a:pt x="262" y="292"/>
                        <a:pt x="251" y="281"/>
                      </a:cubicBezTo>
                      <a:lnTo>
                        <a:pt x="251" y="281"/>
                      </a:lnTo>
                      <a:cubicBezTo>
                        <a:pt x="228" y="257"/>
                        <a:pt x="208" y="233"/>
                        <a:pt x="187" y="207"/>
                      </a:cubicBezTo>
                      <a:lnTo>
                        <a:pt x="187" y="207"/>
                      </a:lnTo>
                      <a:cubicBezTo>
                        <a:pt x="172" y="189"/>
                        <a:pt x="158" y="169"/>
                        <a:pt x="144" y="149"/>
                      </a:cubicBezTo>
                      <a:lnTo>
                        <a:pt x="144" y="149"/>
                      </a:lnTo>
                      <a:cubicBezTo>
                        <a:pt x="115" y="105"/>
                        <a:pt x="86" y="60"/>
                        <a:pt x="57" y="14"/>
                      </a:cubicBezTo>
                      <a:lnTo>
                        <a:pt x="57" y="14"/>
                      </a:lnTo>
                      <a:cubicBezTo>
                        <a:pt x="54" y="8"/>
                        <a:pt x="49" y="3"/>
                        <a:pt x="41" y="1"/>
                      </a:cubicBezTo>
                      <a:lnTo>
                        <a:pt x="41" y="1"/>
                      </a:lnTo>
                      <a:cubicBezTo>
                        <a:pt x="39" y="0"/>
                        <a:pt x="36" y="0"/>
                        <a:pt x="33" y="0"/>
                      </a:cubicBezTo>
                      <a:lnTo>
                        <a:pt x="33" y="0"/>
                      </a:lnTo>
                      <a:cubicBezTo>
                        <a:pt x="29" y="0"/>
                        <a:pt x="24" y="1"/>
                        <a:pt x="2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 427">
                  <a:extLst>
                    <a:ext uri="{FF2B5EF4-FFF2-40B4-BE49-F238E27FC236}">
                      <a16:creationId xmlns:a16="http://schemas.microsoft.com/office/drawing/2014/main" id="{B8B4284F-CF71-3344-B7B2-9AD49F81D4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06813" y="4252913"/>
                  <a:ext cx="174625" cy="292100"/>
                </a:xfrm>
                <a:custGeom>
                  <a:avLst/>
                  <a:gdLst>
                    <a:gd name="T0" fmla="*/ 341 w 485"/>
                    <a:gd name="T1" fmla="*/ 111 h 811"/>
                    <a:gd name="T2" fmla="*/ 280 w 485"/>
                    <a:gd name="T3" fmla="*/ 771 h 811"/>
                    <a:gd name="T4" fmla="*/ 280 w 485"/>
                    <a:gd name="T5" fmla="*/ 771 h 811"/>
                    <a:gd name="T6" fmla="*/ 347 w 485"/>
                    <a:gd name="T7" fmla="*/ 757 h 811"/>
                    <a:gd name="T8" fmla="*/ 120 w 485"/>
                    <a:gd name="T9" fmla="*/ 96 h 811"/>
                    <a:gd name="T10" fmla="*/ 310 w 485"/>
                    <a:gd name="T11" fmla="*/ 85 h 811"/>
                    <a:gd name="T12" fmla="*/ 252 w 485"/>
                    <a:gd name="T13" fmla="*/ 39 h 811"/>
                    <a:gd name="T14" fmla="*/ 279 w 485"/>
                    <a:gd name="T15" fmla="*/ 52 h 811"/>
                    <a:gd name="T16" fmla="*/ 298 w 485"/>
                    <a:gd name="T17" fmla="*/ 70 h 811"/>
                    <a:gd name="T18" fmla="*/ 309 w 485"/>
                    <a:gd name="T19" fmla="*/ 85 h 811"/>
                    <a:gd name="T20" fmla="*/ 340 w 485"/>
                    <a:gd name="T21" fmla="*/ 110 h 811"/>
                    <a:gd name="T22" fmla="*/ 341 w 485"/>
                    <a:gd name="T23" fmla="*/ 111 h 811"/>
                    <a:gd name="T24" fmla="*/ 341 w 485"/>
                    <a:gd name="T25" fmla="*/ 111 h 811"/>
                    <a:gd name="T26" fmla="*/ 398 w 485"/>
                    <a:gd name="T27" fmla="*/ 191 h 811"/>
                    <a:gd name="T28" fmla="*/ 445 w 485"/>
                    <a:gd name="T29" fmla="*/ 428 h 811"/>
                    <a:gd name="T30" fmla="*/ 444 w 485"/>
                    <a:gd name="T31" fmla="*/ 527 h 811"/>
                    <a:gd name="T32" fmla="*/ 436 w 485"/>
                    <a:gd name="T33" fmla="*/ 584 h 811"/>
                    <a:gd name="T34" fmla="*/ 405 w 485"/>
                    <a:gd name="T35" fmla="*/ 684 h 811"/>
                    <a:gd name="T36" fmla="*/ 347 w 485"/>
                    <a:gd name="T37" fmla="*/ 757 h 811"/>
                    <a:gd name="T38" fmla="*/ 306 w 485"/>
                    <a:gd name="T39" fmla="*/ 773 h 811"/>
                    <a:gd name="T40" fmla="*/ 241 w 485"/>
                    <a:gd name="T41" fmla="*/ 757 h 811"/>
                    <a:gd name="T42" fmla="*/ 164 w 485"/>
                    <a:gd name="T43" fmla="*/ 699 h 811"/>
                    <a:gd name="T44" fmla="*/ 141 w 485"/>
                    <a:gd name="T45" fmla="*/ 671 h 811"/>
                    <a:gd name="T46" fmla="*/ 40 w 485"/>
                    <a:gd name="T47" fmla="*/ 378 h 811"/>
                    <a:gd name="T48" fmla="*/ 45 w 485"/>
                    <a:gd name="T49" fmla="*/ 264 h 811"/>
                    <a:gd name="T50" fmla="*/ 83 w 485"/>
                    <a:gd name="T51" fmla="*/ 151 h 811"/>
                    <a:gd name="T52" fmla="*/ 118 w 485"/>
                    <a:gd name="T53" fmla="*/ 97 h 811"/>
                    <a:gd name="T54" fmla="*/ 190 w 485"/>
                    <a:gd name="T55" fmla="*/ 47 h 811"/>
                    <a:gd name="T56" fmla="*/ 252 w 485"/>
                    <a:gd name="T57" fmla="*/ 39 h 811"/>
                    <a:gd name="T58" fmla="*/ 190 w 485"/>
                    <a:gd name="T59" fmla="*/ 8 h 811"/>
                    <a:gd name="T60" fmla="*/ 125 w 485"/>
                    <a:gd name="T61" fmla="*/ 41 h 811"/>
                    <a:gd name="T62" fmla="*/ 71 w 485"/>
                    <a:gd name="T63" fmla="*/ 99 h 811"/>
                    <a:gd name="T64" fmla="*/ 10 w 485"/>
                    <a:gd name="T65" fmla="*/ 248 h 811"/>
                    <a:gd name="T66" fmla="*/ 7 w 485"/>
                    <a:gd name="T67" fmla="*/ 417 h 811"/>
                    <a:gd name="T68" fmla="*/ 136 w 485"/>
                    <a:gd name="T69" fmla="*/ 724 h 811"/>
                    <a:gd name="T70" fmla="*/ 228 w 485"/>
                    <a:gd name="T71" fmla="*/ 792 h 811"/>
                    <a:gd name="T72" fmla="*/ 306 w 485"/>
                    <a:gd name="T73" fmla="*/ 810 h 811"/>
                    <a:gd name="T74" fmla="*/ 403 w 485"/>
                    <a:gd name="T75" fmla="*/ 756 h 811"/>
                    <a:gd name="T76" fmla="*/ 472 w 485"/>
                    <a:gd name="T77" fmla="*/ 588 h 811"/>
                    <a:gd name="T78" fmla="*/ 481 w 485"/>
                    <a:gd name="T79" fmla="*/ 531 h 811"/>
                    <a:gd name="T80" fmla="*/ 482 w 485"/>
                    <a:gd name="T81" fmla="*/ 442 h 811"/>
                    <a:gd name="T82" fmla="*/ 469 w 485"/>
                    <a:gd name="T83" fmla="*/ 326 h 811"/>
                    <a:gd name="T84" fmla="*/ 427 w 485"/>
                    <a:gd name="T85" fmla="*/ 165 h 811"/>
                    <a:gd name="T86" fmla="*/ 377 w 485"/>
                    <a:gd name="T87" fmla="*/ 95 h 811"/>
                    <a:gd name="T88" fmla="*/ 327 w 485"/>
                    <a:gd name="T89" fmla="*/ 52 h 811"/>
                    <a:gd name="T90" fmla="*/ 300 w 485"/>
                    <a:gd name="T91" fmla="*/ 22 h 811"/>
                    <a:gd name="T92" fmla="*/ 250 w 485"/>
                    <a:gd name="T93" fmla="*/ 1 h 811"/>
                    <a:gd name="T94" fmla="*/ 252 w 485"/>
                    <a:gd name="T95" fmla="*/ 39 h 8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85" h="811">
                      <a:moveTo>
                        <a:pt x="341" y="111"/>
                      </a:move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40" y="111"/>
                        <a:pt x="340" y="111"/>
                        <a:pt x="340" y="110"/>
                      </a:cubicBezTo>
                      <a:lnTo>
                        <a:pt x="340" y="110"/>
                      </a:lnTo>
                      <a:cubicBezTo>
                        <a:pt x="340" y="111"/>
                        <a:pt x="340" y="111"/>
                        <a:pt x="341" y="111"/>
                      </a:cubicBezTo>
                      <a:close/>
                      <a:moveTo>
                        <a:pt x="280" y="771"/>
                      </a:moveTo>
                      <a:lnTo>
                        <a:pt x="280" y="771"/>
                      </a:lnTo>
                      <a:cubicBezTo>
                        <a:pt x="280" y="772"/>
                        <a:pt x="281" y="772"/>
                        <a:pt x="282" y="772"/>
                      </a:cubicBezTo>
                      <a:lnTo>
                        <a:pt x="282" y="772"/>
                      </a:lnTo>
                      <a:cubicBezTo>
                        <a:pt x="281" y="772"/>
                        <a:pt x="280" y="772"/>
                        <a:pt x="280" y="771"/>
                      </a:cubicBezTo>
                      <a:close/>
                      <a:moveTo>
                        <a:pt x="351" y="755"/>
                      </a:moveTo>
                      <a:lnTo>
                        <a:pt x="351" y="755"/>
                      </a:lnTo>
                      <a:cubicBezTo>
                        <a:pt x="350" y="756"/>
                        <a:pt x="349" y="757"/>
                        <a:pt x="347" y="757"/>
                      </a:cubicBezTo>
                      <a:lnTo>
                        <a:pt x="347" y="757"/>
                      </a:lnTo>
                      <a:cubicBezTo>
                        <a:pt x="349" y="757"/>
                        <a:pt x="350" y="756"/>
                        <a:pt x="351" y="755"/>
                      </a:cubicBezTo>
                      <a:close/>
                      <a:moveTo>
                        <a:pt x="121" y="95"/>
                      </a:moveTo>
                      <a:lnTo>
                        <a:pt x="121" y="95"/>
                      </a:lnTo>
                      <a:cubicBezTo>
                        <a:pt x="120" y="95"/>
                        <a:pt x="120" y="96"/>
                        <a:pt x="120" y="96"/>
                      </a:cubicBezTo>
                      <a:lnTo>
                        <a:pt x="120" y="96"/>
                      </a:lnTo>
                      <a:cubicBezTo>
                        <a:pt x="120" y="96"/>
                        <a:pt x="120" y="95"/>
                        <a:pt x="121" y="95"/>
                      </a:cubicBezTo>
                      <a:close/>
                      <a:moveTo>
                        <a:pt x="310" y="85"/>
                      </a:moveTo>
                      <a:lnTo>
                        <a:pt x="310" y="85"/>
                      </a:lnTo>
                      <a:lnTo>
                        <a:pt x="311" y="86"/>
                      </a:lnTo>
                      <a:lnTo>
                        <a:pt x="311" y="86"/>
                      </a:lnTo>
                      <a:cubicBezTo>
                        <a:pt x="310" y="86"/>
                        <a:pt x="310" y="86"/>
                        <a:pt x="310" y="85"/>
                      </a:cubicBezTo>
                      <a:close/>
                      <a:moveTo>
                        <a:pt x="252" y="39"/>
                      </a:moveTo>
                      <a:lnTo>
                        <a:pt x="252" y="39"/>
                      </a:lnTo>
                      <a:cubicBezTo>
                        <a:pt x="256" y="40"/>
                        <a:pt x="260" y="42"/>
                        <a:pt x="265" y="43"/>
                      </a:cubicBezTo>
                      <a:lnTo>
                        <a:pt x="265" y="43"/>
                      </a:lnTo>
                      <a:cubicBezTo>
                        <a:pt x="269" y="46"/>
                        <a:pt x="274" y="49"/>
                        <a:pt x="279" y="52"/>
                      </a:cubicBezTo>
                      <a:lnTo>
                        <a:pt x="279" y="52"/>
                      </a:lnTo>
                      <a:cubicBezTo>
                        <a:pt x="284" y="57"/>
                        <a:pt x="290" y="63"/>
                        <a:pt x="295" y="68"/>
                      </a:cubicBezTo>
                      <a:lnTo>
                        <a:pt x="295" y="68"/>
                      </a:lnTo>
                      <a:cubicBezTo>
                        <a:pt x="296" y="69"/>
                        <a:pt x="297" y="70"/>
                        <a:pt x="298" y="70"/>
                      </a:cubicBezTo>
                      <a:lnTo>
                        <a:pt x="298" y="70"/>
                      </a:lnTo>
                      <a:cubicBezTo>
                        <a:pt x="299" y="76"/>
                        <a:pt x="302" y="80"/>
                        <a:pt x="306" y="83"/>
                      </a:cubicBezTo>
                      <a:lnTo>
                        <a:pt x="306" y="83"/>
                      </a:lnTo>
                      <a:cubicBezTo>
                        <a:pt x="307" y="83"/>
                        <a:pt x="309" y="84"/>
                        <a:pt x="309" y="85"/>
                      </a:cubicBezTo>
                      <a:lnTo>
                        <a:pt x="309" y="85"/>
                      </a:lnTo>
                      <a:cubicBezTo>
                        <a:pt x="315" y="90"/>
                        <a:pt x="320" y="95"/>
                        <a:pt x="326" y="99"/>
                      </a:cubicBezTo>
                      <a:lnTo>
                        <a:pt x="326" y="99"/>
                      </a:lnTo>
                      <a:cubicBezTo>
                        <a:pt x="330" y="103"/>
                        <a:pt x="335" y="107"/>
                        <a:pt x="340" y="110"/>
                      </a:cubicBezTo>
                      <a:lnTo>
                        <a:pt x="340" y="110"/>
                      </a:lnTo>
                      <a:cubicBezTo>
                        <a:pt x="339" y="110"/>
                        <a:pt x="338" y="109"/>
                        <a:pt x="337" y="108"/>
                      </a:cubicBezTo>
                      <a:lnTo>
                        <a:pt x="337" y="108"/>
                      </a:lnTo>
                      <a:cubicBezTo>
                        <a:pt x="339" y="110"/>
                        <a:pt x="340" y="110"/>
                        <a:pt x="341" y="111"/>
                      </a:cubicBez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54" y="123"/>
                        <a:pt x="366" y="136"/>
                        <a:pt x="377" y="150"/>
                      </a:cubicBezTo>
                      <a:lnTo>
                        <a:pt x="377" y="150"/>
                      </a:lnTo>
                      <a:cubicBezTo>
                        <a:pt x="385" y="163"/>
                        <a:pt x="392" y="177"/>
                        <a:pt x="398" y="191"/>
                      </a:cubicBezTo>
                      <a:lnTo>
                        <a:pt x="398" y="191"/>
                      </a:lnTo>
                      <a:cubicBezTo>
                        <a:pt x="411" y="228"/>
                        <a:pt x="420" y="268"/>
                        <a:pt x="427" y="307"/>
                      </a:cubicBezTo>
                      <a:lnTo>
                        <a:pt x="427" y="307"/>
                      </a:lnTo>
                      <a:cubicBezTo>
                        <a:pt x="436" y="347"/>
                        <a:pt x="441" y="388"/>
                        <a:pt x="445" y="428"/>
                      </a:cubicBezTo>
                      <a:lnTo>
                        <a:pt x="445" y="428"/>
                      </a:lnTo>
                      <a:cubicBezTo>
                        <a:pt x="446" y="453"/>
                        <a:pt x="447" y="479"/>
                        <a:pt x="446" y="504"/>
                      </a:cubicBezTo>
                      <a:lnTo>
                        <a:pt x="446" y="504"/>
                      </a:lnTo>
                      <a:cubicBezTo>
                        <a:pt x="445" y="511"/>
                        <a:pt x="444" y="520"/>
                        <a:pt x="444" y="527"/>
                      </a:cubicBezTo>
                      <a:lnTo>
                        <a:pt x="444" y="527"/>
                      </a:lnTo>
                      <a:cubicBezTo>
                        <a:pt x="443" y="534"/>
                        <a:pt x="443" y="541"/>
                        <a:pt x="441" y="547"/>
                      </a:cubicBezTo>
                      <a:lnTo>
                        <a:pt x="441" y="547"/>
                      </a:lnTo>
                      <a:cubicBezTo>
                        <a:pt x="440" y="560"/>
                        <a:pt x="438" y="571"/>
                        <a:pt x="436" y="584"/>
                      </a:cubicBezTo>
                      <a:lnTo>
                        <a:pt x="436" y="584"/>
                      </a:lnTo>
                      <a:cubicBezTo>
                        <a:pt x="433" y="594"/>
                        <a:pt x="431" y="604"/>
                        <a:pt x="428" y="614"/>
                      </a:cubicBezTo>
                      <a:lnTo>
                        <a:pt x="428" y="614"/>
                      </a:lnTo>
                      <a:cubicBezTo>
                        <a:pt x="423" y="638"/>
                        <a:pt x="415" y="661"/>
                        <a:pt x="405" y="684"/>
                      </a:cubicBezTo>
                      <a:lnTo>
                        <a:pt x="405" y="684"/>
                      </a:lnTo>
                      <a:cubicBezTo>
                        <a:pt x="396" y="701"/>
                        <a:pt x="385" y="718"/>
                        <a:pt x="373" y="734"/>
                      </a:cubicBezTo>
                      <a:lnTo>
                        <a:pt x="373" y="734"/>
                      </a:lnTo>
                      <a:cubicBezTo>
                        <a:pt x="365" y="743"/>
                        <a:pt x="357" y="751"/>
                        <a:pt x="347" y="757"/>
                      </a:cubicBezTo>
                      <a:lnTo>
                        <a:pt x="347" y="757"/>
                      </a:lnTo>
                      <a:cubicBezTo>
                        <a:pt x="340" y="762"/>
                        <a:pt x="334" y="766"/>
                        <a:pt x="327" y="769"/>
                      </a:cubicBezTo>
                      <a:lnTo>
                        <a:pt x="327" y="769"/>
                      </a:lnTo>
                      <a:cubicBezTo>
                        <a:pt x="320" y="770"/>
                        <a:pt x="313" y="772"/>
                        <a:pt x="306" y="773"/>
                      </a:cubicBezTo>
                      <a:lnTo>
                        <a:pt x="306" y="773"/>
                      </a:lnTo>
                      <a:cubicBezTo>
                        <a:pt x="297" y="773"/>
                        <a:pt x="288" y="772"/>
                        <a:pt x="279" y="771"/>
                      </a:cubicBezTo>
                      <a:lnTo>
                        <a:pt x="279" y="771"/>
                      </a:lnTo>
                      <a:cubicBezTo>
                        <a:pt x="266" y="767"/>
                        <a:pt x="253" y="763"/>
                        <a:pt x="241" y="757"/>
                      </a:cubicBezTo>
                      <a:lnTo>
                        <a:pt x="241" y="757"/>
                      </a:lnTo>
                      <a:cubicBezTo>
                        <a:pt x="221" y="747"/>
                        <a:pt x="204" y="735"/>
                        <a:pt x="186" y="721"/>
                      </a:cubicBezTo>
                      <a:lnTo>
                        <a:pt x="186" y="721"/>
                      </a:lnTo>
                      <a:cubicBezTo>
                        <a:pt x="178" y="714"/>
                        <a:pt x="171" y="707"/>
                        <a:pt x="164" y="699"/>
                      </a:cubicBezTo>
                      <a:lnTo>
                        <a:pt x="164" y="699"/>
                      </a:lnTo>
                      <a:cubicBezTo>
                        <a:pt x="154" y="689"/>
                        <a:pt x="146" y="678"/>
                        <a:pt x="138" y="668"/>
                      </a:cubicBezTo>
                      <a:lnTo>
                        <a:pt x="138" y="668"/>
                      </a:lnTo>
                      <a:cubicBezTo>
                        <a:pt x="139" y="669"/>
                        <a:pt x="140" y="670"/>
                        <a:pt x="141" y="671"/>
                      </a:cubicBezTo>
                      <a:lnTo>
                        <a:pt x="141" y="671"/>
                      </a:lnTo>
                      <a:cubicBezTo>
                        <a:pt x="113" y="631"/>
                        <a:pt x="94" y="585"/>
                        <a:pt x="77" y="540"/>
                      </a:cubicBezTo>
                      <a:lnTo>
                        <a:pt x="77" y="540"/>
                      </a:lnTo>
                      <a:cubicBezTo>
                        <a:pt x="58" y="487"/>
                        <a:pt x="45" y="433"/>
                        <a:pt x="40" y="378"/>
                      </a:cubicBezTo>
                      <a:lnTo>
                        <a:pt x="40" y="378"/>
                      </a:lnTo>
                      <a:cubicBezTo>
                        <a:pt x="39" y="359"/>
                        <a:pt x="38" y="340"/>
                        <a:pt x="39" y="322"/>
                      </a:cubicBezTo>
                      <a:lnTo>
                        <a:pt x="39" y="322"/>
                      </a:lnTo>
                      <a:cubicBezTo>
                        <a:pt x="40" y="302"/>
                        <a:pt x="42" y="283"/>
                        <a:pt x="45" y="264"/>
                      </a:cubicBezTo>
                      <a:lnTo>
                        <a:pt x="45" y="264"/>
                      </a:lnTo>
                      <a:cubicBezTo>
                        <a:pt x="49" y="246"/>
                        <a:pt x="53" y="228"/>
                        <a:pt x="59" y="210"/>
                      </a:cubicBezTo>
                      <a:lnTo>
                        <a:pt x="59" y="210"/>
                      </a:lnTo>
                      <a:cubicBezTo>
                        <a:pt x="65" y="190"/>
                        <a:pt x="74" y="171"/>
                        <a:pt x="83" y="151"/>
                      </a:cubicBezTo>
                      <a:lnTo>
                        <a:pt x="83" y="151"/>
                      </a:lnTo>
                      <a:cubicBezTo>
                        <a:pt x="83" y="153"/>
                        <a:pt x="83" y="153"/>
                        <a:pt x="82" y="154"/>
                      </a:cubicBezTo>
                      <a:lnTo>
                        <a:pt x="82" y="154"/>
                      </a:lnTo>
                      <a:cubicBezTo>
                        <a:pt x="92" y="134"/>
                        <a:pt x="104" y="115"/>
                        <a:pt x="118" y="97"/>
                      </a:cubicBezTo>
                      <a:lnTo>
                        <a:pt x="118" y="97"/>
                      </a:lnTo>
                      <a:cubicBezTo>
                        <a:pt x="128" y="86"/>
                        <a:pt x="138" y="77"/>
                        <a:pt x="149" y="69"/>
                      </a:cubicBezTo>
                      <a:lnTo>
                        <a:pt x="149" y="69"/>
                      </a:lnTo>
                      <a:cubicBezTo>
                        <a:pt x="162" y="60"/>
                        <a:pt x="175" y="53"/>
                        <a:pt x="190" y="47"/>
                      </a:cubicBezTo>
                      <a:lnTo>
                        <a:pt x="190" y="47"/>
                      </a:lnTo>
                      <a:cubicBezTo>
                        <a:pt x="204" y="43"/>
                        <a:pt x="217" y="40"/>
                        <a:pt x="232" y="38"/>
                      </a:cubicBezTo>
                      <a:lnTo>
                        <a:pt x="232" y="38"/>
                      </a:lnTo>
                      <a:cubicBezTo>
                        <a:pt x="238" y="37"/>
                        <a:pt x="245" y="37"/>
                        <a:pt x="252" y="39"/>
                      </a:cubicBezTo>
                      <a:lnTo>
                        <a:pt x="232" y="1"/>
                      </a:lnTo>
                      <a:lnTo>
                        <a:pt x="232" y="1"/>
                      </a:lnTo>
                      <a:cubicBezTo>
                        <a:pt x="218" y="2"/>
                        <a:pt x="204" y="5"/>
                        <a:pt x="190" y="8"/>
                      </a:cubicBezTo>
                      <a:lnTo>
                        <a:pt x="190" y="8"/>
                      </a:lnTo>
                      <a:cubicBezTo>
                        <a:pt x="178" y="12"/>
                        <a:pt x="166" y="17"/>
                        <a:pt x="155" y="22"/>
                      </a:cubicBezTo>
                      <a:lnTo>
                        <a:pt x="155" y="22"/>
                      </a:lnTo>
                      <a:cubicBezTo>
                        <a:pt x="145" y="27"/>
                        <a:pt x="134" y="33"/>
                        <a:pt x="125" y="41"/>
                      </a:cubicBezTo>
                      <a:lnTo>
                        <a:pt x="125" y="41"/>
                      </a:lnTo>
                      <a:cubicBezTo>
                        <a:pt x="115" y="48"/>
                        <a:pt x="105" y="56"/>
                        <a:pt x="97" y="66"/>
                      </a:cubicBezTo>
                      <a:lnTo>
                        <a:pt x="97" y="66"/>
                      </a:lnTo>
                      <a:cubicBezTo>
                        <a:pt x="87" y="76"/>
                        <a:pt x="78" y="87"/>
                        <a:pt x="71" y="99"/>
                      </a:cubicBezTo>
                      <a:lnTo>
                        <a:pt x="71" y="99"/>
                      </a:lnTo>
                      <a:cubicBezTo>
                        <a:pt x="56" y="121"/>
                        <a:pt x="45" y="145"/>
                        <a:pt x="35" y="169"/>
                      </a:cubicBezTo>
                      <a:lnTo>
                        <a:pt x="35" y="169"/>
                      </a:lnTo>
                      <a:cubicBezTo>
                        <a:pt x="24" y="194"/>
                        <a:pt x="15" y="221"/>
                        <a:pt x="10" y="248"/>
                      </a:cubicBezTo>
                      <a:lnTo>
                        <a:pt x="10" y="248"/>
                      </a:lnTo>
                      <a:cubicBezTo>
                        <a:pt x="5" y="274"/>
                        <a:pt x="2" y="301"/>
                        <a:pt x="2" y="327"/>
                      </a:cubicBezTo>
                      <a:lnTo>
                        <a:pt x="2" y="327"/>
                      </a:lnTo>
                      <a:cubicBezTo>
                        <a:pt x="0" y="357"/>
                        <a:pt x="3" y="387"/>
                        <a:pt x="7" y="417"/>
                      </a:cubicBezTo>
                      <a:lnTo>
                        <a:pt x="7" y="417"/>
                      </a:lnTo>
                      <a:cubicBezTo>
                        <a:pt x="15" y="474"/>
                        <a:pt x="33" y="529"/>
                        <a:pt x="54" y="582"/>
                      </a:cubicBezTo>
                      <a:lnTo>
                        <a:pt x="54" y="582"/>
                      </a:lnTo>
                      <a:cubicBezTo>
                        <a:pt x="74" y="633"/>
                        <a:pt x="99" y="683"/>
                        <a:pt x="136" y="724"/>
                      </a:cubicBezTo>
                      <a:lnTo>
                        <a:pt x="136" y="724"/>
                      </a:lnTo>
                      <a:cubicBezTo>
                        <a:pt x="154" y="744"/>
                        <a:pt x="175" y="760"/>
                        <a:pt x="196" y="775"/>
                      </a:cubicBezTo>
                      <a:lnTo>
                        <a:pt x="196" y="775"/>
                      </a:lnTo>
                      <a:cubicBezTo>
                        <a:pt x="206" y="781"/>
                        <a:pt x="217" y="787"/>
                        <a:pt x="228" y="792"/>
                      </a:cubicBezTo>
                      <a:lnTo>
                        <a:pt x="228" y="792"/>
                      </a:lnTo>
                      <a:cubicBezTo>
                        <a:pt x="242" y="798"/>
                        <a:pt x="255" y="803"/>
                        <a:pt x="270" y="807"/>
                      </a:cubicBezTo>
                      <a:lnTo>
                        <a:pt x="270" y="807"/>
                      </a:lnTo>
                      <a:cubicBezTo>
                        <a:pt x="282" y="810"/>
                        <a:pt x="294" y="810"/>
                        <a:pt x="306" y="810"/>
                      </a:cubicBezTo>
                      <a:lnTo>
                        <a:pt x="306" y="810"/>
                      </a:lnTo>
                      <a:cubicBezTo>
                        <a:pt x="318" y="809"/>
                        <a:pt x="330" y="807"/>
                        <a:pt x="342" y="802"/>
                      </a:cubicBezTo>
                      <a:lnTo>
                        <a:pt x="342" y="802"/>
                      </a:lnTo>
                      <a:cubicBezTo>
                        <a:pt x="366" y="793"/>
                        <a:pt x="387" y="776"/>
                        <a:pt x="403" y="756"/>
                      </a:cubicBezTo>
                      <a:lnTo>
                        <a:pt x="403" y="756"/>
                      </a:lnTo>
                      <a:cubicBezTo>
                        <a:pt x="434" y="717"/>
                        <a:pt x="454" y="670"/>
                        <a:pt x="465" y="623"/>
                      </a:cubicBezTo>
                      <a:lnTo>
                        <a:pt x="465" y="623"/>
                      </a:lnTo>
                      <a:cubicBezTo>
                        <a:pt x="467" y="611"/>
                        <a:pt x="470" y="600"/>
                        <a:pt x="472" y="588"/>
                      </a:cubicBezTo>
                      <a:lnTo>
                        <a:pt x="472" y="588"/>
                      </a:lnTo>
                      <a:cubicBezTo>
                        <a:pt x="474" y="578"/>
                        <a:pt x="476" y="569"/>
                        <a:pt x="477" y="559"/>
                      </a:cubicBezTo>
                      <a:lnTo>
                        <a:pt x="477" y="559"/>
                      </a:lnTo>
                      <a:cubicBezTo>
                        <a:pt x="478" y="550"/>
                        <a:pt x="480" y="540"/>
                        <a:pt x="481" y="531"/>
                      </a:cubicBezTo>
                      <a:lnTo>
                        <a:pt x="481" y="531"/>
                      </a:lnTo>
                      <a:cubicBezTo>
                        <a:pt x="481" y="521"/>
                        <a:pt x="482" y="511"/>
                        <a:pt x="483" y="501"/>
                      </a:cubicBezTo>
                      <a:lnTo>
                        <a:pt x="483" y="501"/>
                      </a:lnTo>
                      <a:cubicBezTo>
                        <a:pt x="483" y="481"/>
                        <a:pt x="484" y="462"/>
                        <a:pt x="482" y="442"/>
                      </a:cubicBezTo>
                      <a:lnTo>
                        <a:pt x="482" y="442"/>
                      </a:lnTo>
                      <a:cubicBezTo>
                        <a:pt x="481" y="422"/>
                        <a:pt x="480" y="402"/>
                        <a:pt x="477" y="383"/>
                      </a:cubicBezTo>
                      <a:lnTo>
                        <a:pt x="477" y="383"/>
                      </a:lnTo>
                      <a:cubicBezTo>
                        <a:pt x="475" y="364"/>
                        <a:pt x="472" y="345"/>
                        <a:pt x="469" y="326"/>
                      </a:cubicBezTo>
                      <a:lnTo>
                        <a:pt x="469" y="326"/>
                      </a:lnTo>
                      <a:cubicBezTo>
                        <a:pt x="462" y="288"/>
                        <a:pt x="454" y="250"/>
                        <a:pt x="444" y="213"/>
                      </a:cubicBezTo>
                      <a:lnTo>
                        <a:pt x="444" y="213"/>
                      </a:lnTo>
                      <a:cubicBezTo>
                        <a:pt x="439" y="197"/>
                        <a:pt x="434" y="181"/>
                        <a:pt x="427" y="165"/>
                      </a:cubicBezTo>
                      <a:lnTo>
                        <a:pt x="427" y="165"/>
                      </a:lnTo>
                      <a:cubicBezTo>
                        <a:pt x="421" y="151"/>
                        <a:pt x="413" y="138"/>
                        <a:pt x="404" y="125"/>
                      </a:cubicBezTo>
                      <a:lnTo>
                        <a:pt x="404" y="125"/>
                      </a:lnTo>
                      <a:cubicBezTo>
                        <a:pt x="396" y="114"/>
                        <a:pt x="387" y="105"/>
                        <a:pt x="377" y="95"/>
                      </a:cubicBezTo>
                      <a:lnTo>
                        <a:pt x="377" y="95"/>
                      </a:lnTo>
                      <a:cubicBezTo>
                        <a:pt x="368" y="86"/>
                        <a:pt x="357" y="77"/>
                        <a:pt x="347" y="69"/>
                      </a:cubicBezTo>
                      <a:lnTo>
                        <a:pt x="347" y="69"/>
                      </a:lnTo>
                      <a:cubicBezTo>
                        <a:pt x="341" y="63"/>
                        <a:pt x="335" y="56"/>
                        <a:pt x="327" y="52"/>
                      </a:cubicBezTo>
                      <a:lnTo>
                        <a:pt x="327" y="52"/>
                      </a:lnTo>
                      <a:cubicBezTo>
                        <a:pt x="327" y="49"/>
                        <a:pt x="325" y="46"/>
                        <a:pt x="323" y="43"/>
                      </a:cubicBezTo>
                      <a:lnTo>
                        <a:pt x="323" y="43"/>
                      </a:lnTo>
                      <a:cubicBezTo>
                        <a:pt x="316" y="36"/>
                        <a:pt x="308" y="28"/>
                        <a:pt x="300" y="22"/>
                      </a:cubicBezTo>
                      <a:lnTo>
                        <a:pt x="300" y="22"/>
                      </a:lnTo>
                      <a:cubicBezTo>
                        <a:pt x="290" y="15"/>
                        <a:pt x="279" y="9"/>
                        <a:pt x="267" y="4"/>
                      </a:cubicBezTo>
                      <a:lnTo>
                        <a:pt x="267" y="4"/>
                      </a:lnTo>
                      <a:cubicBezTo>
                        <a:pt x="262" y="2"/>
                        <a:pt x="256" y="2"/>
                        <a:pt x="250" y="1"/>
                      </a:cubicBezTo>
                      <a:lnTo>
                        <a:pt x="250" y="1"/>
                      </a:lnTo>
                      <a:cubicBezTo>
                        <a:pt x="247" y="0"/>
                        <a:pt x="245" y="0"/>
                        <a:pt x="243" y="0"/>
                      </a:cubicBezTo>
                      <a:lnTo>
                        <a:pt x="243" y="0"/>
                      </a:lnTo>
                      <a:cubicBezTo>
                        <a:pt x="239" y="0"/>
                        <a:pt x="235" y="0"/>
                        <a:pt x="232" y="1"/>
                      </a:cubicBezTo>
                      <a:lnTo>
                        <a:pt x="252" y="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428">
                  <a:extLst>
                    <a:ext uri="{FF2B5EF4-FFF2-40B4-BE49-F238E27FC236}">
                      <a16:creationId xmlns:a16="http://schemas.microsoft.com/office/drawing/2014/main" id="{BAD037B8-A532-3840-84EB-4FCC65484D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6513" y="4186238"/>
                  <a:ext cx="47625" cy="65087"/>
                </a:xfrm>
                <a:custGeom>
                  <a:avLst/>
                  <a:gdLst>
                    <a:gd name="T0" fmla="*/ 91 w 133"/>
                    <a:gd name="T1" fmla="*/ 142 h 181"/>
                    <a:gd name="T2" fmla="*/ 87 w 133"/>
                    <a:gd name="T3" fmla="*/ 142 h 181"/>
                    <a:gd name="T4" fmla="*/ 89 w 133"/>
                    <a:gd name="T5" fmla="*/ 142 h 181"/>
                    <a:gd name="T6" fmla="*/ 93 w 133"/>
                    <a:gd name="T7" fmla="*/ 139 h 181"/>
                    <a:gd name="T8" fmla="*/ 93 w 133"/>
                    <a:gd name="T9" fmla="*/ 139 h 181"/>
                    <a:gd name="T10" fmla="*/ 94 w 133"/>
                    <a:gd name="T11" fmla="*/ 136 h 181"/>
                    <a:gd name="T12" fmla="*/ 94 w 133"/>
                    <a:gd name="T13" fmla="*/ 136 h 181"/>
                    <a:gd name="T14" fmla="*/ 94 w 133"/>
                    <a:gd name="T15" fmla="*/ 136 h 181"/>
                    <a:gd name="T16" fmla="*/ 94 w 133"/>
                    <a:gd name="T17" fmla="*/ 136 h 181"/>
                    <a:gd name="T18" fmla="*/ 56 w 133"/>
                    <a:gd name="T19" fmla="*/ 105 h 181"/>
                    <a:gd name="T20" fmla="*/ 53 w 133"/>
                    <a:gd name="T21" fmla="*/ 94 h 181"/>
                    <a:gd name="T22" fmla="*/ 37 w 133"/>
                    <a:gd name="T23" fmla="*/ 39 h 181"/>
                    <a:gd name="T24" fmla="*/ 39 w 133"/>
                    <a:gd name="T25" fmla="*/ 40 h 181"/>
                    <a:gd name="T26" fmla="*/ 70 w 133"/>
                    <a:gd name="T27" fmla="*/ 69 h 181"/>
                    <a:gd name="T28" fmla="*/ 93 w 133"/>
                    <a:gd name="T29" fmla="*/ 111 h 181"/>
                    <a:gd name="T30" fmla="*/ 94 w 133"/>
                    <a:gd name="T31" fmla="*/ 132 h 181"/>
                    <a:gd name="T32" fmla="*/ 92 w 133"/>
                    <a:gd name="T33" fmla="*/ 139 h 181"/>
                    <a:gd name="T34" fmla="*/ 89 w 133"/>
                    <a:gd name="T35" fmla="*/ 142 h 181"/>
                    <a:gd name="T36" fmla="*/ 81 w 133"/>
                    <a:gd name="T37" fmla="*/ 136 h 181"/>
                    <a:gd name="T38" fmla="*/ 55 w 133"/>
                    <a:gd name="T39" fmla="*/ 103 h 181"/>
                    <a:gd name="T40" fmla="*/ 54 w 133"/>
                    <a:gd name="T41" fmla="*/ 101 h 181"/>
                    <a:gd name="T42" fmla="*/ 54 w 133"/>
                    <a:gd name="T43" fmla="*/ 75 h 181"/>
                    <a:gd name="T44" fmla="*/ 41 w 133"/>
                    <a:gd name="T45" fmla="*/ 57 h 181"/>
                    <a:gd name="T46" fmla="*/ 38 w 133"/>
                    <a:gd name="T47" fmla="*/ 30 h 181"/>
                    <a:gd name="T48" fmla="*/ 37 w 133"/>
                    <a:gd name="T49" fmla="*/ 33 h 181"/>
                    <a:gd name="T50" fmla="*/ 24 w 133"/>
                    <a:gd name="T51" fmla="*/ 1 h 181"/>
                    <a:gd name="T52" fmla="*/ 18 w 133"/>
                    <a:gd name="T53" fmla="*/ 3 h 181"/>
                    <a:gd name="T54" fmla="*/ 6 w 133"/>
                    <a:gd name="T55" fmla="*/ 15 h 181"/>
                    <a:gd name="T56" fmla="*/ 1 w 133"/>
                    <a:gd name="T57" fmla="*/ 29 h 181"/>
                    <a:gd name="T58" fmla="*/ 1 w 133"/>
                    <a:gd name="T59" fmla="*/ 48 h 181"/>
                    <a:gd name="T60" fmla="*/ 4 w 133"/>
                    <a:gd name="T61" fmla="*/ 62 h 181"/>
                    <a:gd name="T62" fmla="*/ 16 w 133"/>
                    <a:gd name="T63" fmla="*/ 91 h 181"/>
                    <a:gd name="T64" fmla="*/ 16 w 133"/>
                    <a:gd name="T65" fmla="*/ 98 h 181"/>
                    <a:gd name="T66" fmla="*/ 33 w 133"/>
                    <a:gd name="T67" fmla="*/ 138 h 181"/>
                    <a:gd name="T68" fmla="*/ 47 w 133"/>
                    <a:gd name="T69" fmla="*/ 154 h 181"/>
                    <a:gd name="T70" fmla="*/ 89 w 133"/>
                    <a:gd name="T71" fmla="*/ 180 h 181"/>
                    <a:gd name="T72" fmla="*/ 97 w 133"/>
                    <a:gd name="T73" fmla="*/ 179 h 181"/>
                    <a:gd name="T74" fmla="*/ 115 w 133"/>
                    <a:gd name="T75" fmla="*/ 170 h 181"/>
                    <a:gd name="T76" fmla="*/ 121 w 133"/>
                    <a:gd name="T77" fmla="*/ 162 h 181"/>
                    <a:gd name="T78" fmla="*/ 131 w 133"/>
                    <a:gd name="T79" fmla="*/ 138 h 181"/>
                    <a:gd name="T80" fmla="*/ 130 w 133"/>
                    <a:gd name="T81" fmla="*/ 106 h 181"/>
                    <a:gd name="T82" fmla="*/ 110 w 133"/>
                    <a:gd name="T83" fmla="*/ 64 h 181"/>
                    <a:gd name="T84" fmla="*/ 90 w 133"/>
                    <a:gd name="T85" fmla="*/ 34 h 181"/>
                    <a:gd name="T86" fmla="*/ 41 w 133"/>
                    <a:gd name="T87" fmla="*/ 2 h 181"/>
                    <a:gd name="T88" fmla="*/ 30 w 133"/>
                    <a:gd name="T89" fmla="*/ 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3" h="181">
                      <a:moveTo>
                        <a:pt x="94" y="142"/>
                      </a:moveTo>
                      <a:lnTo>
                        <a:pt x="94" y="142"/>
                      </a:lnTo>
                      <a:cubicBezTo>
                        <a:pt x="93" y="142"/>
                        <a:pt x="92" y="142"/>
                        <a:pt x="91" y="142"/>
                      </a:cubicBezTo>
                      <a:lnTo>
                        <a:pt x="91" y="142"/>
                      </a:lnTo>
                      <a:cubicBezTo>
                        <a:pt x="92" y="142"/>
                        <a:pt x="93" y="142"/>
                        <a:pt x="94" y="142"/>
                      </a:cubicBezTo>
                      <a:close/>
                      <a:moveTo>
                        <a:pt x="87" y="142"/>
                      </a:moveTo>
                      <a:lnTo>
                        <a:pt x="87" y="142"/>
                      </a:lnTo>
                      <a:cubicBezTo>
                        <a:pt x="87" y="142"/>
                        <a:pt x="88" y="142"/>
                        <a:pt x="89" y="142"/>
                      </a:cubicBezTo>
                      <a:lnTo>
                        <a:pt x="89" y="142"/>
                      </a:lnTo>
                      <a:cubicBezTo>
                        <a:pt x="88" y="142"/>
                        <a:pt x="87" y="142"/>
                        <a:pt x="87" y="142"/>
                      </a:cubicBezTo>
                      <a:close/>
                      <a:moveTo>
                        <a:pt x="93" y="139"/>
                      </a:moveTo>
                      <a:lnTo>
                        <a:pt x="93" y="139"/>
                      </a:lnTo>
                      <a:cubicBezTo>
                        <a:pt x="92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1" y="141"/>
                        <a:pt x="92" y="140"/>
                        <a:pt x="93" y="139"/>
                      </a:cubicBezTo>
                      <a:close/>
                      <a:moveTo>
                        <a:pt x="94" y="136"/>
                      </a:move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3" y="137"/>
                        <a:pt x="93" y="138"/>
                        <a:pt x="92" y="139"/>
                      </a:cubicBezTo>
                      <a:lnTo>
                        <a:pt x="94" y="136"/>
                      </a:lnTo>
                      <a:close/>
                      <a:moveTo>
                        <a:pt x="94" y="135"/>
                      </a:moveTo>
                      <a:lnTo>
                        <a:pt x="94" y="135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4" y="135"/>
                        <a:pt x="94" y="135"/>
                        <a:pt x="94" y="135"/>
                      </a:cubicBezTo>
                      <a:close/>
                      <a:moveTo>
                        <a:pt x="56" y="105"/>
                      </a:moveTo>
                      <a:lnTo>
                        <a:pt x="56" y="105"/>
                      </a:lnTo>
                      <a:close/>
                      <a:moveTo>
                        <a:pt x="53" y="90"/>
                      </a:moveTo>
                      <a:lnTo>
                        <a:pt x="53" y="90"/>
                      </a:lnTo>
                      <a:cubicBezTo>
                        <a:pt x="53" y="91"/>
                        <a:pt x="53" y="93"/>
                        <a:pt x="53" y="94"/>
                      </a:cubicBezTo>
                      <a:lnTo>
                        <a:pt x="53" y="94"/>
                      </a:lnTo>
                      <a:cubicBezTo>
                        <a:pt x="53" y="93"/>
                        <a:pt x="53" y="91"/>
                        <a:pt x="53" y="90"/>
                      </a:cubicBezTo>
                      <a:close/>
                      <a:moveTo>
                        <a:pt x="37" y="39"/>
                      </a:moveTo>
                      <a:lnTo>
                        <a:pt x="37" y="39"/>
                      </a:lnTo>
                      <a:cubicBezTo>
                        <a:pt x="38" y="40"/>
                        <a:pt x="39" y="40"/>
                        <a:pt x="39" y="40"/>
                      </a:cubicBezTo>
                      <a:lnTo>
                        <a:pt x="39" y="40"/>
                      </a:lnTo>
                      <a:cubicBezTo>
                        <a:pt x="44" y="43"/>
                        <a:pt x="48" y="45"/>
                        <a:pt x="52" y="48"/>
                      </a:cubicBezTo>
                      <a:lnTo>
                        <a:pt x="52" y="48"/>
                      </a:lnTo>
                      <a:cubicBezTo>
                        <a:pt x="59" y="55"/>
                        <a:pt x="64" y="61"/>
                        <a:pt x="70" y="69"/>
                      </a:cubicBezTo>
                      <a:lnTo>
                        <a:pt x="70" y="69"/>
                      </a:lnTo>
                      <a:cubicBezTo>
                        <a:pt x="79" y="83"/>
                        <a:pt x="87" y="96"/>
                        <a:pt x="93" y="111"/>
                      </a:cubicBezTo>
                      <a:lnTo>
                        <a:pt x="93" y="111"/>
                      </a:lnTo>
                      <a:cubicBezTo>
                        <a:pt x="94" y="114"/>
                        <a:pt x="94" y="117"/>
                        <a:pt x="95" y="120"/>
                      </a:cubicBezTo>
                      <a:lnTo>
                        <a:pt x="95" y="120"/>
                      </a:lnTo>
                      <a:cubicBezTo>
                        <a:pt x="95" y="124"/>
                        <a:pt x="95" y="129"/>
                        <a:pt x="94" y="132"/>
                      </a:cubicBezTo>
                      <a:lnTo>
                        <a:pt x="94" y="132"/>
                      </a:lnTo>
                      <a:cubicBezTo>
                        <a:pt x="94" y="135"/>
                        <a:pt x="93" y="137"/>
                        <a:pt x="92" y="139"/>
                      </a:cubicBezTo>
                      <a:lnTo>
                        <a:pt x="92" y="139"/>
                      </a:lnTo>
                      <a:cubicBezTo>
                        <a:pt x="91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0" y="142"/>
                        <a:pt x="90" y="142"/>
                        <a:pt x="89" y="142"/>
                      </a:cubicBezTo>
                      <a:lnTo>
                        <a:pt x="89" y="142"/>
                      </a:lnTo>
                      <a:cubicBezTo>
                        <a:pt x="87" y="140"/>
                        <a:pt x="84" y="138"/>
                        <a:pt x="81" y="136"/>
                      </a:cubicBezTo>
                      <a:lnTo>
                        <a:pt x="81" y="136"/>
                      </a:lnTo>
                      <a:cubicBezTo>
                        <a:pt x="74" y="129"/>
                        <a:pt x="67" y="122"/>
                        <a:pt x="61" y="114"/>
                      </a:cubicBezTo>
                      <a:lnTo>
                        <a:pt x="61" y="114"/>
                      </a:lnTo>
                      <a:cubicBezTo>
                        <a:pt x="59" y="110"/>
                        <a:pt x="57" y="107"/>
                        <a:pt x="55" y="103"/>
                      </a:cubicBezTo>
                      <a:lnTo>
                        <a:pt x="55" y="103"/>
                      </a:lnTo>
                      <a:cubicBezTo>
                        <a:pt x="55" y="102"/>
                        <a:pt x="55" y="101"/>
                        <a:pt x="54" y="101"/>
                      </a:cubicBezTo>
                      <a:lnTo>
                        <a:pt x="54" y="101"/>
                      </a:lnTo>
                      <a:cubicBezTo>
                        <a:pt x="54" y="99"/>
                        <a:pt x="53" y="97"/>
                        <a:pt x="53" y="94"/>
                      </a:cubicBezTo>
                      <a:lnTo>
                        <a:pt x="53" y="94"/>
                      </a:lnTo>
                      <a:cubicBezTo>
                        <a:pt x="53" y="88"/>
                        <a:pt x="53" y="81"/>
                        <a:pt x="54" y="75"/>
                      </a:cubicBezTo>
                      <a:lnTo>
                        <a:pt x="54" y="75"/>
                      </a:lnTo>
                      <a:cubicBezTo>
                        <a:pt x="54" y="67"/>
                        <a:pt x="49" y="59"/>
                        <a:pt x="41" y="57"/>
                      </a:cubicBezTo>
                      <a:lnTo>
                        <a:pt x="41" y="57"/>
                      </a:lnTo>
                      <a:cubicBezTo>
                        <a:pt x="40" y="51"/>
                        <a:pt x="38" y="45"/>
                        <a:pt x="37" y="39"/>
                      </a:cubicBezTo>
                      <a:close/>
                      <a:moveTo>
                        <a:pt x="38" y="30"/>
                      </a:moveTo>
                      <a:lnTo>
                        <a:pt x="38" y="30"/>
                      </a:lnTo>
                      <a:cubicBezTo>
                        <a:pt x="38" y="31"/>
                        <a:pt x="37" y="32"/>
                        <a:pt x="37" y="33"/>
                      </a:cubicBezTo>
                      <a:lnTo>
                        <a:pt x="37" y="33"/>
                      </a:lnTo>
                      <a:lnTo>
                        <a:pt x="37" y="33"/>
                      </a:lnTo>
                      <a:lnTo>
                        <a:pt x="37" y="33"/>
                      </a:lnTo>
                      <a:cubicBezTo>
                        <a:pt x="37" y="32"/>
                        <a:pt x="38" y="31"/>
                        <a:pt x="38" y="30"/>
                      </a:cubicBezTo>
                      <a:close/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22" y="2"/>
                        <a:pt x="20" y="2"/>
                        <a:pt x="18" y="3"/>
                      </a:cubicBezTo>
                      <a:lnTo>
                        <a:pt x="18" y="3"/>
                      </a:lnTo>
                      <a:cubicBezTo>
                        <a:pt x="15" y="5"/>
                        <a:pt x="13" y="6"/>
                        <a:pt x="11" y="8"/>
                      </a:cubicBezTo>
                      <a:lnTo>
                        <a:pt x="11" y="8"/>
                      </a:lnTo>
                      <a:cubicBezTo>
                        <a:pt x="9" y="10"/>
                        <a:pt x="8" y="12"/>
                        <a:pt x="6" y="15"/>
                      </a:cubicBezTo>
                      <a:lnTo>
                        <a:pt x="6" y="15"/>
                      </a:lnTo>
                      <a:cubicBezTo>
                        <a:pt x="3" y="18"/>
                        <a:pt x="1" y="24"/>
                        <a:pt x="1" y="29"/>
                      </a:cubicBezTo>
                      <a:lnTo>
                        <a:pt x="1" y="29"/>
                      </a:lnTo>
                      <a:cubicBezTo>
                        <a:pt x="0" y="32"/>
                        <a:pt x="0" y="36"/>
                        <a:pt x="0" y="39"/>
                      </a:cubicBezTo>
                      <a:lnTo>
                        <a:pt x="0" y="39"/>
                      </a:lnTo>
                      <a:cubicBezTo>
                        <a:pt x="0" y="42"/>
                        <a:pt x="0" y="45"/>
                        <a:pt x="1" y="48"/>
                      </a:cubicBezTo>
                      <a:lnTo>
                        <a:pt x="1" y="48"/>
                      </a:lnTo>
                      <a:cubicBezTo>
                        <a:pt x="1" y="53"/>
                        <a:pt x="3" y="58"/>
                        <a:pt x="4" y="62"/>
                      </a:cubicBezTo>
                      <a:lnTo>
                        <a:pt x="4" y="62"/>
                      </a:lnTo>
                      <a:cubicBezTo>
                        <a:pt x="6" y="71"/>
                        <a:pt x="9" y="79"/>
                        <a:pt x="13" y="87"/>
                      </a:cubicBezTo>
                      <a:lnTo>
                        <a:pt x="13" y="87"/>
                      </a:lnTo>
                      <a:cubicBezTo>
                        <a:pt x="13" y="89"/>
                        <a:pt x="14" y="90"/>
                        <a:pt x="16" y="91"/>
                      </a:cubicBezTo>
                      <a:lnTo>
                        <a:pt x="16" y="91"/>
                      </a:lnTo>
                      <a:cubicBezTo>
                        <a:pt x="16" y="94"/>
                        <a:pt x="16" y="96"/>
                        <a:pt x="16" y="98"/>
                      </a:cubicBezTo>
                      <a:lnTo>
                        <a:pt x="16" y="98"/>
                      </a:lnTo>
                      <a:cubicBezTo>
                        <a:pt x="18" y="105"/>
                        <a:pt x="19" y="112"/>
                        <a:pt x="22" y="119"/>
                      </a:cubicBezTo>
                      <a:lnTo>
                        <a:pt x="22" y="119"/>
                      </a:lnTo>
                      <a:cubicBezTo>
                        <a:pt x="25" y="126"/>
                        <a:pt x="29" y="132"/>
                        <a:pt x="33" y="138"/>
                      </a:cubicBezTo>
                      <a:lnTo>
                        <a:pt x="33" y="138"/>
                      </a:lnTo>
                      <a:cubicBezTo>
                        <a:pt x="37" y="144"/>
                        <a:pt x="42" y="149"/>
                        <a:pt x="47" y="154"/>
                      </a:cubicBezTo>
                      <a:lnTo>
                        <a:pt x="47" y="154"/>
                      </a:lnTo>
                      <a:cubicBezTo>
                        <a:pt x="56" y="164"/>
                        <a:pt x="67" y="173"/>
                        <a:pt x="80" y="178"/>
                      </a:cubicBezTo>
                      <a:lnTo>
                        <a:pt x="80" y="178"/>
                      </a:lnTo>
                      <a:cubicBezTo>
                        <a:pt x="83" y="179"/>
                        <a:pt x="85" y="179"/>
                        <a:pt x="89" y="180"/>
                      </a:cubicBezTo>
                      <a:lnTo>
                        <a:pt x="89" y="180"/>
                      </a:lnTo>
                      <a:cubicBezTo>
                        <a:pt x="91" y="179"/>
                        <a:pt x="94" y="179"/>
                        <a:pt x="97" y="179"/>
                      </a:cubicBezTo>
                      <a:lnTo>
                        <a:pt x="97" y="179"/>
                      </a:lnTo>
                      <a:cubicBezTo>
                        <a:pt x="100" y="178"/>
                        <a:pt x="103" y="177"/>
                        <a:pt x="105" y="176"/>
                      </a:cubicBezTo>
                      <a:lnTo>
                        <a:pt x="105" y="176"/>
                      </a:lnTo>
                      <a:cubicBezTo>
                        <a:pt x="109" y="174"/>
                        <a:pt x="112" y="172"/>
                        <a:pt x="115" y="170"/>
                      </a:cubicBezTo>
                      <a:lnTo>
                        <a:pt x="115" y="170"/>
                      </a:lnTo>
                      <a:cubicBezTo>
                        <a:pt x="117" y="167"/>
                        <a:pt x="119" y="165"/>
                        <a:pt x="121" y="162"/>
                      </a:cubicBezTo>
                      <a:lnTo>
                        <a:pt x="121" y="162"/>
                      </a:lnTo>
                      <a:cubicBezTo>
                        <a:pt x="122" y="160"/>
                        <a:pt x="124" y="158"/>
                        <a:pt x="125" y="155"/>
                      </a:cubicBezTo>
                      <a:lnTo>
                        <a:pt x="125" y="155"/>
                      </a:lnTo>
                      <a:cubicBezTo>
                        <a:pt x="128" y="150"/>
                        <a:pt x="130" y="144"/>
                        <a:pt x="131" y="138"/>
                      </a:cubicBezTo>
                      <a:lnTo>
                        <a:pt x="131" y="138"/>
                      </a:lnTo>
                      <a:cubicBezTo>
                        <a:pt x="132" y="127"/>
                        <a:pt x="132" y="116"/>
                        <a:pt x="130" y="106"/>
                      </a:cubicBezTo>
                      <a:lnTo>
                        <a:pt x="130" y="106"/>
                      </a:lnTo>
                      <a:cubicBezTo>
                        <a:pt x="128" y="97"/>
                        <a:pt x="124" y="89"/>
                        <a:pt x="120" y="81"/>
                      </a:cubicBezTo>
                      <a:lnTo>
                        <a:pt x="120" y="81"/>
                      </a:lnTo>
                      <a:cubicBezTo>
                        <a:pt x="117" y="75"/>
                        <a:pt x="114" y="69"/>
                        <a:pt x="110" y="64"/>
                      </a:cubicBezTo>
                      <a:lnTo>
                        <a:pt x="110" y="64"/>
                      </a:lnTo>
                      <a:cubicBezTo>
                        <a:pt x="104" y="53"/>
                        <a:pt x="98" y="43"/>
                        <a:pt x="90" y="34"/>
                      </a:cubicBezTo>
                      <a:lnTo>
                        <a:pt x="90" y="34"/>
                      </a:lnTo>
                      <a:cubicBezTo>
                        <a:pt x="79" y="21"/>
                        <a:pt x="67" y="12"/>
                        <a:pt x="52" y="6"/>
                      </a:cubicBezTo>
                      <a:lnTo>
                        <a:pt x="52" y="6"/>
                      </a:lnTo>
                      <a:cubicBezTo>
                        <a:pt x="49" y="4"/>
                        <a:pt x="45" y="3"/>
                        <a:pt x="41" y="2"/>
                      </a:cubicBezTo>
                      <a:lnTo>
                        <a:pt x="41" y="2"/>
                      </a:lnTo>
                      <a:cubicBezTo>
                        <a:pt x="37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429">
                  <a:extLst>
                    <a:ext uri="{FF2B5EF4-FFF2-40B4-BE49-F238E27FC236}">
                      <a16:creationId xmlns:a16="http://schemas.microsoft.com/office/drawing/2014/main" id="{8444A08C-1E09-F347-92A7-F378F65BD0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28963" y="4019550"/>
                  <a:ext cx="165100" cy="312738"/>
                </a:xfrm>
                <a:custGeom>
                  <a:avLst/>
                  <a:gdLst>
                    <a:gd name="T0" fmla="*/ 354 w 460"/>
                    <a:gd name="T1" fmla="*/ 694 h 870"/>
                    <a:gd name="T2" fmla="*/ 355 w 460"/>
                    <a:gd name="T3" fmla="*/ 696 h 870"/>
                    <a:gd name="T4" fmla="*/ 154 w 460"/>
                    <a:gd name="T5" fmla="*/ 421 h 870"/>
                    <a:gd name="T6" fmla="*/ 156 w 460"/>
                    <a:gd name="T7" fmla="*/ 424 h 870"/>
                    <a:gd name="T8" fmla="*/ 154 w 460"/>
                    <a:gd name="T9" fmla="*/ 421 h 870"/>
                    <a:gd name="T10" fmla="*/ 89 w 460"/>
                    <a:gd name="T11" fmla="*/ 10 h 870"/>
                    <a:gd name="T12" fmla="*/ 57 w 460"/>
                    <a:gd name="T13" fmla="*/ 27 h 870"/>
                    <a:gd name="T14" fmla="*/ 28 w 460"/>
                    <a:gd name="T15" fmla="*/ 58 h 870"/>
                    <a:gd name="T16" fmla="*/ 12 w 460"/>
                    <a:gd name="T17" fmla="*/ 92 h 870"/>
                    <a:gd name="T18" fmla="*/ 4 w 460"/>
                    <a:gd name="T19" fmla="*/ 131 h 870"/>
                    <a:gd name="T20" fmla="*/ 7 w 460"/>
                    <a:gd name="T21" fmla="*/ 215 h 870"/>
                    <a:gd name="T22" fmla="*/ 19 w 460"/>
                    <a:gd name="T23" fmla="*/ 264 h 870"/>
                    <a:gd name="T24" fmla="*/ 27 w 460"/>
                    <a:gd name="T25" fmla="*/ 292 h 870"/>
                    <a:gd name="T26" fmla="*/ 39 w 460"/>
                    <a:gd name="T27" fmla="*/ 322 h 870"/>
                    <a:gd name="T28" fmla="*/ 55 w 460"/>
                    <a:gd name="T29" fmla="*/ 358 h 870"/>
                    <a:gd name="T30" fmla="*/ 81 w 460"/>
                    <a:gd name="T31" fmla="*/ 407 h 870"/>
                    <a:gd name="T32" fmla="*/ 114 w 460"/>
                    <a:gd name="T33" fmla="*/ 461 h 870"/>
                    <a:gd name="T34" fmla="*/ 154 w 460"/>
                    <a:gd name="T35" fmla="*/ 514 h 870"/>
                    <a:gd name="T36" fmla="*/ 245 w 460"/>
                    <a:gd name="T37" fmla="*/ 635 h 870"/>
                    <a:gd name="T38" fmla="*/ 319 w 460"/>
                    <a:gd name="T39" fmla="*/ 740 h 870"/>
                    <a:gd name="T40" fmla="*/ 411 w 460"/>
                    <a:gd name="T41" fmla="*/ 858 h 870"/>
                    <a:gd name="T42" fmla="*/ 450 w 460"/>
                    <a:gd name="T43" fmla="*/ 859 h 870"/>
                    <a:gd name="T44" fmla="*/ 459 w 460"/>
                    <a:gd name="T45" fmla="*/ 840 h 870"/>
                    <a:gd name="T46" fmla="*/ 452 w 460"/>
                    <a:gd name="T47" fmla="*/ 820 h 870"/>
                    <a:gd name="T48" fmla="*/ 357 w 460"/>
                    <a:gd name="T49" fmla="*/ 699 h 870"/>
                    <a:gd name="T50" fmla="*/ 257 w 460"/>
                    <a:gd name="T51" fmla="*/ 558 h 870"/>
                    <a:gd name="T52" fmla="*/ 204 w 460"/>
                    <a:gd name="T53" fmla="*/ 488 h 870"/>
                    <a:gd name="T54" fmla="*/ 158 w 460"/>
                    <a:gd name="T55" fmla="*/ 427 h 870"/>
                    <a:gd name="T56" fmla="*/ 123 w 460"/>
                    <a:gd name="T57" fmla="*/ 369 h 870"/>
                    <a:gd name="T58" fmla="*/ 106 w 460"/>
                    <a:gd name="T59" fmla="*/ 337 h 870"/>
                    <a:gd name="T60" fmla="*/ 91 w 460"/>
                    <a:gd name="T61" fmla="*/ 302 h 870"/>
                    <a:gd name="T62" fmla="*/ 78 w 460"/>
                    <a:gd name="T63" fmla="*/ 267 h 870"/>
                    <a:gd name="T64" fmla="*/ 59 w 460"/>
                    <a:gd name="T65" fmla="*/ 185 h 870"/>
                    <a:gd name="T66" fmla="*/ 61 w 460"/>
                    <a:gd name="T67" fmla="*/ 128 h 870"/>
                    <a:gd name="T68" fmla="*/ 70 w 460"/>
                    <a:gd name="T69" fmla="*/ 99 h 870"/>
                    <a:gd name="T70" fmla="*/ 80 w 460"/>
                    <a:gd name="T71" fmla="*/ 81 h 870"/>
                    <a:gd name="T72" fmla="*/ 91 w 460"/>
                    <a:gd name="T73" fmla="*/ 71 h 870"/>
                    <a:gd name="T74" fmla="*/ 106 w 460"/>
                    <a:gd name="T75" fmla="*/ 63 h 870"/>
                    <a:gd name="T76" fmla="*/ 138 w 460"/>
                    <a:gd name="T77" fmla="*/ 56 h 870"/>
                    <a:gd name="T78" fmla="*/ 197 w 460"/>
                    <a:gd name="T79" fmla="*/ 58 h 870"/>
                    <a:gd name="T80" fmla="*/ 244 w 460"/>
                    <a:gd name="T81" fmla="*/ 70 h 870"/>
                    <a:gd name="T82" fmla="*/ 284 w 460"/>
                    <a:gd name="T83" fmla="*/ 86 h 870"/>
                    <a:gd name="T84" fmla="*/ 287 w 460"/>
                    <a:gd name="T85" fmla="*/ 88 h 870"/>
                    <a:gd name="T86" fmla="*/ 308 w 460"/>
                    <a:gd name="T87" fmla="*/ 91 h 870"/>
                    <a:gd name="T88" fmla="*/ 325 w 460"/>
                    <a:gd name="T89" fmla="*/ 79 h 870"/>
                    <a:gd name="T90" fmla="*/ 329 w 460"/>
                    <a:gd name="T91" fmla="*/ 57 h 870"/>
                    <a:gd name="T92" fmla="*/ 317 w 460"/>
                    <a:gd name="T93" fmla="*/ 40 h 870"/>
                    <a:gd name="T94" fmla="*/ 247 w 460"/>
                    <a:gd name="T95" fmla="*/ 13 h 870"/>
                    <a:gd name="T96" fmla="*/ 163 w 460"/>
                    <a:gd name="T97" fmla="*/ 0 h 870"/>
                    <a:gd name="T98" fmla="*/ 154 w 460"/>
                    <a:gd name="T99" fmla="*/ 0 h 8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60" h="870">
                      <a:moveTo>
                        <a:pt x="354" y="694"/>
                      </a:moveTo>
                      <a:lnTo>
                        <a:pt x="354" y="694"/>
                      </a:lnTo>
                      <a:cubicBezTo>
                        <a:pt x="354" y="695"/>
                        <a:pt x="355" y="695"/>
                        <a:pt x="355" y="696"/>
                      </a:cubicBezTo>
                      <a:lnTo>
                        <a:pt x="355" y="696"/>
                      </a:lnTo>
                      <a:cubicBezTo>
                        <a:pt x="355" y="695"/>
                        <a:pt x="354" y="695"/>
                        <a:pt x="354" y="694"/>
                      </a:cubicBezTo>
                      <a:close/>
                      <a:moveTo>
                        <a:pt x="154" y="421"/>
                      </a:moveTo>
                      <a:lnTo>
                        <a:pt x="154" y="421"/>
                      </a:lnTo>
                      <a:cubicBezTo>
                        <a:pt x="155" y="422"/>
                        <a:pt x="155" y="423"/>
                        <a:pt x="156" y="424"/>
                      </a:cubicBezTo>
                      <a:lnTo>
                        <a:pt x="156" y="424"/>
                      </a:lnTo>
                      <a:cubicBezTo>
                        <a:pt x="155" y="423"/>
                        <a:pt x="155" y="422"/>
                        <a:pt x="154" y="421"/>
                      </a:cubicBezTo>
                      <a:close/>
                      <a:moveTo>
                        <a:pt x="89" y="10"/>
                      </a:moveTo>
                      <a:lnTo>
                        <a:pt x="89" y="10"/>
                      </a:lnTo>
                      <a:cubicBezTo>
                        <a:pt x="77" y="15"/>
                        <a:pt x="67" y="20"/>
                        <a:pt x="57" y="27"/>
                      </a:cubicBezTo>
                      <a:lnTo>
                        <a:pt x="57" y="27"/>
                      </a:lnTo>
                      <a:cubicBezTo>
                        <a:pt x="45" y="36"/>
                        <a:pt x="36" y="47"/>
                        <a:pt x="28" y="58"/>
                      </a:cubicBezTo>
                      <a:lnTo>
                        <a:pt x="28" y="58"/>
                      </a:lnTo>
                      <a:cubicBezTo>
                        <a:pt x="21" y="69"/>
                        <a:pt x="17" y="81"/>
                        <a:pt x="12" y="92"/>
                      </a:cubicBezTo>
                      <a:lnTo>
                        <a:pt x="12" y="92"/>
                      </a:lnTo>
                      <a:cubicBezTo>
                        <a:pt x="8" y="105"/>
                        <a:pt x="6" y="118"/>
                        <a:pt x="4" y="131"/>
                      </a:cubicBezTo>
                      <a:lnTo>
                        <a:pt x="4" y="131"/>
                      </a:lnTo>
                      <a:cubicBezTo>
                        <a:pt x="0" y="158"/>
                        <a:pt x="3" y="187"/>
                        <a:pt x="7" y="215"/>
                      </a:cubicBezTo>
                      <a:lnTo>
                        <a:pt x="7" y="215"/>
                      </a:lnTo>
                      <a:cubicBezTo>
                        <a:pt x="10" y="232"/>
                        <a:pt x="14" y="248"/>
                        <a:pt x="19" y="264"/>
                      </a:cubicBezTo>
                      <a:lnTo>
                        <a:pt x="19" y="264"/>
                      </a:lnTo>
                      <a:cubicBezTo>
                        <a:pt x="21" y="273"/>
                        <a:pt x="24" y="283"/>
                        <a:pt x="27" y="292"/>
                      </a:cubicBezTo>
                      <a:lnTo>
                        <a:pt x="27" y="292"/>
                      </a:lnTo>
                      <a:cubicBezTo>
                        <a:pt x="31" y="302"/>
                        <a:pt x="35" y="312"/>
                        <a:pt x="39" y="322"/>
                      </a:cubicBezTo>
                      <a:lnTo>
                        <a:pt x="39" y="322"/>
                      </a:lnTo>
                      <a:cubicBezTo>
                        <a:pt x="43" y="334"/>
                        <a:pt x="50" y="346"/>
                        <a:pt x="55" y="358"/>
                      </a:cubicBezTo>
                      <a:lnTo>
                        <a:pt x="55" y="358"/>
                      </a:lnTo>
                      <a:cubicBezTo>
                        <a:pt x="62" y="375"/>
                        <a:pt x="71" y="391"/>
                        <a:pt x="81" y="407"/>
                      </a:cubicBezTo>
                      <a:lnTo>
                        <a:pt x="81" y="407"/>
                      </a:lnTo>
                      <a:cubicBezTo>
                        <a:pt x="91" y="425"/>
                        <a:pt x="102" y="444"/>
                        <a:pt x="114" y="461"/>
                      </a:cubicBezTo>
                      <a:lnTo>
                        <a:pt x="114" y="461"/>
                      </a:lnTo>
                      <a:cubicBezTo>
                        <a:pt x="127" y="478"/>
                        <a:pt x="140" y="496"/>
                        <a:pt x="154" y="514"/>
                      </a:cubicBezTo>
                      <a:lnTo>
                        <a:pt x="154" y="514"/>
                      </a:lnTo>
                      <a:cubicBezTo>
                        <a:pt x="185" y="554"/>
                        <a:pt x="215" y="594"/>
                        <a:pt x="245" y="635"/>
                      </a:cubicBezTo>
                      <a:lnTo>
                        <a:pt x="245" y="635"/>
                      </a:lnTo>
                      <a:cubicBezTo>
                        <a:pt x="269" y="670"/>
                        <a:pt x="293" y="706"/>
                        <a:pt x="319" y="740"/>
                      </a:cubicBezTo>
                      <a:lnTo>
                        <a:pt x="319" y="740"/>
                      </a:lnTo>
                      <a:cubicBezTo>
                        <a:pt x="349" y="780"/>
                        <a:pt x="380" y="819"/>
                        <a:pt x="411" y="858"/>
                      </a:cubicBezTo>
                      <a:lnTo>
                        <a:pt x="411" y="858"/>
                      </a:lnTo>
                      <a:cubicBezTo>
                        <a:pt x="420" y="869"/>
                        <a:pt x="439" y="869"/>
                        <a:pt x="450" y="859"/>
                      </a:cubicBezTo>
                      <a:lnTo>
                        <a:pt x="450" y="859"/>
                      </a:lnTo>
                      <a:cubicBezTo>
                        <a:pt x="455" y="854"/>
                        <a:pt x="459" y="847"/>
                        <a:pt x="459" y="840"/>
                      </a:cubicBezTo>
                      <a:lnTo>
                        <a:pt x="459" y="840"/>
                      </a:lnTo>
                      <a:cubicBezTo>
                        <a:pt x="459" y="832"/>
                        <a:pt x="457" y="826"/>
                        <a:pt x="452" y="820"/>
                      </a:cubicBezTo>
                      <a:lnTo>
                        <a:pt x="452" y="820"/>
                      </a:lnTo>
                      <a:cubicBezTo>
                        <a:pt x="420" y="780"/>
                        <a:pt x="388" y="740"/>
                        <a:pt x="357" y="699"/>
                      </a:cubicBezTo>
                      <a:lnTo>
                        <a:pt x="357" y="699"/>
                      </a:lnTo>
                      <a:cubicBezTo>
                        <a:pt x="324" y="652"/>
                        <a:pt x="292" y="605"/>
                        <a:pt x="257" y="558"/>
                      </a:cubicBezTo>
                      <a:lnTo>
                        <a:pt x="257" y="558"/>
                      </a:lnTo>
                      <a:cubicBezTo>
                        <a:pt x="241" y="535"/>
                        <a:pt x="222" y="512"/>
                        <a:pt x="204" y="488"/>
                      </a:cubicBezTo>
                      <a:lnTo>
                        <a:pt x="204" y="488"/>
                      </a:lnTo>
                      <a:cubicBezTo>
                        <a:pt x="188" y="468"/>
                        <a:pt x="173" y="448"/>
                        <a:pt x="158" y="427"/>
                      </a:cubicBezTo>
                      <a:lnTo>
                        <a:pt x="158" y="427"/>
                      </a:lnTo>
                      <a:cubicBezTo>
                        <a:pt x="146" y="408"/>
                        <a:pt x="133" y="389"/>
                        <a:pt x="123" y="369"/>
                      </a:cubicBezTo>
                      <a:lnTo>
                        <a:pt x="123" y="369"/>
                      </a:lnTo>
                      <a:cubicBezTo>
                        <a:pt x="117" y="359"/>
                        <a:pt x="111" y="348"/>
                        <a:pt x="106" y="337"/>
                      </a:cubicBezTo>
                      <a:lnTo>
                        <a:pt x="106" y="337"/>
                      </a:lnTo>
                      <a:cubicBezTo>
                        <a:pt x="101" y="325"/>
                        <a:pt x="96" y="314"/>
                        <a:pt x="91" y="302"/>
                      </a:cubicBezTo>
                      <a:lnTo>
                        <a:pt x="91" y="302"/>
                      </a:lnTo>
                      <a:cubicBezTo>
                        <a:pt x="86" y="290"/>
                        <a:pt x="81" y="279"/>
                        <a:pt x="78" y="267"/>
                      </a:cubicBezTo>
                      <a:lnTo>
                        <a:pt x="78" y="267"/>
                      </a:lnTo>
                      <a:cubicBezTo>
                        <a:pt x="70" y="240"/>
                        <a:pt x="62" y="213"/>
                        <a:pt x="59" y="185"/>
                      </a:cubicBezTo>
                      <a:lnTo>
                        <a:pt x="59" y="185"/>
                      </a:lnTo>
                      <a:cubicBezTo>
                        <a:pt x="58" y="166"/>
                        <a:pt x="58" y="147"/>
                        <a:pt x="61" y="128"/>
                      </a:cubicBezTo>
                      <a:lnTo>
                        <a:pt x="61" y="128"/>
                      </a:lnTo>
                      <a:cubicBezTo>
                        <a:pt x="62" y="118"/>
                        <a:pt x="65" y="108"/>
                        <a:pt x="70" y="99"/>
                      </a:cubicBezTo>
                      <a:lnTo>
                        <a:pt x="70" y="99"/>
                      </a:lnTo>
                      <a:cubicBezTo>
                        <a:pt x="72" y="93"/>
                        <a:pt x="76" y="87"/>
                        <a:pt x="80" y="81"/>
                      </a:cubicBezTo>
                      <a:lnTo>
                        <a:pt x="80" y="81"/>
                      </a:lnTo>
                      <a:cubicBezTo>
                        <a:pt x="84" y="78"/>
                        <a:pt x="87" y="74"/>
                        <a:pt x="91" y="71"/>
                      </a:cubicBezTo>
                      <a:lnTo>
                        <a:pt x="91" y="71"/>
                      </a:lnTo>
                      <a:cubicBezTo>
                        <a:pt x="96" y="68"/>
                        <a:pt x="101" y="66"/>
                        <a:pt x="106" y="63"/>
                      </a:cubicBezTo>
                      <a:lnTo>
                        <a:pt x="106" y="63"/>
                      </a:lnTo>
                      <a:cubicBezTo>
                        <a:pt x="116" y="60"/>
                        <a:pt x="127" y="57"/>
                        <a:pt x="138" y="56"/>
                      </a:cubicBezTo>
                      <a:lnTo>
                        <a:pt x="138" y="56"/>
                      </a:lnTo>
                      <a:cubicBezTo>
                        <a:pt x="158" y="55"/>
                        <a:pt x="177" y="56"/>
                        <a:pt x="197" y="58"/>
                      </a:cubicBezTo>
                      <a:lnTo>
                        <a:pt x="197" y="58"/>
                      </a:lnTo>
                      <a:cubicBezTo>
                        <a:pt x="213" y="61"/>
                        <a:pt x="228" y="66"/>
                        <a:pt x="244" y="70"/>
                      </a:cubicBezTo>
                      <a:lnTo>
                        <a:pt x="244" y="70"/>
                      </a:lnTo>
                      <a:cubicBezTo>
                        <a:pt x="257" y="74"/>
                        <a:pt x="271" y="80"/>
                        <a:pt x="284" y="86"/>
                      </a:cubicBezTo>
                      <a:lnTo>
                        <a:pt x="284" y="86"/>
                      </a:lnTo>
                      <a:cubicBezTo>
                        <a:pt x="285" y="87"/>
                        <a:pt x="286" y="87"/>
                        <a:pt x="287" y="88"/>
                      </a:cubicBezTo>
                      <a:lnTo>
                        <a:pt x="287" y="88"/>
                      </a:lnTo>
                      <a:cubicBezTo>
                        <a:pt x="294" y="91"/>
                        <a:pt x="300" y="93"/>
                        <a:pt x="308" y="91"/>
                      </a:cubicBezTo>
                      <a:lnTo>
                        <a:pt x="308" y="91"/>
                      </a:lnTo>
                      <a:cubicBezTo>
                        <a:pt x="315" y="90"/>
                        <a:pt x="322" y="85"/>
                        <a:pt x="325" y="79"/>
                      </a:cubicBezTo>
                      <a:lnTo>
                        <a:pt x="325" y="79"/>
                      </a:lnTo>
                      <a:cubicBezTo>
                        <a:pt x="329" y="73"/>
                        <a:pt x="331" y="65"/>
                        <a:pt x="329" y="57"/>
                      </a:cubicBezTo>
                      <a:lnTo>
                        <a:pt x="329" y="57"/>
                      </a:lnTo>
                      <a:cubicBezTo>
                        <a:pt x="327" y="51"/>
                        <a:pt x="323" y="43"/>
                        <a:pt x="317" y="40"/>
                      </a:cubicBezTo>
                      <a:lnTo>
                        <a:pt x="317" y="40"/>
                      </a:lnTo>
                      <a:cubicBezTo>
                        <a:pt x="294" y="30"/>
                        <a:pt x="272" y="20"/>
                        <a:pt x="247" y="13"/>
                      </a:cubicBezTo>
                      <a:lnTo>
                        <a:pt x="247" y="13"/>
                      </a:lnTo>
                      <a:cubicBezTo>
                        <a:pt x="220" y="5"/>
                        <a:pt x="191" y="1"/>
                        <a:pt x="163" y="0"/>
                      </a:cubicBezTo>
                      <a:lnTo>
                        <a:pt x="163" y="0"/>
                      </a:lnTo>
                      <a:cubicBezTo>
                        <a:pt x="160" y="0"/>
                        <a:pt x="156" y="0"/>
                        <a:pt x="154" y="0"/>
                      </a:cubicBezTo>
                      <a:lnTo>
                        <a:pt x="154" y="0"/>
                      </a:lnTo>
                      <a:cubicBezTo>
                        <a:pt x="131" y="0"/>
                        <a:pt x="110" y="3"/>
                        <a:pt x="89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430">
                  <a:extLst>
                    <a:ext uri="{FF2B5EF4-FFF2-40B4-BE49-F238E27FC236}">
                      <a16:creationId xmlns:a16="http://schemas.microsoft.com/office/drawing/2014/main" id="{12C96805-93B9-F04E-B298-62ADC138F9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3750" y="4383088"/>
                  <a:ext cx="85725" cy="92075"/>
                </a:xfrm>
                <a:custGeom>
                  <a:avLst/>
                  <a:gdLst>
                    <a:gd name="T0" fmla="*/ 12 w 238"/>
                    <a:gd name="T1" fmla="*/ 8 h 257"/>
                    <a:gd name="T2" fmla="*/ 12 w 238"/>
                    <a:gd name="T3" fmla="*/ 8 h 257"/>
                    <a:gd name="T4" fmla="*/ 11 w 238"/>
                    <a:gd name="T5" fmla="*/ 47 h 257"/>
                    <a:gd name="T6" fmla="*/ 11 w 238"/>
                    <a:gd name="T7" fmla="*/ 47 h 257"/>
                    <a:gd name="T8" fmla="*/ 101 w 238"/>
                    <a:gd name="T9" fmla="*/ 153 h 257"/>
                    <a:gd name="T10" fmla="*/ 101 w 238"/>
                    <a:gd name="T11" fmla="*/ 153 h 257"/>
                    <a:gd name="T12" fmla="*/ 186 w 238"/>
                    <a:gd name="T13" fmla="*/ 245 h 257"/>
                    <a:gd name="T14" fmla="*/ 186 w 238"/>
                    <a:gd name="T15" fmla="*/ 245 h 257"/>
                    <a:gd name="T16" fmla="*/ 225 w 238"/>
                    <a:gd name="T17" fmla="*/ 246 h 257"/>
                    <a:gd name="T18" fmla="*/ 225 w 238"/>
                    <a:gd name="T19" fmla="*/ 246 h 257"/>
                    <a:gd name="T20" fmla="*/ 227 w 238"/>
                    <a:gd name="T21" fmla="*/ 207 h 257"/>
                    <a:gd name="T22" fmla="*/ 227 w 238"/>
                    <a:gd name="T23" fmla="*/ 207 h 257"/>
                    <a:gd name="T24" fmla="*/ 179 w 238"/>
                    <a:gd name="T25" fmla="*/ 157 h 257"/>
                    <a:gd name="T26" fmla="*/ 179 w 238"/>
                    <a:gd name="T27" fmla="*/ 157 h 257"/>
                    <a:gd name="T28" fmla="*/ 141 w 238"/>
                    <a:gd name="T29" fmla="*/ 114 h 257"/>
                    <a:gd name="T30" fmla="*/ 141 w 238"/>
                    <a:gd name="T31" fmla="*/ 114 h 257"/>
                    <a:gd name="T32" fmla="*/ 105 w 238"/>
                    <a:gd name="T33" fmla="*/ 71 h 257"/>
                    <a:gd name="T34" fmla="*/ 105 w 238"/>
                    <a:gd name="T35" fmla="*/ 71 h 257"/>
                    <a:gd name="T36" fmla="*/ 52 w 238"/>
                    <a:gd name="T37" fmla="*/ 9 h 257"/>
                    <a:gd name="T38" fmla="*/ 52 w 238"/>
                    <a:gd name="T39" fmla="*/ 9 h 257"/>
                    <a:gd name="T40" fmla="*/ 32 w 238"/>
                    <a:gd name="T41" fmla="*/ 0 h 257"/>
                    <a:gd name="T42" fmla="*/ 32 w 238"/>
                    <a:gd name="T43" fmla="*/ 0 h 257"/>
                    <a:gd name="T44" fmla="*/ 12 w 238"/>
                    <a:gd name="T45" fmla="*/ 8 h 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8" h="257">
                      <a:moveTo>
                        <a:pt x="12" y="8"/>
                      </a:moveTo>
                      <a:lnTo>
                        <a:pt x="12" y="8"/>
                      </a:lnTo>
                      <a:cubicBezTo>
                        <a:pt x="0" y="18"/>
                        <a:pt x="1" y="35"/>
                        <a:pt x="11" y="47"/>
                      </a:cubicBezTo>
                      <a:lnTo>
                        <a:pt x="11" y="47"/>
                      </a:lnTo>
                      <a:cubicBezTo>
                        <a:pt x="41" y="82"/>
                        <a:pt x="71" y="117"/>
                        <a:pt x="101" y="153"/>
                      </a:cubicBezTo>
                      <a:lnTo>
                        <a:pt x="101" y="153"/>
                      </a:lnTo>
                      <a:cubicBezTo>
                        <a:pt x="128" y="184"/>
                        <a:pt x="157" y="214"/>
                        <a:pt x="186" y="245"/>
                      </a:cubicBezTo>
                      <a:lnTo>
                        <a:pt x="186" y="245"/>
                      </a:lnTo>
                      <a:cubicBezTo>
                        <a:pt x="197" y="255"/>
                        <a:pt x="214" y="256"/>
                        <a:pt x="225" y="246"/>
                      </a:cubicBezTo>
                      <a:lnTo>
                        <a:pt x="225" y="246"/>
                      </a:lnTo>
                      <a:cubicBezTo>
                        <a:pt x="237" y="236"/>
                        <a:pt x="237" y="217"/>
                        <a:pt x="227" y="207"/>
                      </a:cubicBezTo>
                      <a:lnTo>
                        <a:pt x="227" y="207"/>
                      </a:lnTo>
                      <a:cubicBezTo>
                        <a:pt x="211" y="190"/>
                        <a:pt x="194" y="174"/>
                        <a:pt x="179" y="157"/>
                      </a:cubicBezTo>
                      <a:lnTo>
                        <a:pt x="179" y="157"/>
                      </a:lnTo>
                      <a:cubicBezTo>
                        <a:pt x="167" y="143"/>
                        <a:pt x="154" y="129"/>
                        <a:pt x="141" y="114"/>
                      </a:cubicBezTo>
                      <a:lnTo>
                        <a:pt x="141" y="114"/>
                      </a:lnTo>
                      <a:cubicBezTo>
                        <a:pt x="129" y="100"/>
                        <a:pt x="117" y="85"/>
                        <a:pt x="105" y="71"/>
                      </a:cubicBezTo>
                      <a:lnTo>
                        <a:pt x="105" y="71"/>
                      </a:lnTo>
                      <a:cubicBezTo>
                        <a:pt x="87" y="50"/>
                        <a:pt x="69" y="29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5" y="0"/>
                        <a:pt x="18" y="3"/>
                        <a:pt x="12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431">
                  <a:extLst>
                    <a:ext uri="{FF2B5EF4-FFF2-40B4-BE49-F238E27FC236}">
                      <a16:creationId xmlns:a16="http://schemas.microsoft.com/office/drawing/2014/main" id="{6D596665-D179-B443-A0CB-DCBC0015A0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9325" y="4521200"/>
                  <a:ext cx="693738" cy="407988"/>
                </a:xfrm>
                <a:custGeom>
                  <a:avLst/>
                  <a:gdLst>
                    <a:gd name="T0" fmla="*/ 1698 w 1927"/>
                    <a:gd name="T1" fmla="*/ 1056 h 1132"/>
                    <a:gd name="T2" fmla="*/ 11 w 1927"/>
                    <a:gd name="T3" fmla="*/ 7 h 1132"/>
                    <a:gd name="T4" fmla="*/ 71 w 1927"/>
                    <a:gd name="T5" fmla="*/ 106 h 1132"/>
                    <a:gd name="T6" fmla="*/ 96 w 1927"/>
                    <a:gd name="T7" fmla="*/ 130 h 1132"/>
                    <a:gd name="T8" fmla="*/ 146 w 1927"/>
                    <a:gd name="T9" fmla="*/ 171 h 1132"/>
                    <a:gd name="T10" fmla="*/ 162 w 1927"/>
                    <a:gd name="T11" fmla="*/ 184 h 1132"/>
                    <a:gd name="T12" fmla="*/ 415 w 1927"/>
                    <a:gd name="T13" fmla="*/ 355 h 1132"/>
                    <a:gd name="T14" fmla="*/ 544 w 1927"/>
                    <a:gd name="T15" fmla="*/ 455 h 1132"/>
                    <a:gd name="T16" fmla="*/ 667 w 1927"/>
                    <a:gd name="T17" fmla="*/ 556 h 1132"/>
                    <a:gd name="T18" fmla="*/ 761 w 1927"/>
                    <a:gd name="T19" fmla="*/ 635 h 1132"/>
                    <a:gd name="T20" fmla="*/ 853 w 1927"/>
                    <a:gd name="T21" fmla="*/ 704 h 1132"/>
                    <a:gd name="T22" fmla="*/ 903 w 1927"/>
                    <a:gd name="T23" fmla="*/ 737 h 1132"/>
                    <a:gd name="T24" fmla="*/ 1063 w 1927"/>
                    <a:gd name="T25" fmla="*/ 826 h 1132"/>
                    <a:gd name="T26" fmla="*/ 1161 w 1927"/>
                    <a:gd name="T27" fmla="*/ 893 h 1132"/>
                    <a:gd name="T28" fmla="*/ 1367 w 1927"/>
                    <a:gd name="T29" fmla="*/ 999 h 1132"/>
                    <a:gd name="T30" fmla="*/ 1476 w 1927"/>
                    <a:gd name="T31" fmla="*/ 1047 h 1132"/>
                    <a:gd name="T32" fmla="*/ 1681 w 1927"/>
                    <a:gd name="T33" fmla="*/ 1108 h 1132"/>
                    <a:gd name="T34" fmla="*/ 1790 w 1927"/>
                    <a:gd name="T35" fmla="*/ 1125 h 1132"/>
                    <a:gd name="T36" fmla="*/ 1887 w 1927"/>
                    <a:gd name="T37" fmla="*/ 1116 h 1132"/>
                    <a:gd name="T38" fmla="*/ 1910 w 1927"/>
                    <a:gd name="T39" fmla="*/ 1095 h 1132"/>
                    <a:gd name="T40" fmla="*/ 1923 w 1927"/>
                    <a:gd name="T41" fmla="*/ 1066 h 1132"/>
                    <a:gd name="T42" fmla="*/ 1926 w 1927"/>
                    <a:gd name="T43" fmla="*/ 1034 h 1132"/>
                    <a:gd name="T44" fmla="*/ 1870 w 1927"/>
                    <a:gd name="T45" fmla="*/ 1032 h 1132"/>
                    <a:gd name="T46" fmla="*/ 1869 w 1927"/>
                    <a:gd name="T47" fmla="*/ 1049 h 1132"/>
                    <a:gd name="T48" fmla="*/ 1863 w 1927"/>
                    <a:gd name="T49" fmla="*/ 1065 h 1132"/>
                    <a:gd name="T50" fmla="*/ 1862 w 1927"/>
                    <a:gd name="T51" fmla="*/ 1067 h 1132"/>
                    <a:gd name="T52" fmla="*/ 1841 w 1927"/>
                    <a:gd name="T53" fmla="*/ 1073 h 1132"/>
                    <a:gd name="T54" fmla="*/ 1765 w 1927"/>
                    <a:gd name="T55" fmla="*/ 1066 h 1132"/>
                    <a:gd name="T56" fmla="*/ 1595 w 1927"/>
                    <a:gd name="T57" fmla="*/ 1032 h 1132"/>
                    <a:gd name="T58" fmla="*/ 1501 w 1927"/>
                    <a:gd name="T59" fmla="*/ 998 h 1132"/>
                    <a:gd name="T60" fmla="*/ 1312 w 1927"/>
                    <a:gd name="T61" fmla="*/ 915 h 1132"/>
                    <a:gd name="T62" fmla="*/ 1214 w 1927"/>
                    <a:gd name="T63" fmla="*/ 861 h 1132"/>
                    <a:gd name="T64" fmla="*/ 1115 w 1927"/>
                    <a:gd name="T65" fmla="*/ 794 h 1132"/>
                    <a:gd name="T66" fmla="*/ 1067 w 1927"/>
                    <a:gd name="T67" fmla="*/ 763 h 1132"/>
                    <a:gd name="T68" fmla="*/ 959 w 1927"/>
                    <a:gd name="T69" fmla="*/ 704 h 1132"/>
                    <a:gd name="T70" fmla="*/ 907 w 1927"/>
                    <a:gd name="T71" fmla="*/ 673 h 1132"/>
                    <a:gd name="T72" fmla="*/ 769 w 1927"/>
                    <a:gd name="T73" fmla="*/ 569 h 1132"/>
                    <a:gd name="T74" fmla="*/ 681 w 1927"/>
                    <a:gd name="T75" fmla="*/ 496 h 1132"/>
                    <a:gd name="T76" fmla="*/ 494 w 1927"/>
                    <a:gd name="T77" fmla="*/ 346 h 1132"/>
                    <a:gd name="T78" fmla="*/ 396 w 1927"/>
                    <a:gd name="T79" fmla="*/ 273 h 1132"/>
                    <a:gd name="T80" fmla="*/ 234 w 1927"/>
                    <a:gd name="T81" fmla="*/ 168 h 1132"/>
                    <a:gd name="T82" fmla="*/ 193 w 1927"/>
                    <a:gd name="T83" fmla="*/ 138 h 1132"/>
                    <a:gd name="T84" fmla="*/ 138 w 1927"/>
                    <a:gd name="T85" fmla="*/ 93 h 1132"/>
                    <a:gd name="T86" fmla="*/ 51 w 1927"/>
                    <a:gd name="T87" fmla="*/ 9 h 1132"/>
                    <a:gd name="T88" fmla="*/ 11 w 1927"/>
                    <a:gd name="T89" fmla="*/ 7 h 1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27" h="1132">
                      <a:moveTo>
                        <a:pt x="1691" y="1054"/>
                      </a:moveTo>
                      <a:lnTo>
                        <a:pt x="1691" y="1054"/>
                      </a:lnTo>
                      <a:cubicBezTo>
                        <a:pt x="1693" y="1054"/>
                        <a:pt x="1695" y="1055"/>
                        <a:pt x="1698" y="1056"/>
                      </a:cubicBezTo>
                      <a:lnTo>
                        <a:pt x="1691" y="1054"/>
                      </a:lnTo>
                      <a:close/>
                      <a:moveTo>
                        <a:pt x="11" y="7"/>
                      </a:moveTo>
                      <a:lnTo>
                        <a:pt x="11" y="7"/>
                      </a:lnTo>
                      <a:cubicBezTo>
                        <a:pt x="1" y="18"/>
                        <a:pt x="0" y="36"/>
                        <a:pt x="10" y="47"/>
                      </a:cubicBezTo>
                      <a:lnTo>
                        <a:pt x="10" y="47"/>
                      </a:lnTo>
                      <a:cubicBezTo>
                        <a:pt x="30" y="67"/>
                        <a:pt x="51" y="87"/>
                        <a:pt x="71" y="106"/>
                      </a:cubicBezTo>
                      <a:lnTo>
                        <a:pt x="71" y="106"/>
                      </a:lnTo>
                      <a:cubicBezTo>
                        <a:pt x="80" y="114"/>
                        <a:pt x="88" y="122"/>
                        <a:pt x="96" y="130"/>
                      </a:cubicBezTo>
                      <a:lnTo>
                        <a:pt x="96" y="130"/>
                      </a:lnTo>
                      <a:cubicBezTo>
                        <a:pt x="101" y="135"/>
                        <a:pt x="108" y="140"/>
                        <a:pt x="114" y="145"/>
                      </a:cubicBezTo>
                      <a:lnTo>
                        <a:pt x="114" y="145"/>
                      </a:lnTo>
                      <a:cubicBezTo>
                        <a:pt x="124" y="153"/>
                        <a:pt x="135" y="162"/>
                        <a:pt x="146" y="171"/>
                      </a:cubicBezTo>
                      <a:lnTo>
                        <a:pt x="146" y="171"/>
                      </a:lnTo>
                      <a:cubicBezTo>
                        <a:pt x="151" y="176"/>
                        <a:pt x="156" y="180"/>
                        <a:pt x="162" y="184"/>
                      </a:cubicBezTo>
                      <a:lnTo>
                        <a:pt x="162" y="184"/>
                      </a:lnTo>
                      <a:cubicBezTo>
                        <a:pt x="178" y="196"/>
                        <a:pt x="195" y="209"/>
                        <a:pt x="212" y="220"/>
                      </a:cubicBezTo>
                      <a:lnTo>
                        <a:pt x="212" y="220"/>
                      </a:lnTo>
                      <a:cubicBezTo>
                        <a:pt x="279" y="265"/>
                        <a:pt x="350" y="306"/>
                        <a:pt x="415" y="355"/>
                      </a:cubicBezTo>
                      <a:lnTo>
                        <a:pt x="415" y="355"/>
                      </a:lnTo>
                      <a:cubicBezTo>
                        <a:pt x="459" y="387"/>
                        <a:pt x="501" y="422"/>
                        <a:pt x="544" y="455"/>
                      </a:cubicBezTo>
                      <a:lnTo>
                        <a:pt x="544" y="455"/>
                      </a:lnTo>
                      <a:cubicBezTo>
                        <a:pt x="565" y="473"/>
                        <a:pt x="586" y="490"/>
                        <a:pt x="607" y="508"/>
                      </a:cubicBezTo>
                      <a:lnTo>
                        <a:pt x="607" y="508"/>
                      </a:lnTo>
                      <a:cubicBezTo>
                        <a:pt x="627" y="524"/>
                        <a:pt x="648" y="540"/>
                        <a:pt x="667" y="556"/>
                      </a:cubicBezTo>
                      <a:lnTo>
                        <a:pt x="667" y="556"/>
                      </a:lnTo>
                      <a:cubicBezTo>
                        <a:pt x="699" y="582"/>
                        <a:pt x="730" y="609"/>
                        <a:pt x="761" y="635"/>
                      </a:cubicBezTo>
                      <a:lnTo>
                        <a:pt x="761" y="635"/>
                      </a:lnTo>
                      <a:cubicBezTo>
                        <a:pt x="777" y="647"/>
                        <a:pt x="793" y="660"/>
                        <a:pt x="810" y="672"/>
                      </a:cubicBezTo>
                      <a:lnTo>
                        <a:pt x="810" y="672"/>
                      </a:lnTo>
                      <a:cubicBezTo>
                        <a:pt x="824" y="683"/>
                        <a:pt x="838" y="694"/>
                        <a:pt x="853" y="704"/>
                      </a:cubicBezTo>
                      <a:lnTo>
                        <a:pt x="853" y="704"/>
                      </a:lnTo>
                      <a:cubicBezTo>
                        <a:pt x="870" y="715"/>
                        <a:pt x="886" y="727"/>
                        <a:pt x="903" y="737"/>
                      </a:cubicBezTo>
                      <a:lnTo>
                        <a:pt x="903" y="737"/>
                      </a:lnTo>
                      <a:cubicBezTo>
                        <a:pt x="921" y="746"/>
                        <a:pt x="938" y="756"/>
                        <a:pt x="955" y="765"/>
                      </a:cubicBezTo>
                      <a:lnTo>
                        <a:pt x="955" y="765"/>
                      </a:lnTo>
                      <a:cubicBezTo>
                        <a:pt x="991" y="784"/>
                        <a:pt x="1027" y="804"/>
                        <a:pt x="1063" y="826"/>
                      </a:cubicBezTo>
                      <a:lnTo>
                        <a:pt x="1063" y="826"/>
                      </a:lnTo>
                      <a:cubicBezTo>
                        <a:pt x="1096" y="847"/>
                        <a:pt x="1128" y="871"/>
                        <a:pt x="1161" y="893"/>
                      </a:cubicBezTo>
                      <a:lnTo>
                        <a:pt x="1161" y="893"/>
                      </a:lnTo>
                      <a:cubicBezTo>
                        <a:pt x="1193" y="914"/>
                        <a:pt x="1225" y="933"/>
                        <a:pt x="1259" y="951"/>
                      </a:cubicBezTo>
                      <a:lnTo>
                        <a:pt x="1259" y="951"/>
                      </a:lnTo>
                      <a:cubicBezTo>
                        <a:pt x="1294" y="969"/>
                        <a:pt x="1332" y="983"/>
                        <a:pt x="1367" y="999"/>
                      </a:cubicBezTo>
                      <a:lnTo>
                        <a:pt x="1367" y="999"/>
                      </a:lnTo>
                      <a:cubicBezTo>
                        <a:pt x="1404" y="1015"/>
                        <a:pt x="1440" y="1032"/>
                        <a:pt x="1476" y="1047"/>
                      </a:cubicBezTo>
                      <a:lnTo>
                        <a:pt x="1476" y="1047"/>
                      </a:lnTo>
                      <a:cubicBezTo>
                        <a:pt x="1509" y="1061"/>
                        <a:pt x="1542" y="1074"/>
                        <a:pt x="1577" y="1085"/>
                      </a:cubicBezTo>
                      <a:lnTo>
                        <a:pt x="1577" y="1085"/>
                      </a:lnTo>
                      <a:cubicBezTo>
                        <a:pt x="1611" y="1096"/>
                        <a:pt x="1646" y="1103"/>
                        <a:pt x="1681" y="1108"/>
                      </a:cubicBezTo>
                      <a:lnTo>
                        <a:pt x="1681" y="1108"/>
                      </a:lnTo>
                      <a:cubicBezTo>
                        <a:pt x="1718" y="1115"/>
                        <a:pt x="1753" y="1122"/>
                        <a:pt x="1790" y="1125"/>
                      </a:cubicBezTo>
                      <a:lnTo>
                        <a:pt x="1790" y="1125"/>
                      </a:lnTo>
                      <a:cubicBezTo>
                        <a:pt x="1813" y="1129"/>
                        <a:pt x="1837" y="1131"/>
                        <a:pt x="1860" y="1126"/>
                      </a:cubicBezTo>
                      <a:lnTo>
                        <a:pt x="1860" y="1126"/>
                      </a:lnTo>
                      <a:cubicBezTo>
                        <a:pt x="1870" y="1124"/>
                        <a:pt x="1879" y="1121"/>
                        <a:pt x="1887" y="1116"/>
                      </a:cubicBezTo>
                      <a:lnTo>
                        <a:pt x="1887" y="1116"/>
                      </a:lnTo>
                      <a:cubicBezTo>
                        <a:pt x="1897" y="1111"/>
                        <a:pt x="1904" y="1103"/>
                        <a:pt x="1910" y="1095"/>
                      </a:cubicBezTo>
                      <a:lnTo>
                        <a:pt x="1910" y="1095"/>
                      </a:lnTo>
                      <a:cubicBezTo>
                        <a:pt x="1914" y="1091"/>
                        <a:pt x="1916" y="1085"/>
                        <a:pt x="1918" y="1080"/>
                      </a:cubicBezTo>
                      <a:lnTo>
                        <a:pt x="1918" y="1080"/>
                      </a:lnTo>
                      <a:cubicBezTo>
                        <a:pt x="1920" y="1075"/>
                        <a:pt x="1921" y="1071"/>
                        <a:pt x="1923" y="1066"/>
                      </a:cubicBezTo>
                      <a:lnTo>
                        <a:pt x="1923" y="1066"/>
                      </a:lnTo>
                      <a:cubicBezTo>
                        <a:pt x="1925" y="1055"/>
                        <a:pt x="1926" y="1044"/>
                        <a:pt x="1926" y="1034"/>
                      </a:cubicBezTo>
                      <a:lnTo>
                        <a:pt x="1926" y="1034"/>
                      </a:lnTo>
                      <a:cubicBezTo>
                        <a:pt x="1925" y="1019"/>
                        <a:pt x="1914" y="1006"/>
                        <a:pt x="1899" y="1005"/>
                      </a:cubicBezTo>
                      <a:lnTo>
                        <a:pt x="1899" y="1005"/>
                      </a:lnTo>
                      <a:cubicBezTo>
                        <a:pt x="1884" y="1004"/>
                        <a:pt x="1870" y="1017"/>
                        <a:pt x="1870" y="1032"/>
                      </a:cubicBezTo>
                      <a:lnTo>
                        <a:pt x="1870" y="1032"/>
                      </a:lnTo>
                      <a:cubicBezTo>
                        <a:pt x="1870" y="1038"/>
                        <a:pt x="1870" y="1043"/>
                        <a:pt x="1869" y="1049"/>
                      </a:cubicBezTo>
                      <a:lnTo>
                        <a:pt x="1869" y="1049"/>
                      </a:lnTo>
                      <a:cubicBezTo>
                        <a:pt x="1868" y="1053"/>
                        <a:pt x="1867" y="1057"/>
                        <a:pt x="1866" y="1060"/>
                      </a:cubicBezTo>
                      <a:lnTo>
                        <a:pt x="1866" y="1060"/>
                      </a:lnTo>
                      <a:cubicBezTo>
                        <a:pt x="1865" y="1062"/>
                        <a:pt x="1864" y="1064"/>
                        <a:pt x="1863" y="1065"/>
                      </a:cubicBezTo>
                      <a:lnTo>
                        <a:pt x="1863" y="1065"/>
                      </a:lnTo>
                      <a:cubicBezTo>
                        <a:pt x="1863" y="1066"/>
                        <a:pt x="1862" y="1066"/>
                        <a:pt x="1862" y="1067"/>
                      </a:cubicBezTo>
                      <a:lnTo>
                        <a:pt x="1862" y="1067"/>
                      </a:lnTo>
                      <a:cubicBezTo>
                        <a:pt x="1860" y="1068"/>
                        <a:pt x="1857" y="1069"/>
                        <a:pt x="1855" y="1070"/>
                      </a:cubicBezTo>
                      <a:lnTo>
                        <a:pt x="1855" y="1070"/>
                      </a:lnTo>
                      <a:cubicBezTo>
                        <a:pt x="1851" y="1072"/>
                        <a:pt x="1846" y="1072"/>
                        <a:pt x="1841" y="1073"/>
                      </a:cubicBezTo>
                      <a:lnTo>
                        <a:pt x="1841" y="1073"/>
                      </a:lnTo>
                      <a:cubicBezTo>
                        <a:pt x="1815" y="1074"/>
                        <a:pt x="1790" y="1070"/>
                        <a:pt x="1765" y="1066"/>
                      </a:cubicBezTo>
                      <a:lnTo>
                        <a:pt x="1765" y="1066"/>
                      </a:lnTo>
                      <a:cubicBezTo>
                        <a:pt x="1740" y="1063"/>
                        <a:pt x="1715" y="1059"/>
                        <a:pt x="1691" y="1054"/>
                      </a:cubicBezTo>
                      <a:lnTo>
                        <a:pt x="1691" y="1054"/>
                      </a:lnTo>
                      <a:cubicBezTo>
                        <a:pt x="1659" y="1049"/>
                        <a:pt x="1627" y="1041"/>
                        <a:pt x="1595" y="1032"/>
                      </a:cubicBezTo>
                      <a:lnTo>
                        <a:pt x="1595" y="1032"/>
                      </a:lnTo>
                      <a:cubicBezTo>
                        <a:pt x="1564" y="1023"/>
                        <a:pt x="1532" y="1011"/>
                        <a:pt x="1501" y="998"/>
                      </a:cubicBezTo>
                      <a:lnTo>
                        <a:pt x="1501" y="998"/>
                      </a:lnTo>
                      <a:cubicBezTo>
                        <a:pt x="1468" y="983"/>
                        <a:pt x="1435" y="969"/>
                        <a:pt x="1401" y="954"/>
                      </a:cubicBezTo>
                      <a:lnTo>
                        <a:pt x="1401" y="954"/>
                      </a:lnTo>
                      <a:cubicBezTo>
                        <a:pt x="1372" y="941"/>
                        <a:pt x="1342" y="928"/>
                        <a:pt x="1312" y="915"/>
                      </a:cubicBezTo>
                      <a:lnTo>
                        <a:pt x="1312" y="915"/>
                      </a:lnTo>
                      <a:cubicBezTo>
                        <a:pt x="1278" y="899"/>
                        <a:pt x="1245" y="881"/>
                        <a:pt x="1214" y="861"/>
                      </a:cubicBezTo>
                      <a:lnTo>
                        <a:pt x="1214" y="861"/>
                      </a:lnTo>
                      <a:cubicBezTo>
                        <a:pt x="1198" y="851"/>
                        <a:pt x="1181" y="840"/>
                        <a:pt x="1165" y="829"/>
                      </a:cubicBezTo>
                      <a:lnTo>
                        <a:pt x="1165" y="829"/>
                      </a:lnTo>
                      <a:cubicBezTo>
                        <a:pt x="1149" y="817"/>
                        <a:pt x="1132" y="805"/>
                        <a:pt x="1115" y="794"/>
                      </a:cubicBezTo>
                      <a:lnTo>
                        <a:pt x="1115" y="794"/>
                      </a:lnTo>
                      <a:cubicBezTo>
                        <a:pt x="1099" y="783"/>
                        <a:pt x="1083" y="772"/>
                        <a:pt x="1067" y="763"/>
                      </a:cubicBezTo>
                      <a:lnTo>
                        <a:pt x="1067" y="763"/>
                      </a:lnTo>
                      <a:cubicBezTo>
                        <a:pt x="1049" y="752"/>
                        <a:pt x="1030" y="742"/>
                        <a:pt x="1012" y="733"/>
                      </a:cubicBezTo>
                      <a:lnTo>
                        <a:pt x="1012" y="733"/>
                      </a:lnTo>
                      <a:cubicBezTo>
                        <a:pt x="994" y="723"/>
                        <a:pt x="976" y="714"/>
                        <a:pt x="959" y="704"/>
                      </a:cubicBezTo>
                      <a:lnTo>
                        <a:pt x="959" y="704"/>
                      </a:lnTo>
                      <a:cubicBezTo>
                        <a:pt x="941" y="694"/>
                        <a:pt x="924" y="684"/>
                        <a:pt x="907" y="673"/>
                      </a:cubicBezTo>
                      <a:lnTo>
                        <a:pt x="907" y="673"/>
                      </a:lnTo>
                      <a:cubicBezTo>
                        <a:pt x="858" y="642"/>
                        <a:pt x="813" y="605"/>
                        <a:pt x="769" y="569"/>
                      </a:cubicBezTo>
                      <a:lnTo>
                        <a:pt x="769" y="569"/>
                      </a:lnTo>
                      <a:lnTo>
                        <a:pt x="769" y="569"/>
                      </a:lnTo>
                      <a:lnTo>
                        <a:pt x="769" y="569"/>
                      </a:lnTo>
                      <a:cubicBezTo>
                        <a:pt x="740" y="545"/>
                        <a:pt x="710" y="519"/>
                        <a:pt x="681" y="496"/>
                      </a:cubicBezTo>
                      <a:lnTo>
                        <a:pt x="681" y="496"/>
                      </a:lnTo>
                      <a:cubicBezTo>
                        <a:pt x="649" y="470"/>
                        <a:pt x="617" y="444"/>
                        <a:pt x="585" y="418"/>
                      </a:cubicBezTo>
                      <a:lnTo>
                        <a:pt x="585" y="418"/>
                      </a:lnTo>
                      <a:cubicBezTo>
                        <a:pt x="555" y="393"/>
                        <a:pt x="524" y="369"/>
                        <a:pt x="494" y="346"/>
                      </a:cubicBezTo>
                      <a:lnTo>
                        <a:pt x="494" y="346"/>
                      </a:lnTo>
                      <a:cubicBezTo>
                        <a:pt x="462" y="320"/>
                        <a:pt x="429" y="296"/>
                        <a:pt x="396" y="273"/>
                      </a:cubicBezTo>
                      <a:lnTo>
                        <a:pt x="396" y="273"/>
                      </a:lnTo>
                      <a:cubicBezTo>
                        <a:pt x="354" y="244"/>
                        <a:pt x="309" y="218"/>
                        <a:pt x="266" y="189"/>
                      </a:cubicBezTo>
                      <a:lnTo>
                        <a:pt x="266" y="189"/>
                      </a:lnTo>
                      <a:cubicBezTo>
                        <a:pt x="256" y="182"/>
                        <a:pt x="245" y="176"/>
                        <a:pt x="234" y="168"/>
                      </a:cubicBezTo>
                      <a:lnTo>
                        <a:pt x="234" y="168"/>
                      </a:lnTo>
                      <a:cubicBezTo>
                        <a:pt x="221" y="158"/>
                        <a:pt x="207" y="148"/>
                        <a:pt x="193" y="138"/>
                      </a:cubicBezTo>
                      <a:lnTo>
                        <a:pt x="193" y="138"/>
                      </a:lnTo>
                      <a:cubicBezTo>
                        <a:pt x="184" y="132"/>
                        <a:pt x="176" y="125"/>
                        <a:pt x="168" y="118"/>
                      </a:cubicBezTo>
                      <a:lnTo>
                        <a:pt x="168" y="118"/>
                      </a:lnTo>
                      <a:cubicBezTo>
                        <a:pt x="158" y="110"/>
                        <a:pt x="148" y="101"/>
                        <a:pt x="138" y="93"/>
                      </a:cubicBezTo>
                      <a:lnTo>
                        <a:pt x="138" y="93"/>
                      </a:lnTo>
                      <a:cubicBezTo>
                        <a:pt x="108" y="65"/>
                        <a:pt x="80" y="37"/>
                        <a:pt x="51" y="9"/>
                      </a:cubicBezTo>
                      <a:lnTo>
                        <a:pt x="51" y="9"/>
                      </a:lnTo>
                      <a:cubicBezTo>
                        <a:pt x="45" y="3"/>
                        <a:pt x="38" y="0"/>
                        <a:pt x="30" y="0"/>
                      </a:cubicBezTo>
                      <a:lnTo>
                        <a:pt x="30" y="0"/>
                      </a:lnTo>
                      <a:cubicBezTo>
                        <a:pt x="24" y="0"/>
                        <a:pt x="17" y="2"/>
                        <a:pt x="11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432">
                  <a:extLst>
                    <a:ext uri="{FF2B5EF4-FFF2-40B4-BE49-F238E27FC236}">
                      <a16:creationId xmlns:a16="http://schemas.microsoft.com/office/drawing/2014/main" id="{ED9BFD4D-D499-2D48-A708-A4EA05753E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0113" y="4611688"/>
                  <a:ext cx="177800" cy="147637"/>
                </a:xfrm>
                <a:custGeom>
                  <a:avLst/>
                  <a:gdLst>
                    <a:gd name="T0" fmla="*/ 283 w 496"/>
                    <a:gd name="T1" fmla="*/ 221 h 411"/>
                    <a:gd name="T2" fmla="*/ 283 w 496"/>
                    <a:gd name="T3" fmla="*/ 221 h 411"/>
                    <a:gd name="T4" fmla="*/ 285 w 496"/>
                    <a:gd name="T5" fmla="*/ 223 h 411"/>
                    <a:gd name="T6" fmla="*/ 285 w 496"/>
                    <a:gd name="T7" fmla="*/ 223 h 411"/>
                    <a:gd name="T8" fmla="*/ 283 w 496"/>
                    <a:gd name="T9" fmla="*/ 221 h 411"/>
                    <a:gd name="T10" fmla="*/ 13 w 496"/>
                    <a:gd name="T11" fmla="*/ 8 h 411"/>
                    <a:gd name="T12" fmla="*/ 13 w 496"/>
                    <a:gd name="T13" fmla="*/ 8 h 411"/>
                    <a:gd name="T14" fmla="*/ 12 w 496"/>
                    <a:gd name="T15" fmla="*/ 47 h 411"/>
                    <a:gd name="T16" fmla="*/ 12 w 496"/>
                    <a:gd name="T17" fmla="*/ 47 h 411"/>
                    <a:gd name="T18" fmla="*/ 134 w 496"/>
                    <a:gd name="T19" fmla="*/ 168 h 411"/>
                    <a:gd name="T20" fmla="*/ 134 w 496"/>
                    <a:gd name="T21" fmla="*/ 168 h 411"/>
                    <a:gd name="T22" fmla="*/ 162 w 496"/>
                    <a:gd name="T23" fmla="*/ 192 h 411"/>
                    <a:gd name="T24" fmla="*/ 162 w 496"/>
                    <a:gd name="T25" fmla="*/ 192 h 411"/>
                    <a:gd name="T26" fmla="*/ 227 w 496"/>
                    <a:gd name="T27" fmla="*/ 246 h 411"/>
                    <a:gd name="T28" fmla="*/ 227 w 496"/>
                    <a:gd name="T29" fmla="*/ 246 h 411"/>
                    <a:gd name="T30" fmla="*/ 262 w 496"/>
                    <a:gd name="T31" fmla="*/ 274 h 411"/>
                    <a:gd name="T32" fmla="*/ 262 w 496"/>
                    <a:gd name="T33" fmla="*/ 274 h 411"/>
                    <a:gd name="T34" fmla="*/ 326 w 496"/>
                    <a:gd name="T35" fmla="*/ 322 h 411"/>
                    <a:gd name="T36" fmla="*/ 326 w 496"/>
                    <a:gd name="T37" fmla="*/ 322 h 411"/>
                    <a:gd name="T38" fmla="*/ 422 w 496"/>
                    <a:gd name="T39" fmla="*/ 386 h 411"/>
                    <a:gd name="T40" fmla="*/ 422 w 496"/>
                    <a:gd name="T41" fmla="*/ 386 h 411"/>
                    <a:gd name="T42" fmla="*/ 449 w 496"/>
                    <a:gd name="T43" fmla="*/ 403 h 411"/>
                    <a:gd name="T44" fmla="*/ 449 w 496"/>
                    <a:gd name="T45" fmla="*/ 403 h 411"/>
                    <a:gd name="T46" fmla="*/ 487 w 496"/>
                    <a:gd name="T47" fmla="*/ 394 h 411"/>
                    <a:gd name="T48" fmla="*/ 487 w 496"/>
                    <a:gd name="T49" fmla="*/ 394 h 411"/>
                    <a:gd name="T50" fmla="*/ 478 w 496"/>
                    <a:gd name="T51" fmla="*/ 356 h 411"/>
                    <a:gd name="T52" fmla="*/ 478 w 496"/>
                    <a:gd name="T53" fmla="*/ 356 h 411"/>
                    <a:gd name="T54" fmla="*/ 416 w 496"/>
                    <a:gd name="T55" fmla="*/ 316 h 411"/>
                    <a:gd name="T56" fmla="*/ 416 w 496"/>
                    <a:gd name="T57" fmla="*/ 316 h 411"/>
                    <a:gd name="T58" fmla="*/ 366 w 496"/>
                    <a:gd name="T59" fmla="*/ 282 h 411"/>
                    <a:gd name="T60" fmla="*/ 366 w 496"/>
                    <a:gd name="T61" fmla="*/ 282 h 411"/>
                    <a:gd name="T62" fmla="*/ 327 w 496"/>
                    <a:gd name="T63" fmla="*/ 253 h 411"/>
                    <a:gd name="T64" fmla="*/ 327 w 496"/>
                    <a:gd name="T65" fmla="*/ 253 h 411"/>
                    <a:gd name="T66" fmla="*/ 280 w 496"/>
                    <a:gd name="T67" fmla="*/ 220 h 411"/>
                    <a:gd name="T68" fmla="*/ 280 w 496"/>
                    <a:gd name="T69" fmla="*/ 220 h 411"/>
                    <a:gd name="T70" fmla="*/ 231 w 496"/>
                    <a:gd name="T71" fmla="*/ 178 h 411"/>
                    <a:gd name="T72" fmla="*/ 231 w 496"/>
                    <a:gd name="T73" fmla="*/ 178 h 411"/>
                    <a:gd name="T74" fmla="*/ 196 w 496"/>
                    <a:gd name="T75" fmla="*/ 149 h 411"/>
                    <a:gd name="T76" fmla="*/ 196 w 496"/>
                    <a:gd name="T77" fmla="*/ 149 h 411"/>
                    <a:gd name="T78" fmla="*/ 184 w 496"/>
                    <a:gd name="T79" fmla="*/ 138 h 411"/>
                    <a:gd name="T80" fmla="*/ 184 w 496"/>
                    <a:gd name="T81" fmla="*/ 138 h 411"/>
                    <a:gd name="T82" fmla="*/ 52 w 496"/>
                    <a:gd name="T83" fmla="*/ 9 h 411"/>
                    <a:gd name="T84" fmla="*/ 52 w 496"/>
                    <a:gd name="T85" fmla="*/ 9 h 411"/>
                    <a:gd name="T86" fmla="*/ 32 w 496"/>
                    <a:gd name="T87" fmla="*/ 0 h 411"/>
                    <a:gd name="T88" fmla="*/ 32 w 496"/>
                    <a:gd name="T89" fmla="*/ 0 h 411"/>
                    <a:gd name="T90" fmla="*/ 13 w 496"/>
                    <a:gd name="T91" fmla="*/ 8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96" h="411">
                      <a:moveTo>
                        <a:pt x="283" y="221"/>
                      </a:moveTo>
                      <a:lnTo>
                        <a:pt x="283" y="221"/>
                      </a:lnTo>
                      <a:cubicBezTo>
                        <a:pt x="283" y="222"/>
                        <a:pt x="285" y="222"/>
                        <a:pt x="285" y="223"/>
                      </a:cubicBezTo>
                      <a:lnTo>
                        <a:pt x="285" y="223"/>
                      </a:lnTo>
                      <a:cubicBezTo>
                        <a:pt x="285" y="222"/>
                        <a:pt x="283" y="222"/>
                        <a:pt x="283" y="221"/>
                      </a:cubicBezTo>
                      <a:close/>
                      <a:moveTo>
                        <a:pt x="13" y="8"/>
                      </a:moveTo>
                      <a:lnTo>
                        <a:pt x="13" y="8"/>
                      </a:lnTo>
                      <a:cubicBezTo>
                        <a:pt x="2" y="18"/>
                        <a:pt x="0" y="36"/>
                        <a:pt x="12" y="47"/>
                      </a:cubicBezTo>
                      <a:lnTo>
                        <a:pt x="12" y="47"/>
                      </a:lnTo>
                      <a:cubicBezTo>
                        <a:pt x="52" y="88"/>
                        <a:pt x="93" y="128"/>
                        <a:pt x="134" y="168"/>
                      </a:cubicBezTo>
                      <a:lnTo>
                        <a:pt x="134" y="168"/>
                      </a:lnTo>
                      <a:cubicBezTo>
                        <a:pt x="143" y="176"/>
                        <a:pt x="153" y="184"/>
                        <a:pt x="162" y="192"/>
                      </a:cubicBezTo>
                      <a:lnTo>
                        <a:pt x="162" y="192"/>
                      </a:lnTo>
                      <a:cubicBezTo>
                        <a:pt x="184" y="210"/>
                        <a:pt x="205" y="228"/>
                        <a:pt x="227" y="246"/>
                      </a:cubicBezTo>
                      <a:lnTo>
                        <a:pt x="227" y="246"/>
                      </a:lnTo>
                      <a:cubicBezTo>
                        <a:pt x="238" y="256"/>
                        <a:pt x="249" y="265"/>
                        <a:pt x="262" y="274"/>
                      </a:cubicBezTo>
                      <a:lnTo>
                        <a:pt x="262" y="274"/>
                      </a:lnTo>
                      <a:cubicBezTo>
                        <a:pt x="283" y="291"/>
                        <a:pt x="305" y="306"/>
                        <a:pt x="326" y="322"/>
                      </a:cubicBezTo>
                      <a:lnTo>
                        <a:pt x="326" y="322"/>
                      </a:lnTo>
                      <a:cubicBezTo>
                        <a:pt x="357" y="345"/>
                        <a:pt x="390" y="366"/>
                        <a:pt x="422" y="386"/>
                      </a:cubicBezTo>
                      <a:lnTo>
                        <a:pt x="422" y="386"/>
                      </a:lnTo>
                      <a:cubicBezTo>
                        <a:pt x="431" y="392"/>
                        <a:pt x="440" y="397"/>
                        <a:pt x="449" y="403"/>
                      </a:cubicBezTo>
                      <a:lnTo>
                        <a:pt x="449" y="403"/>
                      </a:lnTo>
                      <a:cubicBezTo>
                        <a:pt x="462" y="410"/>
                        <a:pt x="479" y="407"/>
                        <a:pt x="487" y="394"/>
                      </a:cubicBezTo>
                      <a:lnTo>
                        <a:pt x="487" y="394"/>
                      </a:lnTo>
                      <a:cubicBezTo>
                        <a:pt x="495" y="381"/>
                        <a:pt x="491" y="363"/>
                        <a:pt x="478" y="356"/>
                      </a:cubicBezTo>
                      <a:lnTo>
                        <a:pt x="478" y="356"/>
                      </a:lnTo>
                      <a:cubicBezTo>
                        <a:pt x="457" y="343"/>
                        <a:pt x="437" y="329"/>
                        <a:pt x="416" y="316"/>
                      </a:cubicBezTo>
                      <a:lnTo>
                        <a:pt x="416" y="316"/>
                      </a:lnTo>
                      <a:cubicBezTo>
                        <a:pt x="399" y="305"/>
                        <a:pt x="382" y="293"/>
                        <a:pt x="366" y="282"/>
                      </a:cubicBezTo>
                      <a:lnTo>
                        <a:pt x="366" y="282"/>
                      </a:lnTo>
                      <a:cubicBezTo>
                        <a:pt x="353" y="273"/>
                        <a:pt x="340" y="263"/>
                        <a:pt x="327" y="253"/>
                      </a:cubicBezTo>
                      <a:lnTo>
                        <a:pt x="327" y="253"/>
                      </a:lnTo>
                      <a:cubicBezTo>
                        <a:pt x="312" y="242"/>
                        <a:pt x="296" y="231"/>
                        <a:pt x="280" y="220"/>
                      </a:cubicBezTo>
                      <a:lnTo>
                        <a:pt x="280" y="220"/>
                      </a:lnTo>
                      <a:cubicBezTo>
                        <a:pt x="264" y="205"/>
                        <a:pt x="248" y="192"/>
                        <a:pt x="231" y="178"/>
                      </a:cubicBezTo>
                      <a:lnTo>
                        <a:pt x="231" y="178"/>
                      </a:lnTo>
                      <a:cubicBezTo>
                        <a:pt x="219" y="168"/>
                        <a:pt x="208" y="158"/>
                        <a:pt x="196" y="149"/>
                      </a:cubicBezTo>
                      <a:lnTo>
                        <a:pt x="196" y="149"/>
                      </a:lnTo>
                      <a:cubicBezTo>
                        <a:pt x="192" y="145"/>
                        <a:pt x="188" y="142"/>
                        <a:pt x="184" y="138"/>
                      </a:cubicBezTo>
                      <a:lnTo>
                        <a:pt x="184" y="138"/>
                      </a:lnTo>
                      <a:cubicBezTo>
                        <a:pt x="139" y="95"/>
                        <a:pt x="95" y="53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4" y="0"/>
                        <a:pt x="18" y="3"/>
                        <a:pt x="1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433">
                  <a:extLst>
                    <a:ext uri="{FF2B5EF4-FFF2-40B4-BE49-F238E27FC236}">
                      <a16:creationId xmlns:a16="http://schemas.microsoft.com/office/drawing/2014/main" id="{3BA8F9F7-84BB-3A4A-9D00-08CB54D68C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8375" y="4729163"/>
                  <a:ext cx="103188" cy="61912"/>
                </a:xfrm>
                <a:custGeom>
                  <a:avLst/>
                  <a:gdLst>
                    <a:gd name="T0" fmla="*/ 22 w 286"/>
                    <a:gd name="T1" fmla="*/ 0 h 170"/>
                    <a:gd name="T2" fmla="*/ 22 w 286"/>
                    <a:gd name="T3" fmla="*/ 0 h 170"/>
                    <a:gd name="T4" fmla="*/ 5 w 286"/>
                    <a:gd name="T5" fmla="*/ 12 h 170"/>
                    <a:gd name="T6" fmla="*/ 5 w 286"/>
                    <a:gd name="T7" fmla="*/ 12 h 170"/>
                    <a:gd name="T8" fmla="*/ 1 w 286"/>
                    <a:gd name="T9" fmla="*/ 34 h 170"/>
                    <a:gd name="T10" fmla="*/ 1 w 286"/>
                    <a:gd name="T11" fmla="*/ 34 h 170"/>
                    <a:gd name="T12" fmla="*/ 14 w 286"/>
                    <a:gd name="T13" fmla="*/ 51 h 170"/>
                    <a:gd name="T14" fmla="*/ 14 w 286"/>
                    <a:gd name="T15" fmla="*/ 51 h 170"/>
                    <a:gd name="T16" fmla="*/ 242 w 286"/>
                    <a:gd name="T17" fmla="*/ 164 h 170"/>
                    <a:gd name="T18" fmla="*/ 242 w 286"/>
                    <a:gd name="T19" fmla="*/ 164 h 170"/>
                    <a:gd name="T20" fmla="*/ 263 w 286"/>
                    <a:gd name="T21" fmla="*/ 168 h 170"/>
                    <a:gd name="T22" fmla="*/ 263 w 286"/>
                    <a:gd name="T23" fmla="*/ 168 h 170"/>
                    <a:gd name="T24" fmla="*/ 280 w 286"/>
                    <a:gd name="T25" fmla="*/ 155 h 170"/>
                    <a:gd name="T26" fmla="*/ 280 w 286"/>
                    <a:gd name="T27" fmla="*/ 155 h 170"/>
                    <a:gd name="T28" fmla="*/ 283 w 286"/>
                    <a:gd name="T29" fmla="*/ 134 h 170"/>
                    <a:gd name="T30" fmla="*/ 283 w 286"/>
                    <a:gd name="T31" fmla="*/ 134 h 170"/>
                    <a:gd name="T32" fmla="*/ 271 w 286"/>
                    <a:gd name="T33" fmla="*/ 117 h 170"/>
                    <a:gd name="T34" fmla="*/ 271 w 286"/>
                    <a:gd name="T35" fmla="*/ 117 h 170"/>
                    <a:gd name="T36" fmla="*/ 44 w 286"/>
                    <a:gd name="T37" fmla="*/ 4 h 170"/>
                    <a:gd name="T38" fmla="*/ 44 w 286"/>
                    <a:gd name="T39" fmla="*/ 4 h 170"/>
                    <a:gd name="T40" fmla="*/ 28 w 286"/>
                    <a:gd name="T41" fmla="*/ 0 h 170"/>
                    <a:gd name="T42" fmla="*/ 28 w 286"/>
                    <a:gd name="T43" fmla="*/ 0 h 170"/>
                    <a:gd name="T44" fmla="*/ 22 w 286"/>
                    <a:gd name="T45" fmla="*/ 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6" h="170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15" y="2"/>
                        <a:pt x="9" y="7"/>
                        <a:pt x="5" y="12"/>
                      </a:cubicBezTo>
                      <a:lnTo>
                        <a:pt x="5" y="12"/>
                      </a:lnTo>
                      <a:cubicBezTo>
                        <a:pt x="1" y="19"/>
                        <a:pt x="0" y="27"/>
                        <a:pt x="1" y="34"/>
                      </a:cubicBezTo>
                      <a:lnTo>
                        <a:pt x="1" y="34"/>
                      </a:lnTo>
                      <a:cubicBezTo>
                        <a:pt x="3" y="40"/>
                        <a:pt x="8" y="48"/>
                        <a:pt x="14" y="51"/>
                      </a:cubicBezTo>
                      <a:lnTo>
                        <a:pt x="14" y="51"/>
                      </a:lnTo>
                      <a:cubicBezTo>
                        <a:pt x="89" y="89"/>
                        <a:pt x="165" y="128"/>
                        <a:pt x="242" y="164"/>
                      </a:cubicBezTo>
                      <a:lnTo>
                        <a:pt x="242" y="164"/>
                      </a:lnTo>
                      <a:cubicBezTo>
                        <a:pt x="249" y="168"/>
                        <a:pt x="255" y="169"/>
                        <a:pt x="263" y="168"/>
                      </a:cubicBezTo>
                      <a:lnTo>
                        <a:pt x="263" y="168"/>
                      </a:lnTo>
                      <a:cubicBezTo>
                        <a:pt x="270" y="166"/>
                        <a:pt x="276" y="162"/>
                        <a:pt x="280" y="155"/>
                      </a:cubicBezTo>
                      <a:lnTo>
                        <a:pt x="280" y="155"/>
                      </a:lnTo>
                      <a:cubicBezTo>
                        <a:pt x="284" y="149"/>
                        <a:pt x="285" y="141"/>
                        <a:pt x="283" y="134"/>
                      </a:cubicBezTo>
                      <a:lnTo>
                        <a:pt x="283" y="134"/>
                      </a:lnTo>
                      <a:cubicBezTo>
                        <a:pt x="282" y="128"/>
                        <a:pt x="278" y="120"/>
                        <a:pt x="271" y="117"/>
                      </a:cubicBezTo>
                      <a:lnTo>
                        <a:pt x="271" y="117"/>
                      </a:lnTo>
                      <a:cubicBezTo>
                        <a:pt x="195" y="80"/>
                        <a:pt x="119" y="42"/>
                        <a:pt x="44" y="4"/>
                      </a:cubicBezTo>
                      <a:lnTo>
                        <a:pt x="44" y="4"/>
                      </a:lnTo>
                      <a:cubicBezTo>
                        <a:pt x="38" y="1"/>
                        <a:pt x="34" y="0"/>
                        <a:pt x="28" y="0"/>
                      </a:cubicBezTo>
                      <a:lnTo>
                        <a:pt x="28" y="0"/>
                      </a:lnTo>
                      <a:cubicBezTo>
                        <a:pt x="26" y="0"/>
                        <a:pt x="24" y="0"/>
                        <a:pt x="22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" name="Freeform 450">
                <a:extLst>
                  <a:ext uri="{FF2B5EF4-FFF2-40B4-BE49-F238E27FC236}">
                    <a16:creationId xmlns:a16="http://schemas.microsoft.com/office/drawing/2014/main" id="{45FA54BD-2E2A-8146-968A-BEBBC691C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5400" y="4576211"/>
                <a:ext cx="154839" cy="147347"/>
              </a:xfrm>
              <a:custGeom>
                <a:avLst/>
                <a:gdLst>
                  <a:gd name="T0" fmla="*/ 471 w 549"/>
                  <a:gd name="T1" fmla="*/ 76 h 521"/>
                  <a:gd name="T2" fmla="*/ 471 w 549"/>
                  <a:gd name="T3" fmla="*/ 76 h 521"/>
                  <a:gd name="T4" fmla="*/ 287 w 549"/>
                  <a:gd name="T5" fmla="*/ 0 h 521"/>
                  <a:gd name="T6" fmla="*/ 262 w 549"/>
                  <a:gd name="T7" fmla="*/ 0 h 521"/>
                  <a:gd name="T8" fmla="*/ 262 w 549"/>
                  <a:gd name="T9" fmla="*/ 0 h 521"/>
                  <a:gd name="T10" fmla="*/ 78 w 549"/>
                  <a:gd name="T11" fmla="*/ 76 h 521"/>
                  <a:gd name="T12" fmla="*/ 78 w 549"/>
                  <a:gd name="T13" fmla="*/ 76 h 521"/>
                  <a:gd name="T14" fmla="*/ 24 w 549"/>
                  <a:gd name="T15" fmla="*/ 160 h 521"/>
                  <a:gd name="T16" fmla="*/ 24 w 549"/>
                  <a:gd name="T17" fmla="*/ 160 h 521"/>
                  <a:gd name="T18" fmla="*/ 2 w 549"/>
                  <a:gd name="T19" fmla="*/ 260 h 521"/>
                  <a:gd name="T20" fmla="*/ 2 w 549"/>
                  <a:gd name="T21" fmla="*/ 260 h 521"/>
                  <a:gd name="T22" fmla="*/ 78 w 549"/>
                  <a:gd name="T23" fmla="*/ 444 h 521"/>
                  <a:gd name="T24" fmla="*/ 78 w 549"/>
                  <a:gd name="T25" fmla="*/ 444 h 521"/>
                  <a:gd name="T26" fmla="*/ 262 w 549"/>
                  <a:gd name="T27" fmla="*/ 520 h 521"/>
                  <a:gd name="T28" fmla="*/ 287 w 549"/>
                  <a:gd name="T29" fmla="*/ 520 h 521"/>
                  <a:gd name="T30" fmla="*/ 287 w 549"/>
                  <a:gd name="T31" fmla="*/ 520 h 521"/>
                  <a:gd name="T32" fmla="*/ 471 w 549"/>
                  <a:gd name="T33" fmla="*/ 444 h 521"/>
                  <a:gd name="T34" fmla="*/ 471 w 549"/>
                  <a:gd name="T35" fmla="*/ 444 h 521"/>
                  <a:gd name="T36" fmla="*/ 524 w 549"/>
                  <a:gd name="T37" fmla="*/ 361 h 521"/>
                  <a:gd name="T38" fmla="*/ 524 w 549"/>
                  <a:gd name="T39" fmla="*/ 361 h 521"/>
                  <a:gd name="T40" fmla="*/ 547 w 549"/>
                  <a:gd name="T41" fmla="*/ 260 h 521"/>
                  <a:gd name="T42" fmla="*/ 547 w 549"/>
                  <a:gd name="T43" fmla="*/ 260 h 521"/>
                  <a:gd name="T44" fmla="*/ 471 w 549"/>
                  <a:gd name="T45" fmla="*/ 76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9" h="521">
                    <a:moveTo>
                      <a:pt x="471" y="76"/>
                    </a:moveTo>
                    <a:lnTo>
                      <a:pt x="471" y="76"/>
                    </a:lnTo>
                    <a:cubicBezTo>
                      <a:pt x="420" y="29"/>
                      <a:pt x="357" y="0"/>
                      <a:pt x="287" y="0"/>
                    </a:cubicBezTo>
                    <a:lnTo>
                      <a:pt x="262" y="0"/>
                    </a:lnTo>
                    <a:lnTo>
                      <a:pt x="262" y="0"/>
                    </a:lnTo>
                    <a:cubicBezTo>
                      <a:pt x="196" y="0"/>
                      <a:pt x="125" y="29"/>
                      <a:pt x="78" y="76"/>
                    </a:cubicBezTo>
                    <a:lnTo>
                      <a:pt x="78" y="76"/>
                    </a:lnTo>
                    <a:cubicBezTo>
                      <a:pt x="53" y="100"/>
                      <a:pt x="35" y="128"/>
                      <a:pt x="24" y="160"/>
                    </a:cubicBezTo>
                    <a:lnTo>
                      <a:pt x="24" y="160"/>
                    </a:lnTo>
                    <a:cubicBezTo>
                      <a:pt x="8" y="191"/>
                      <a:pt x="0" y="224"/>
                      <a:pt x="2" y="260"/>
                    </a:cubicBezTo>
                    <a:lnTo>
                      <a:pt x="2" y="260"/>
                    </a:lnTo>
                    <a:cubicBezTo>
                      <a:pt x="5" y="328"/>
                      <a:pt x="27" y="397"/>
                      <a:pt x="78" y="444"/>
                    </a:cubicBezTo>
                    <a:lnTo>
                      <a:pt x="78" y="444"/>
                    </a:lnTo>
                    <a:cubicBezTo>
                      <a:pt x="129" y="491"/>
                      <a:pt x="191" y="520"/>
                      <a:pt x="262" y="520"/>
                    </a:cubicBezTo>
                    <a:lnTo>
                      <a:pt x="287" y="520"/>
                    </a:lnTo>
                    <a:lnTo>
                      <a:pt x="287" y="520"/>
                    </a:lnTo>
                    <a:cubicBezTo>
                      <a:pt x="353" y="520"/>
                      <a:pt x="423" y="492"/>
                      <a:pt x="471" y="444"/>
                    </a:cubicBezTo>
                    <a:lnTo>
                      <a:pt x="471" y="444"/>
                    </a:lnTo>
                    <a:cubicBezTo>
                      <a:pt x="496" y="420"/>
                      <a:pt x="514" y="393"/>
                      <a:pt x="524" y="361"/>
                    </a:cubicBezTo>
                    <a:lnTo>
                      <a:pt x="524" y="361"/>
                    </a:lnTo>
                    <a:cubicBezTo>
                      <a:pt x="541" y="329"/>
                      <a:pt x="548" y="296"/>
                      <a:pt x="547" y="260"/>
                    </a:cubicBezTo>
                    <a:lnTo>
                      <a:pt x="547" y="260"/>
                    </a:lnTo>
                    <a:cubicBezTo>
                      <a:pt x="544" y="193"/>
                      <a:pt x="522" y="123"/>
                      <a:pt x="471" y="76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453">
                <a:extLst>
                  <a:ext uri="{FF2B5EF4-FFF2-40B4-BE49-F238E27FC236}">
                    <a16:creationId xmlns:a16="http://schemas.microsoft.com/office/drawing/2014/main" id="{15EAACDA-D641-F04B-9DF8-F66475AC5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2273" y="4605554"/>
                <a:ext cx="68678" cy="52446"/>
              </a:xfrm>
              <a:custGeom>
                <a:avLst/>
                <a:gdLst>
                  <a:gd name="T0" fmla="*/ 120 w 241"/>
                  <a:gd name="T1" fmla="*/ 0 h 186"/>
                  <a:gd name="T2" fmla="*/ 120 w 241"/>
                  <a:gd name="T3" fmla="*/ 0 h 186"/>
                  <a:gd name="T4" fmla="*/ 120 w 241"/>
                  <a:gd name="T5" fmla="*/ 185 h 186"/>
                  <a:gd name="T6" fmla="*/ 120 w 241"/>
                  <a:gd name="T7" fmla="*/ 185 h 186"/>
                  <a:gd name="T8" fmla="*/ 120 w 241"/>
                  <a:gd name="T9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186">
                    <a:moveTo>
                      <a:pt x="120" y="0"/>
                    </a:moveTo>
                    <a:lnTo>
                      <a:pt x="120" y="0"/>
                    </a:lnTo>
                    <a:cubicBezTo>
                      <a:pt x="0" y="0"/>
                      <a:pt x="0" y="185"/>
                      <a:pt x="120" y="185"/>
                    </a:cubicBezTo>
                    <a:lnTo>
                      <a:pt x="120" y="185"/>
                    </a:lnTo>
                    <a:cubicBezTo>
                      <a:pt x="239" y="185"/>
                      <a:pt x="240" y="0"/>
                      <a:pt x="120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457">
                <a:extLst>
                  <a:ext uri="{FF2B5EF4-FFF2-40B4-BE49-F238E27FC236}">
                    <a16:creationId xmlns:a16="http://schemas.microsoft.com/office/drawing/2014/main" id="{B5388FBE-CBD9-514D-A05D-3ED1755E1F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9044" y="4598573"/>
                <a:ext cx="122373" cy="94901"/>
              </a:xfrm>
              <a:custGeom>
                <a:avLst/>
                <a:gdLst>
                  <a:gd name="T0" fmla="*/ 215 w 432"/>
                  <a:gd name="T1" fmla="*/ 0 h 335"/>
                  <a:gd name="T2" fmla="*/ 215 w 432"/>
                  <a:gd name="T3" fmla="*/ 0 h 335"/>
                  <a:gd name="T4" fmla="*/ 215 w 432"/>
                  <a:gd name="T5" fmla="*/ 334 h 335"/>
                  <a:gd name="T6" fmla="*/ 215 w 432"/>
                  <a:gd name="T7" fmla="*/ 334 h 335"/>
                  <a:gd name="T8" fmla="*/ 215 w 432"/>
                  <a:gd name="T9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35">
                    <a:moveTo>
                      <a:pt x="215" y="0"/>
                    </a:moveTo>
                    <a:lnTo>
                      <a:pt x="215" y="0"/>
                    </a:lnTo>
                    <a:cubicBezTo>
                      <a:pt x="0" y="0"/>
                      <a:pt x="0" y="334"/>
                      <a:pt x="215" y="334"/>
                    </a:cubicBezTo>
                    <a:lnTo>
                      <a:pt x="215" y="334"/>
                    </a:lnTo>
                    <a:cubicBezTo>
                      <a:pt x="431" y="334"/>
                      <a:pt x="431" y="0"/>
                      <a:pt x="215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Freeform 209">
              <a:extLst>
                <a:ext uri="{FF2B5EF4-FFF2-40B4-BE49-F238E27FC236}">
                  <a16:creationId xmlns:a16="http://schemas.microsoft.com/office/drawing/2014/main" id="{3D8D5D05-DB8F-2C4E-A3C8-D1ADB8C40A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953810">
              <a:off x="1662392" y="4681052"/>
              <a:ext cx="478156" cy="663847"/>
            </a:xfrm>
            <a:custGeom>
              <a:avLst/>
              <a:gdLst>
                <a:gd name="T0" fmla="*/ 93 w 907"/>
                <a:gd name="T1" fmla="*/ 559 h 1263"/>
                <a:gd name="T2" fmla="*/ 756 w 907"/>
                <a:gd name="T3" fmla="*/ 1204 h 1263"/>
                <a:gd name="T4" fmla="*/ 205 w 907"/>
                <a:gd name="T5" fmla="*/ 974 h 1263"/>
                <a:gd name="T6" fmla="*/ 259 w 907"/>
                <a:gd name="T7" fmla="*/ 806 h 1263"/>
                <a:gd name="T8" fmla="*/ 297 w 907"/>
                <a:gd name="T9" fmla="*/ 962 h 1263"/>
                <a:gd name="T10" fmla="*/ 175 w 907"/>
                <a:gd name="T11" fmla="*/ 1075 h 1263"/>
                <a:gd name="T12" fmla="*/ 642 w 907"/>
                <a:gd name="T13" fmla="*/ 700 h 1263"/>
                <a:gd name="T14" fmla="*/ 708 w 907"/>
                <a:gd name="T15" fmla="*/ 1118 h 1263"/>
                <a:gd name="T16" fmla="*/ 725 w 907"/>
                <a:gd name="T17" fmla="*/ 1184 h 1263"/>
                <a:gd name="T18" fmla="*/ 438 w 907"/>
                <a:gd name="T19" fmla="*/ 908 h 1263"/>
                <a:gd name="T20" fmla="*/ 620 w 907"/>
                <a:gd name="T21" fmla="*/ 554 h 1263"/>
                <a:gd name="T22" fmla="*/ 285 w 907"/>
                <a:gd name="T23" fmla="*/ 556 h 1263"/>
                <a:gd name="T24" fmla="*/ 164 w 907"/>
                <a:gd name="T25" fmla="*/ 630 h 1263"/>
                <a:gd name="T26" fmla="*/ 95 w 907"/>
                <a:gd name="T27" fmla="*/ 562 h 1263"/>
                <a:gd name="T28" fmla="*/ 90 w 907"/>
                <a:gd name="T29" fmla="*/ 556 h 1263"/>
                <a:gd name="T30" fmla="*/ 300 w 907"/>
                <a:gd name="T31" fmla="*/ 515 h 1263"/>
                <a:gd name="T32" fmla="*/ 620 w 907"/>
                <a:gd name="T33" fmla="*/ 554 h 1263"/>
                <a:gd name="T34" fmla="*/ 471 w 907"/>
                <a:gd name="T35" fmla="*/ 796 h 1263"/>
                <a:gd name="T36" fmla="*/ 318 w 907"/>
                <a:gd name="T37" fmla="*/ 786 h 1263"/>
                <a:gd name="T38" fmla="*/ 361 w 907"/>
                <a:gd name="T39" fmla="*/ 508 h 1263"/>
                <a:gd name="T40" fmla="*/ 879 w 907"/>
                <a:gd name="T41" fmla="*/ 478 h 1263"/>
                <a:gd name="T42" fmla="*/ 798 w 907"/>
                <a:gd name="T43" fmla="*/ 463 h 1263"/>
                <a:gd name="T44" fmla="*/ 799 w 907"/>
                <a:gd name="T45" fmla="*/ 474 h 1263"/>
                <a:gd name="T46" fmla="*/ 681 w 907"/>
                <a:gd name="T47" fmla="*/ 582 h 1263"/>
                <a:gd name="T48" fmla="*/ 662 w 907"/>
                <a:gd name="T49" fmla="*/ 475 h 1263"/>
                <a:gd name="T50" fmla="*/ 848 w 907"/>
                <a:gd name="T51" fmla="*/ 432 h 1263"/>
                <a:gd name="T52" fmla="*/ 852 w 907"/>
                <a:gd name="T53" fmla="*/ 428 h 1263"/>
                <a:gd name="T54" fmla="*/ 503 w 907"/>
                <a:gd name="T55" fmla="*/ 81 h 1263"/>
                <a:gd name="T56" fmla="*/ 529 w 907"/>
                <a:gd name="T57" fmla="*/ 170 h 1263"/>
                <a:gd name="T58" fmla="*/ 585 w 907"/>
                <a:gd name="T59" fmla="*/ 387 h 1263"/>
                <a:gd name="T60" fmla="*/ 405 w 907"/>
                <a:gd name="T61" fmla="*/ 447 h 1263"/>
                <a:gd name="T62" fmla="*/ 498 w 907"/>
                <a:gd name="T63" fmla="*/ 0 h 1263"/>
                <a:gd name="T64" fmla="*/ 467 w 907"/>
                <a:gd name="T65" fmla="*/ 20 h 1263"/>
                <a:gd name="T66" fmla="*/ 442 w 907"/>
                <a:gd name="T67" fmla="*/ 94 h 1263"/>
                <a:gd name="T68" fmla="*/ 28 w 907"/>
                <a:gd name="T69" fmla="*/ 487 h 1263"/>
                <a:gd name="T70" fmla="*/ 0 w 907"/>
                <a:gd name="T71" fmla="*/ 518 h 1263"/>
                <a:gd name="T72" fmla="*/ 17 w 907"/>
                <a:gd name="T73" fmla="*/ 549 h 1263"/>
                <a:gd name="T74" fmla="*/ 66 w 907"/>
                <a:gd name="T75" fmla="*/ 613 h 1263"/>
                <a:gd name="T76" fmla="*/ 135 w 907"/>
                <a:gd name="T77" fmla="*/ 1016 h 1263"/>
                <a:gd name="T78" fmla="*/ 108 w 907"/>
                <a:gd name="T79" fmla="*/ 1108 h 1263"/>
                <a:gd name="T80" fmla="*/ 129 w 907"/>
                <a:gd name="T81" fmla="*/ 1192 h 1263"/>
                <a:gd name="T82" fmla="*/ 175 w 907"/>
                <a:gd name="T83" fmla="*/ 1162 h 1263"/>
                <a:gd name="T84" fmla="*/ 248 w 907"/>
                <a:gd name="T85" fmla="*/ 1081 h 1263"/>
                <a:gd name="T86" fmla="*/ 398 w 907"/>
                <a:gd name="T87" fmla="*/ 947 h 1263"/>
                <a:gd name="T88" fmla="*/ 723 w 907"/>
                <a:gd name="T89" fmla="*/ 1251 h 1263"/>
                <a:gd name="T90" fmla="*/ 778 w 907"/>
                <a:gd name="T91" fmla="*/ 1246 h 1263"/>
                <a:gd name="T92" fmla="*/ 785 w 907"/>
                <a:gd name="T93" fmla="*/ 1200 h 1263"/>
                <a:gd name="T94" fmla="*/ 735 w 907"/>
                <a:gd name="T95" fmla="*/ 974 h 1263"/>
                <a:gd name="T96" fmla="*/ 882 w 907"/>
                <a:gd name="T97" fmla="*/ 474 h 1263"/>
                <a:gd name="T98" fmla="*/ 898 w 907"/>
                <a:gd name="T99" fmla="*/ 421 h 1263"/>
                <a:gd name="T100" fmla="*/ 779 w 907"/>
                <a:gd name="T101" fmla="*/ 408 h 1263"/>
                <a:gd name="T102" fmla="*/ 651 w 907"/>
                <a:gd name="T103" fmla="*/ 420 h 1263"/>
                <a:gd name="T104" fmla="*/ 608 w 907"/>
                <a:gd name="T105" fmla="*/ 248 h 1263"/>
                <a:gd name="T106" fmla="*/ 550 w 907"/>
                <a:gd name="T107" fmla="*/ 49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7" h="1263">
                  <a:moveTo>
                    <a:pt x="94" y="559"/>
                  </a:moveTo>
                  <a:lnTo>
                    <a:pt x="94" y="559"/>
                  </a:lnTo>
                  <a:lnTo>
                    <a:pt x="94" y="560"/>
                  </a:lnTo>
                  <a:lnTo>
                    <a:pt x="94" y="560"/>
                  </a:lnTo>
                  <a:cubicBezTo>
                    <a:pt x="93" y="559"/>
                    <a:pt x="93" y="559"/>
                    <a:pt x="93" y="559"/>
                  </a:cubicBezTo>
                  <a:lnTo>
                    <a:pt x="93" y="559"/>
                  </a:lnTo>
                  <a:cubicBezTo>
                    <a:pt x="93" y="559"/>
                    <a:pt x="93" y="559"/>
                    <a:pt x="94" y="559"/>
                  </a:cubicBezTo>
                  <a:close/>
                  <a:moveTo>
                    <a:pt x="754" y="1204"/>
                  </a:moveTo>
                  <a:lnTo>
                    <a:pt x="754" y="1204"/>
                  </a:lnTo>
                  <a:cubicBezTo>
                    <a:pt x="755" y="1204"/>
                    <a:pt x="755" y="1204"/>
                    <a:pt x="756" y="1204"/>
                  </a:cubicBezTo>
                  <a:lnTo>
                    <a:pt x="756" y="1204"/>
                  </a:lnTo>
                  <a:cubicBezTo>
                    <a:pt x="755" y="1204"/>
                    <a:pt x="755" y="1204"/>
                    <a:pt x="754" y="1204"/>
                  </a:cubicBezTo>
                  <a:close/>
                  <a:moveTo>
                    <a:pt x="182" y="1051"/>
                  </a:moveTo>
                  <a:lnTo>
                    <a:pt x="182" y="1051"/>
                  </a:lnTo>
                  <a:cubicBezTo>
                    <a:pt x="190" y="1025"/>
                    <a:pt x="198" y="1000"/>
                    <a:pt x="205" y="974"/>
                  </a:cubicBezTo>
                  <a:lnTo>
                    <a:pt x="205" y="974"/>
                  </a:lnTo>
                  <a:cubicBezTo>
                    <a:pt x="217" y="934"/>
                    <a:pt x="230" y="895"/>
                    <a:pt x="243" y="855"/>
                  </a:cubicBezTo>
                  <a:lnTo>
                    <a:pt x="243" y="855"/>
                  </a:lnTo>
                  <a:cubicBezTo>
                    <a:pt x="248" y="839"/>
                    <a:pt x="254" y="822"/>
                    <a:pt x="259" y="806"/>
                  </a:cubicBezTo>
                  <a:lnTo>
                    <a:pt x="259" y="806"/>
                  </a:lnTo>
                  <a:cubicBezTo>
                    <a:pt x="274" y="821"/>
                    <a:pt x="290" y="837"/>
                    <a:pt x="305" y="852"/>
                  </a:cubicBezTo>
                  <a:lnTo>
                    <a:pt x="305" y="852"/>
                  </a:lnTo>
                  <a:cubicBezTo>
                    <a:pt x="323" y="870"/>
                    <a:pt x="341" y="889"/>
                    <a:pt x="359" y="907"/>
                  </a:cubicBezTo>
                  <a:lnTo>
                    <a:pt x="359" y="907"/>
                  </a:lnTo>
                  <a:cubicBezTo>
                    <a:pt x="339" y="926"/>
                    <a:pt x="318" y="944"/>
                    <a:pt x="297" y="962"/>
                  </a:cubicBezTo>
                  <a:lnTo>
                    <a:pt x="297" y="962"/>
                  </a:lnTo>
                  <a:cubicBezTo>
                    <a:pt x="265" y="990"/>
                    <a:pt x="234" y="1016"/>
                    <a:pt x="204" y="1045"/>
                  </a:cubicBezTo>
                  <a:lnTo>
                    <a:pt x="204" y="1045"/>
                  </a:lnTo>
                  <a:cubicBezTo>
                    <a:pt x="194" y="1054"/>
                    <a:pt x="184" y="1065"/>
                    <a:pt x="175" y="1075"/>
                  </a:cubicBezTo>
                  <a:lnTo>
                    <a:pt x="175" y="1075"/>
                  </a:lnTo>
                  <a:cubicBezTo>
                    <a:pt x="177" y="1067"/>
                    <a:pt x="180" y="1059"/>
                    <a:pt x="182" y="1051"/>
                  </a:cubicBezTo>
                  <a:close/>
                  <a:moveTo>
                    <a:pt x="518" y="827"/>
                  </a:moveTo>
                  <a:lnTo>
                    <a:pt x="518" y="827"/>
                  </a:lnTo>
                  <a:cubicBezTo>
                    <a:pt x="559" y="785"/>
                    <a:pt x="601" y="742"/>
                    <a:pt x="642" y="700"/>
                  </a:cubicBezTo>
                  <a:lnTo>
                    <a:pt x="642" y="700"/>
                  </a:lnTo>
                  <a:cubicBezTo>
                    <a:pt x="646" y="729"/>
                    <a:pt x="649" y="757"/>
                    <a:pt x="653" y="786"/>
                  </a:cubicBezTo>
                  <a:lnTo>
                    <a:pt x="653" y="786"/>
                  </a:lnTo>
                  <a:cubicBezTo>
                    <a:pt x="662" y="866"/>
                    <a:pt x="672" y="947"/>
                    <a:pt x="688" y="1027"/>
                  </a:cubicBezTo>
                  <a:lnTo>
                    <a:pt x="688" y="1027"/>
                  </a:lnTo>
                  <a:cubicBezTo>
                    <a:pt x="694" y="1057"/>
                    <a:pt x="701" y="1088"/>
                    <a:pt x="708" y="1118"/>
                  </a:cubicBezTo>
                  <a:lnTo>
                    <a:pt x="708" y="1118"/>
                  </a:lnTo>
                  <a:cubicBezTo>
                    <a:pt x="712" y="1134"/>
                    <a:pt x="716" y="1150"/>
                    <a:pt x="720" y="1166"/>
                  </a:cubicBezTo>
                  <a:lnTo>
                    <a:pt x="720" y="1166"/>
                  </a:lnTo>
                  <a:cubicBezTo>
                    <a:pt x="722" y="1172"/>
                    <a:pt x="723" y="1178"/>
                    <a:pt x="725" y="1184"/>
                  </a:cubicBezTo>
                  <a:lnTo>
                    <a:pt x="725" y="1184"/>
                  </a:lnTo>
                  <a:cubicBezTo>
                    <a:pt x="699" y="1163"/>
                    <a:pt x="674" y="1139"/>
                    <a:pt x="650" y="1116"/>
                  </a:cubicBezTo>
                  <a:lnTo>
                    <a:pt x="650" y="1116"/>
                  </a:lnTo>
                  <a:cubicBezTo>
                    <a:pt x="622" y="1089"/>
                    <a:pt x="595" y="1062"/>
                    <a:pt x="567" y="1035"/>
                  </a:cubicBezTo>
                  <a:lnTo>
                    <a:pt x="567" y="1035"/>
                  </a:lnTo>
                  <a:cubicBezTo>
                    <a:pt x="524" y="993"/>
                    <a:pt x="481" y="951"/>
                    <a:pt x="438" y="908"/>
                  </a:cubicBezTo>
                  <a:lnTo>
                    <a:pt x="438" y="908"/>
                  </a:lnTo>
                  <a:cubicBezTo>
                    <a:pt x="465" y="882"/>
                    <a:pt x="492" y="855"/>
                    <a:pt x="518" y="827"/>
                  </a:cubicBezTo>
                  <a:close/>
                  <a:moveTo>
                    <a:pt x="619" y="547"/>
                  </a:moveTo>
                  <a:lnTo>
                    <a:pt x="619" y="547"/>
                  </a:lnTo>
                  <a:cubicBezTo>
                    <a:pt x="619" y="549"/>
                    <a:pt x="620" y="551"/>
                    <a:pt x="620" y="554"/>
                  </a:cubicBezTo>
                  <a:lnTo>
                    <a:pt x="620" y="554"/>
                  </a:lnTo>
                  <a:cubicBezTo>
                    <a:pt x="620" y="551"/>
                    <a:pt x="619" y="549"/>
                    <a:pt x="619" y="547"/>
                  </a:cubicBezTo>
                  <a:close/>
                  <a:moveTo>
                    <a:pt x="300" y="515"/>
                  </a:moveTo>
                  <a:lnTo>
                    <a:pt x="300" y="515"/>
                  </a:lnTo>
                  <a:cubicBezTo>
                    <a:pt x="295" y="528"/>
                    <a:pt x="290" y="542"/>
                    <a:pt x="285" y="556"/>
                  </a:cubicBezTo>
                  <a:lnTo>
                    <a:pt x="285" y="556"/>
                  </a:lnTo>
                  <a:cubicBezTo>
                    <a:pt x="268" y="604"/>
                    <a:pt x="251" y="652"/>
                    <a:pt x="235" y="701"/>
                  </a:cubicBezTo>
                  <a:lnTo>
                    <a:pt x="235" y="701"/>
                  </a:lnTo>
                  <a:cubicBezTo>
                    <a:pt x="212" y="677"/>
                    <a:pt x="189" y="653"/>
                    <a:pt x="164" y="630"/>
                  </a:cubicBezTo>
                  <a:lnTo>
                    <a:pt x="164" y="630"/>
                  </a:lnTo>
                  <a:cubicBezTo>
                    <a:pt x="151" y="619"/>
                    <a:pt x="139" y="608"/>
                    <a:pt x="126" y="596"/>
                  </a:cubicBezTo>
                  <a:lnTo>
                    <a:pt x="126" y="596"/>
                  </a:lnTo>
                  <a:cubicBezTo>
                    <a:pt x="115" y="584"/>
                    <a:pt x="104" y="572"/>
                    <a:pt x="94" y="560"/>
                  </a:cubicBezTo>
                  <a:lnTo>
                    <a:pt x="94" y="560"/>
                  </a:lnTo>
                  <a:cubicBezTo>
                    <a:pt x="94" y="561"/>
                    <a:pt x="94" y="561"/>
                    <a:pt x="95" y="562"/>
                  </a:cubicBezTo>
                  <a:lnTo>
                    <a:pt x="95" y="562"/>
                  </a:lnTo>
                  <a:cubicBezTo>
                    <a:pt x="94" y="561"/>
                    <a:pt x="94" y="560"/>
                    <a:pt x="94" y="559"/>
                  </a:cubicBezTo>
                  <a:lnTo>
                    <a:pt x="94" y="559"/>
                  </a:lnTo>
                  <a:cubicBezTo>
                    <a:pt x="93" y="558"/>
                    <a:pt x="91" y="557"/>
                    <a:pt x="90" y="556"/>
                  </a:cubicBezTo>
                  <a:lnTo>
                    <a:pt x="90" y="556"/>
                  </a:lnTo>
                  <a:cubicBezTo>
                    <a:pt x="91" y="557"/>
                    <a:pt x="92" y="558"/>
                    <a:pt x="93" y="559"/>
                  </a:cubicBezTo>
                  <a:lnTo>
                    <a:pt x="93" y="559"/>
                  </a:lnTo>
                  <a:cubicBezTo>
                    <a:pt x="88" y="552"/>
                    <a:pt x="83" y="546"/>
                    <a:pt x="79" y="539"/>
                  </a:cubicBezTo>
                  <a:lnTo>
                    <a:pt x="79" y="539"/>
                  </a:lnTo>
                  <a:cubicBezTo>
                    <a:pt x="152" y="531"/>
                    <a:pt x="226" y="523"/>
                    <a:pt x="300" y="515"/>
                  </a:cubicBezTo>
                  <a:close/>
                  <a:moveTo>
                    <a:pt x="607" y="481"/>
                  </a:moveTo>
                  <a:lnTo>
                    <a:pt x="607" y="481"/>
                  </a:lnTo>
                  <a:cubicBezTo>
                    <a:pt x="608" y="487"/>
                    <a:pt x="608" y="491"/>
                    <a:pt x="609" y="497"/>
                  </a:cubicBezTo>
                  <a:lnTo>
                    <a:pt x="609" y="497"/>
                  </a:lnTo>
                  <a:cubicBezTo>
                    <a:pt x="613" y="515"/>
                    <a:pt x="617" y="535"/>
                    <a:pt x="620" y="554"/>
                  </a:cubicBezTo>
                  <a:lnTo>
                    <a:pt x="620" y="554"/>
                  </a:lnTo>
                  <a:cubicBezTo>
                    <a:pt x="624" y="579"/>
                    <a:pt x="628" y="605"/>
                    <a:pt x="632" y="630"/>
                  </a:cubicBezTo>
                  <a:lnTo>
                    <a:pt x="632" y="630"/>
                  </a:lnTo>
                  <a:cubicBezTo>
                    <a:pt x="578" y="685"/>
                    <a:pt x="524" y="740"/>
                    <a:pt x="471" y="796"/>
                  </a:cubicBezTo>
                  <a:lnTo>
                    <a:pt x="471" y="796"/>
                  </a:lnTo>
                  <a:cubicBezTo>
                    <a:pt x="447" y="820"/>
                    <a:pt x="423" y="845"/>
                    <a:pt x="399" y="869"/>
                  </a:cubicBezTo>
                  <a:lnTo>
                    <a:pt x="399" y="869"/>
                  </a:lnTo>
                  <a:lnTo>
                    <a:pt x="399" y="869"/>
                  </a:lnTo>
                  <a:cubicBezTo>
                    <a:pt x="372" y="841"/>
                    <a:pt x="345" y="813"/>
                    <a:pt x="318" y="786"/>
                  </a:cubicBezTo>
                  <a:lnTo>
                    <a:pt x="318" y="786"/>
                  </a:lnTo>
                  <a:cubicBezTo>
                    <a:pt x="305" y="773"/>
                    <a:pt x="292" y="759"/>
                    <a:pt x="278" y="746"/>
                  </a:cubicBezTo>
                  <a:lnTo>
                    <a:pt x="278" y="746"/>
                  </a:lnTo>
                  <a:cubicBezTo>
                    <a:pt x="292" y="705"/>
                    <a:pt x="306" y="665"/>
                    <a:pt x="320" y="624"/>
                  </a:cubicBezTo>
                  <a:lnTo>
                    <a:pt x="320" y="624"/>
                  </a:lnTo>
                  <a:cubicBezTo>
                    <a:pt x="333" y="585"/>
                    <a:pt x="347" y="547"/>
                    <a:pt x="361" y="508"/>
                  </a:cubicBezTo>
                  <a:lnTo>
                    <a:pt x="361" y="508"/>
                  </a:lnTo>
                  <a:cubicBezTo>
                    <a:pt x="443" y="499"/>
                    <a:pt x="524" y="490"/>
                    <a:pt x="607" y="481"/>
                  </a:cubicBezTo>
                  <a:close/>
                  <a:moveTo>
                    <a:pt x="881" y="476"/>
                  </a:moveTo>
                  <a:lnTo>
                    <a:pt x="881" y="476"/>
                  </a:lnTo>
                  <a:cubicBezTo>
                    <a:pt x="880" y="477"/>
                    <a:pt x="880" y="477"/>
                    <a:pt x="879" y="478"/>
                  </a:cubicBezTo>
                  <a:lnTo>
                    <a:pt x="879" y="478"/>
                  </a:lnTo>
                  <a:cubicBezTo>
                    <a:pt x="880" y="477"/>
                    <a:pt x="880" y="477"/>
                    <a:pt x="881" y="476"/>
                  </a:cubicBezTo>
                  <a:close/>
                  <a:moveTo>
                    <a:pt x="735" y="468"/>
                  </a:moveTo>
                  <a:lnTo>
                    <a:pt x="735" y="468"/>
                  </a:lnTo>
                  <a:cubicBezTo>
                    <a:pt x="755" y="466"/>
                    <a:pt x="776" y="464"/>
                    <a:pt x="798" y="463"/>
                  </a:cubicBezTo>
                  <a:lnTo>
                    <a:pt x="798" y="463"/>
                  </a:lnTo>
                  <a:cubicBezTo>
                    <a:pt x="803" y="462"/>
                    <a:pt x="808" y="462"/>
                    <a:pt x="813" y="462"/>
                  </a:cubicBezTo>
                  <a:lnTo>
                    <a:pt x="813" y="462"/>
                  </a:lnTo>
                  <a:cubicBezTo>
                    <a:pt x="809" y="466"/>
                    <a:pt x="803" y="470"/>
                    <a:pt x="799" y="474"/>
                  </a:cubicBezTo>
                  <a:lnTo>
                    <a:pt x="799" y="474"/>
                  </a:lnTo>
                  <a:cubicBezTo>
                    <a:pt x="791" y="480"/>
                    <a:pt x="785" y="487"/>
                    <a:pt x="777" y="494"/>
                  </a:cubicBezTo>
                  <a:lnTo>
                    <a:pt x="777" y="494"/>
                  </a:lnTo>
                  <a:cubicBezTo>
                    <a:pt x="762" y="507"/>
                    <a:pt x="747" y="519"/>
                    <a:pt x="732" y="534"/>
                  </a:cubicBezTo>
                  <a:lnTo>
                    <a:pt x="732" y="534"/>
                  </a:lnTo>
                  <a:cubicBezTo>
                    <a:pt x="715" y="550"/>
                    <a:pt x="698" y="566"/>
                    <a:pt x="681" y="582"/>
                  </a:cubicBezTo>
                  <a:lnTo>
                    <a:pt x="681" y="582"/>
                  </a:lnTo>
                  <a:cubicBezTo>
                    <a:pt x="677" y="555"/>
                    <a:pt x="672" y="529"/>
                    <a:pt x="667" y="502"/>
                  </a:cubicBezTo>
                  <a:lnTo>
                    <a:pt x="667" y="502"/>
                  </a:lnTo>
                  <a:cubicBezTo>
                    <a:pt x="665" y="493"/>
                    <a:pt x="664" y="484"/>
                    <a:pt x="662" y="475"/>
                  </a:cubicBezTo>
                  <a:lnTo>
                    <a:pt x="662" y="475"/>
                  </a:lnTo>
                  <a:cubicBezTo>
                    <a:pt x="686" y="473"/>
                    <a:pt x="710" y="470"/>
                    <a:pt x="735" y="468"/>
                  </a:cubicBezTo>
                  <a:close/>
                  <a:moveTo>
                    <a:pt x="850" y="430"/>
                  </a:moveTo>
                  <a:lnTo>
                    <a:pt x="850" y="430"/>
                  </a:lnTo>
                  <a:cubicBezTo>
                    <a:pt x="849" y="431"/>
                    <a:pt x="849" y="432"/>
                    <a:pt x="848" y="432"/>
                  </a:cubicBezTo>
                  <a:lnTo>
                    <a:pt x="848" y="432"/>
                  </a:lnTo>
                  <a:cubicBezTo>
                    <a:pt x="849" y="432"/>
                    <a:pt x="849" y="431"/>
                    <a:pt x="850" y="430"/>
                  </a:cubicBezTo>
                  <a:close/>
                  <a:moveTo>
                    <a:pt x="853" y="427"/>
                  </a:moveTo>
                  <a:lnTo>
                    <a:pt x="853" y="427"/>
                  </a:lnTo>
                  <a:cubicBezTo>
                    <a:pt x="853" y="428"/>
                    <a:pt x="853" y="428"/>
                    <a:pt x="852" y="428"/>
                  </a:cubicBezTo>
                  <a:lnTo>
                    <a:pt x="852" y="428"/>
                  </a:lnTo>
                  <a:lnTo>
                    <a:pt x="852" y="428"/>
                  </a:lnTo>
                  <a:cubicBezTo>
                    <a:pt x="853" y="428"/>
                    <a:pt x="853" y="428"/>
                    <a:pt x="853" y="427"/>
                  </a:cubicBezTo>
                  <a:close/>
                  <a:moveTo>
                    <a:pt x="473" y="180"/>
                  </a:moveTo>
                  <a:lnTo>
                    <a:pt x="473" y="180"/>
                  </a:lnTo>
                  <a:cubicBezTo>
                    <a:pt x="483" y="147"/>
                    <a:pt x="493" y="114"/>
                    <a:pt x="503" y="81"/>
                  </a:cubicBezTo>
                  <a:lnTo>
                    <a:pt x="503" y="81"/>
                  </a:lnTo>
                  <a:cubicBezTo>
                    <a:pt x="509" y="97"/>
                    <a:pt x="514" y="114"/>
                    <a:pt x="518" y="131"/>
                  </a:cubicBezTo>
                  <a:lnTo>
                    <a:pt x="518" y="131"/>
                  </a:lnTo>
                  <a:cubicBezTo>
                    <a:pt x="522" y="144"/>
                    <a:pt x="526" y="157"/>
                    <a:pt x="529" y="170"/>
                  </a:cubicBezTo>
                  <a:lnTo>
                    <a:pt x="529" y="170"/>
                  </a:lnTo>
                  <a:cubicBezTo>
                    <a:pt x="535" y="192"/>
                    <a:pt x="541" y="215"/>
                    <a:pt x="547" y="238"/>
                  </a:cubicBezTo>
                  <a:lnTo>
                    <a:pt x="547" y="238"/>
                  </a:lnTo>
                  <a:cubicBezTo>
                    <a:pt x="557" y="272"/>
                    <a:pt x="566" y="307"/>
                    <a:pt x="575" y="341"/>
                  </a:cubicBezTo>
                  <a:lnTo>
                    <a:pt x="575" y="341"/>
                  </a:lnTo>
                  <a:cubicBezTo>
                    <a:pt x="579" y="356"/>
                    <a:pt x="582" y="372"/>
                    <a:pt x="585" y="387"/>
                  </a:cubicBezTo>
                  <a:lnTo>
                    <a:pt x="585" y="387"/>
                  </a:lnTo>
                  <a:cubicBezTo>
                    <a:pt x="589" y="400"/>
                    <a:pt x="592" y="413"/>
                    <a:pt x="595" y="427"/>
                  </a:cubicBezTo>
                  <a:lnTo>
                    <a:pt x="595" y="427"/>
                  </a:lnTo>
                  <a:cubicBezTo>
                    <a:pt x="531" y="433"/>
                    <a:pt x="468" y="440"/>
                    <a:pt x="405" y="447"/>
                  </a:cubicBezTo>
                  <a:lnTo>
                    <a:pt x="405" y="447"/>
                  </a:lnTo>
                  <a:cubicBezTo>
                    <a:pt x="397" y="448"/>
                    <a:pt x="389" y="449"/>
                    <a:pt x="381" y="450"/>
                  </a:cubicBezTo>
                  <a:lnTo>
                    <a:pt x="381" y="450"/>
                  </a:lnTo>
                  <a:cubicBezTo>
                    <a:pt x="413" y="360"/>
                    <a:pt x="444" y="270"/>
                    <a:pt x="473" y="180"/>
                  </a:cubicBezTo>
                  <a:close/>
                  <a:moveTo>
                    <a:pt x="498" y="0"/>
                  </a:moveTo>
                  <a:lnTo>
                    <a:pt x="498" y="0"/>
                  </a:lnTo>
                  <a:cubicBezTo>
                    <a:pt x="492" y="1"/>
                    <a:pt x="486" y="4"/>
                    <a:pt x="480" y="7"/>
                  </a:cubicBezTo>
                  <a:lnTo>
                    <a:pt x="480" y="7"/>
                  </a:lnTo>
                  <a:cubicBezTo>
                    <a:pt x="479" y="8"/>
                    <a:pt x="478" y="9"/>
                    <a:pt x="477" y="10"/>
                  </a:cubicBezTo>
                  <a:lnTo>
                    <a:pt x="477" y="10"/>
                  </a:lnTo>
                  <a:cubicBezTo>
                    <a:pt x="473" y="13"/>
                    <a:pt x="469" y="16"/>
                    <a:pt x="467" y="20"/>
                  </a:cubicBezTo>
                  <a:lnTo>
                    <a:pt x="467" y="20"/>
                  </a:lnTo>
                  <a:cubicBezTo>
                    <a:pt x="460" y="29"/>
                    <a:pt x="458" y="40"/>
                    <a:pt x="454" y="51"/>
                  </a:cubicBezTo>
                  <a:lnTo>
                    <a:pt x="454" y="51"/>
                  </a:lnTo>
                  <a:cubicBezTo>
                    <a:pt x="449" y="65"/>
                    <a:pt x="446" y="80"/>
                    <a:pt x="442" y="94"/>
                  </a:cubicBezTo>
                  <a:lnTo>
                    <a:pt x="442" y="94"/>
                  </a:lnTo>
                  <a:cubicBezTo>
                    <a:pt x="405" y="216"/>
                    <a:pt x="363" y="336"/>
                    <a:pt x="320" y="457"/>
                  </a:cubicBezTo>
                  <a:lnTo>
                    <a:pt x="320" y="457"/>
                  </a:lnTo>
                  <a:cubicBezTo>
                    <a:pt x="225" y="467"/>
                    <a:pt x="131" y="477"/>
                    <a:pt x="36" y="488"/>
                  </a:cubicBezTo>
                  <a:lnTo>
                    <a:pt x="36" y="488"/>
                  </a:lnTo>
                  <a:cubicBezTo>
                    <a:pt x="34" y="487"/>
                    <a:pt x="31" y="487"/>
                    <a:pt x="28" y="487"/>
                  </a:cubicBezTo>
                  <a:lnTo>
                    <a:pt x="28" y="487"/>
                  </a:lnTo>
                  <a:cubicBezTo>
                    <a:pt x="15" y="487"/>
                    <a:pt x="3" y="497"/>
                    <a:pt x="1" y="510"/>
                  </a:cubicBezTo>
                  <a:lnTo>
                    <a:pt x="1" y="510"/>
                  </a:lnTo>
                  <a:cubicBezTo>
                    <a:pt x="0" y="513"/>
                    <a:pt x="0" y="515"/>
                    <a:pt x="0" y="518"/>
                  </a:cubicBezTo>
                  <a:lnTo>
                    <a:pt x="0" y="518"/>
                  </a:lnTo>
                  <a:cubicBezTo>
                    <a:pt x="0" y="524"/>
                    <a:pt x="3" y="529"/>
                    <a:pt x="7" y="535"/>
                  </a:cubicBezTo>
                  <a:lnTo>
                    <a:pt x="7" y="535"/>
                  </a:lnTo>
                  <a:cubicBezTo>
                    <a:pt x="8" y="536"/>
                    <a:pt x="9" y="537"/>
                    <a:pt x="10" y="538"/>
                  </a:cubicBezTo>
                  <a:lnTo>
                    <a:pt x="10" y="538"/>
                  </a:lnTo>
                  <a:cubicBezTo>
                    <a:pt x="12" y="542"/>
                    <a:pt x="15" y="545"/>
                    <a:pt x="17" y="549"/>
                  </a:cubicBezTo>
                  <a:lnTo>
                    <a:pt x="17" y="549"/>
                  </a:lnTo>
                  <a:cubicBezTo>
                    <a:pt x="22" y="555"/>
                    <a:pt x="26" y="562"/>
                    <a:pt x="31" y="568"/>
                  </a:cubicBezTo>
                  <a:lnTo>
                    <a:pt x="31" y="568"/>
                  </a:lnTo>
                  <a:cubicBezTo>
                    <a:pt x="41" y="584"/>
                    <a:pt x="53" y="598"/>
                    <a:pt x="66" y="613"/>
                  </a:cubicBezTo>
                  <a:lnTo>
                    <a:pt x="66" y="613"/>
                  </a:lnTo>
                  <a:cubicBezTo>
                    <a:pt x="90" y="640"/>
                    <a:pt x="118" y="664"/>
                    <a:pt x="144" y="689"/>
                  </a:cubicBezTo>
                  <a:lnTo>
                    <a:pt x="144" y="689"/>
                  </a:lnTo>
                  <a:cubicBezTo>
                    <a:pt x="169" y="712"/>
                    <a:pt x="192" y="736"/>
                    <a:pt x="215" y="760"/>
                  </a:cubicBezTo>
                  <a:lnTo>
                    <a:pt x="215" y="760"/>
                  </a:lnTo>
                  <a:cubicBezTo>
                    <a:pt x="187" y="846"/>
                    <a:pt x="160" y="931"/>
                    <a:pt x="135" y="1016"/>
                  </a:cubicBezTo>
                  <a:lnTo>
                    <a:pt x="135" y="1016"/>
                  </a:lnTo>
                  <a:cubicBezTo>
                    <a:pt x="131" y="1030"/>
                    <a:pt x="127" y="1043"/>
                    <a:pt x="123" y="1057"/>
                  </a:cubicBezTo>
                  <a:lnTo>
                    <a:pt x="123" y="1057"/>
                  </a:lnTo>
                  <a:cubicBezTo>
                    <a:pt x="117" y="1074"/>
                    <a:pt x="113" y="1091"/>
                    <a:pt x="108" y="1108"/>
                  </a:cubicBezTo>
                  <a:lnTo>
                    <a:pt x="108" y="1108"/>
                  </a:lnTo>
                  <a:cubicBezTo>
                    <a:pt x="103" y="1127"/>
                    <a:pt x="102" y="1146"/>
                    <a:pt x="100" y="1166"/>
                  </a:cubicBezTo>
                  <a:lnTo>
                    <a:pt x="100" y="1166"/>
                  </a:lnTo>
                  <a:cubicBezTo>
                    <a:pt x="100" y="1172"/>
                    <a:pt x="104" y="1180"/>
                    <a:pt x="109" y="1184"/>
                  </a:cubicBezTo>
                  <a:lnTo>
                    <a:pt x="109" y="1184"/>
                  </a:lnTo>
                  <a:cubicBezTo>
                    <a:pt x="114" y="1190"/>
                    <a:pt x="122" y="1193"/>
                    <a:pt x="129" y="1192"/>
                  </a:cubicBezTo>
                  <a:lnTo>
                    <a:pt x="129" y="1192"/>
                  </a:lnTo>
                  <a:cubicBezTo>
                    <a:pt x="140" y="1192"/>
                    <a:pt x="149" y="1190"/>
                    <a:pt x="157" y="1184"/>
                  </a:cubicBezTo>
                  <a:lnTo>
                    <a:pt x="157" y="1184"/>
                  </a:lnTo>
                  <a:cubicBezTo>
                    <a:pt x="165" y="1178"/>
                    <a:pt x="170" y="1170"/>
                    <a:pt x="175" y="1162"/>
                  </a:cubicBezTo>
                  <a:lnTo>
                    <a:pt x="175" y="1162"/>
                  </a:lnTo>
                  <a:cubicBezTo>
                    <a:pt x="174" y="1164"/>
                    <a:pt x="172" y="1166"/>
                    <a:pt x="171" y="1167"/>
                  </a:cubicBezTo>
                  <a:lnTo>
                    <a:pt x="171" y="1167"/>
                  </a:lnTo>
                  <a:cubicBezTo>
                    <a:pt x="182" y="1152"/>
                    <a:pt x="195" y="1136"/>
                    <a:pt x="208" y="1122"/>
                  </a:cubicBezTo>
                  <a:lnTo>
                    <a:pt x="208" y="1122"/>
                  </a:lnTo>
                  <a:cubicBezTo>
                    <a:pt x="221" y="1107"/>
                    <a:pt x="234" y="1093"/>
                    <a:pt x="248" y="1081"/>
                  </a:cubicBezTo>
                  <a:lnTo>
                    <a:pt x="248" y="1081"/>
                  </a:lnTo>
                  <a:cubicBezTo>
                    <a:pt x="279" y="1051"/>
                    <a:pt x="311" y="1023"/>
                    <a:pt x="344" y="995"/>
                  </a:cubicBezTo>
                  <a:lnTo>
                    <a:pt x="344" y="995"/>
                  </a:lnTo>
                  <a:cubicBezTo>
                    <a:pt x="362" y="980"/>
                    <a:pt x="381" y="963"/>
                    <a:pt x="398" y="947"/>
                  </a:cubicBezTo>
                  <a:lnTo>
                    <a:pt x="398" y="947"/>
                  </a:lnTo>
                  <a:cubicBezTo>
                    <a:pt x="478" y="1026"/>
                    <a:pt x="558" y="1106"/>
                    <a:pt x="639" y="1183"/>
                  </a:cubicBezTo>
                  <a:lnTo>
                    <a:pt x="639" y="1183"/>
                  </a:lnTo>
                  <a:cubicBezTo>
                    <a:pt x="651" y="1194"/>
                    <a:pt x="662" y="1204"/>
                    <a:pt x="674" y="1214"/>
                  </a:cubicBezTo>
                  <a:lnTo>
                    <a:pt x="674" y="1214"/>
                  </a:lnTo>
                  <a:cubicBezTo>
                    <a:pt x="689" y="1228"/>
                    <a:pt x="705" y="1241"/>
                    <a:pt x="723" y="1251"/>
                  </a:cubicBezTo>
                  <a:lnTo>
                    <a:pt x="723" y="1251"/>
                  </a:lnTo>
                  <a:cubicBezTo>
                    <a:pt x="738" y="1259"/>
                    <a:pt x="756" y="1262"/>
                    <a:pt x="770" y="1253"/>
                  </a:cubicBezTo>
                  <a:lnTo>
                    <a:pt x="770" y="1253"/>
                  </a:lnTo>
                  <a:cubicBezTo>
                    <a:pt x="773" y="1251"/>
                    <a:pt x="776" y="1249"/>
                    <a:pt x="778" y="1246"/>
                  </a:cubicBezTo>
                  <a:lnTo>
                    <a:pt x="778" y="1246"/>
                  </a:lnTo>
                  <a:cubicBezTo>
                    <a:pt x="781" y="1242"/>
                    <a:pt x="785" y="1235"/>
                    <a:pt x="786" y="1230"/>
                  </a:cubicBezTo>
                  <a:lnTo>
                    <a:pt x="786" y="1230"/>
                  </a:lnTo>
                  <a:cubicBezTo>
                    <a:pt x="786" y="1226"/>
                    <a:pt x="787" y="1222"/>
                    <a:pt x="787" y="1217"/>
                  </a:cubicBezTo>
                  <a:lnTo>
                    <a:pt x="787" y="1217"/>
                  </a:lnTo>
                  <a:cubicBezTo>
                    <a:pt x="787" y="1212"/>
                    <a:pt x="786" y="1206"/>
                    <a:pt x="785" y="1200"/>
                  </a:cubicBezTo>
                  <a:lnTo>
                    <a:pt x="785" y="1200"/>
                  </a:lnTo>
                  <a:cubicBezTo>
                    <a:pt x="782" y="1183"/>
                    <a:pt x="778" y="1167"/>
                    <a:pt x="773" y="1150"/>
                  </a:cubicBezTo>
                  <a:lnTo>
                    <a:pt x="773" y="1150"/>
                  </a:lnTo>
                  <a:cubicBezTo>
                    <a:pt x="759" y="1092"/>
                    <a:pt x="746" y="1033"/>
                    <a:pt x="735" y="974"/>
                  </a:cubicBezTo>
                  <a:lnTo>
                    <a:pt x="735" y="974"/>
                  </a:lnTo>
                  <a:cubicBezTo>
                    <a:pt x="722" y="896"/>
                    <a:pt x="713" y="818"/>
                    <a:pt x="703" y="740"/>
                  </a:cubicBezTo>
                  <a:lnTo>
                    <a:pt x="703" y="740"/>
                  </a:lnTo>
                  <a:cubicBezTo>
                    <a:pt x="699" y="710"/>
                    <a:pt x="696" y="680"/>
                    <a:pt x="691" y="650"/>
                  </a:cubicBezTo>
                  <a:lnTo>
                    <a:pt x="691" y="650"/>
                  </a:lnTo>
                  <a:cubicBezTo>
                    <a:pt x="753" y="589"/>
                    <a:pt x="818" y="531"/>
                    <a:pt x="882" y="474"/>
                  </a:cubicBezTo>
                  <a:lnTo>
                    <a:pt x="882" y="474"/>
                  </a:lnTo>
                  <a:cubicBezTo>
                    <a:pt x="890" y="469"/>
                    <a:pt x="897" y="463"/>
                    <a:pt x="901" y="454"/>
                  </a:cubicBezTo>
                  <a:lnTo>
                    <a:pt x="901" y="454"/>
                  </a:lnTo>
                  <a:cubicBezTo>
                    <a:pt x="906" y="443"/>
                    <a:pt x="904" y="432"/>
                    <a:pt x="898" y="421"/>
                  </a:cubicBezTo>
                  <a:lnTo>
                    <a:pt x="898" y="421"/>
                  </a:lnTo>
                  <a:cubicBezTo>
                    <a:pt x="891" y="409"/>
                    <a:pt x="877" y="407"/>
                    <a:pt x="864" y="407"/>
                  </a:cubicBezTo>
                  <a:lnTo>
                    <a:pt x="864" y="407"/>
                  </a:lnTo>
                  <a:cubicBezTo>
                    <a:pt x="856" y="406"/>
                    <a:pt x="847" y="406"/>
                    <a:pt x="838" y="406"/>
                  </a:cubicBezTo>
                  <a:lnTo>
                    <a:pt x="838" y="406"/>
                  </a:lnTo>
                  <a:cubicBezTo>
                    <a:pt x="818" y="405"/>
                    <a:pt x="798" y="407"/>
                    <a:pt x="779" y="408"/>
                  </a:cubicBezTo>
                  <a:lnTo>
                    <a:pt x="779" y="408"/>
                  </a:lnTo>
                  <a:cubicBezTo>
                    <a:pt x="740" y="411"/>
                    <a:pt x="702" y="415"/>
                    <a:pt x="665" y="419"/>
                  </a:cubicBezTo>
                  <a:lnTo>
                    <a:pt x="665" y="419"/>
                  </a:lnTo>
                  <a:cubicBezTo>
                    <a:pt x="660" y="420"/>
                    <a:pt x="655" y="420"/>
                    <a:pt x="651" y="420"/>
                  </a:cubicBezTo>
                  <a:lnTo>
                    <a:pt x="651" y="420"/>
                  </a:lnTo>
                  <a:cubicBezTo>
                    <a:pt x="648" y="405"/>
                    <a:pt x="644" y="390"/>
                    <a:pt x="639" y="374"/>
                  </a:cubicBezTo>
                  <a:lnTo>
                    <a:pt x="639" y="374"/>
                  </a:lnTo>
                  <a:cubicBezTo>
                    <a:pt x="636" y="357"/>
                    <a:pt x="632" y="340"/>
                    <a:pt x="628" y="323"/>
                  </a:cubicBezTo>
                  <a:lnTo>
                    <a:pt x="628" y="323"/>
                  </a:lnTo>
                  <a:cubicBezTo>
                    <a:pt x="621" y="298"/>
                    <a:pt x="614" y="273"/>
                    <a:pt x="608" y="248"/>
                  </a:cubicBezTo>
                  <a:lnTo>
                    <a:pt x="608" y="248"/>
                  </a:lnTo>
                  <a:cubicBezTo>
                    <a:pt x="597" y="206"/>
                    <a:pt x="585" y="164"/>
                    <a:pt x="574" y="121"/>
                  </a:cubicBezTo>
                  <a:lnTo>
                    <a:pt x="574" y="121"/>
                  </a:lnTo>
                  <a:cubicBezTo>
                    <a:pt x="567" y="97"/>
                    <a:pt x="560" y="72"/>
                    <a:pt x="550" y="49"/>
                  </a:cubicBezTo>
                  <a:lnTo>
                    <a:pt x="550" y="49"/>
                  </a:lnTo>
                  <a:cubicBezTo>
                    <a:pt x="542" y="28"/>
                    <a:pt x="527" y="0"/>
                    <a:pt x="502" y="0"/>
                  </a:cubicBezTo>
                  <a:lnTo>
                    <a:pt x="502" y="0"/>
                  </a:lnTo>
                  <a:cubicBezTo>
                    <a:pt x="501" y="0"/>
                    <a:pt x="500" y="0"/>
                    <a:pt x="49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928389"/>
      </p:ext>
    </p:extLst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C362B9-9413-4719-B85F-63AD749EF661}"/>
              </a:ext>
            </a:extLst>
          </p:cNvPr>
          <p:cNvGrpSpPr/>
          <p:nvPr/>
        </p:nvGrpSpPr>
        <p:grpSpPr>
          <a:xfrm>
            <a:off x="7995389" y="3680229"/>
            <a:ext cx="3695520" cy="1572364"/>
            <a:chOff x="7835960" y="1303782"/>
            <a:chExt cx="2895629" cy="1267344"/>
          </a:xfrm>
        </p:grpSpPr>
        <p:sp>
          <p:nvSpPr>
            <p:cNvPr id="154" name="Rounded Rectangle 14">
              <a:extLst>
                <a:ext uri="{FF2B5EF4-FFF2-40B4-BE49-F238E27FC236}">
                  <a16:creationId xmlns:a16="http://schemas.microsoft.com/office/drawing/2014/main" id="{5F7213D1-F085-4FB5-B084-F8B4D9541C5B}"/>
                </a:ext>
              </a:extLst>
            </p:cNvPr>
            <p:cNvSpPr/>
            <p:nvPr/>
          </p:nvSpPr>
          <p:spPr>
            <a:xfrm>
              <a:off x="7835960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2206078-0F0B-4C9E-8F14-D1E0B3A594EF}"/>
                </a:ext>
              </a:extLst>
            </p:cNvPr>
            <p:cNvSpPr txBox="1"/>
            <p:nvPr/>
          </p:nvSpPr>
          <p:spPr>
            <a:xfrm>
              <a:off x="8652384" y="1463130"/>
              <a:ext cx="1866528" cy="11079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GUYÊN TẮC HOẠT ĐỘNG</a:t>
              </a: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488CB114-C616-4802-9AB8-2D0CA78AC819}"/>
                </a:ext>
              </a:extLst>
            </p:cNvPr>
            <p:cNvSpPr/>
            <p:nvPr/>
          </p:nvSpPr>
          <p:spPr>
            <a:xfrm>
              <a:off x="7938239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20A0EAD3-60AF-493E-B5C6-71EB37CC67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3739" y="1622466"/>
              <a:ext cx="303146" cy="306348"/>
              <a:chOff x="7726363" y="2973388"/>
              <a:chExt cx="901700" cy="911225"/>
            </a:xfrm>
            <a:solidFill>
              <a:schemeClr val="bg1"/>
            </a:solidFill>
            <a:effectLst/>
          </p:grpSpPr>
          <p:sp>
            <p:nvSpPr>
              <p:cNvPr id="166" name="Freeform 5">
                <a:extLst>
                  <a:ext uri="{FF2B5EF4-FFF2-40B4-BE49-F238E27FC236}">
                    <a16:creationId xmlns:a16="http://schemas.microsoft.com/office/drawing/2014/main" id="{EB775EF6-B1C4-4043-AF84-DD56B053D6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6363" y="2973388"/>
                <a:ext cx="901700" cy="911225"/>
              </a:xfrm>
              <a:custGeom>
                <a:avLst/>
                <a:gdLst>
                  <a:gd name="T0" fmla="*/ 211 w 240"/>
                  <a:gd name="T1" fmla="*/ 169 h 240"/>
                  <a:gd name="T2" fmla="*/ 156 w 240"/>
                  <a:gd name="T3" fmla="*/ 152 h 240"/>
                  <a:gd name="T4" fmla="*/ 174 w 240"/>
                  <a:gd name="T5" fmla="*/ 118 h 240"/>
                  <a:gd name="T6" fmla="*/ 186 w 240"/>
                  <a:gd name="T7" fmla="*/ 100 h 240"/>
                  <a:gd name="T8" fmla="*/ 184 w 240"/>
                  <a:gd name="T9" fmla="*/ 91 h 240"/>
                  <a:gd name="T10" fmla="*/ 190 w 240"/>
                  <a:gd name="T11" fmla="*/ 55 h 240"/>
                  <a:gd name="T12" fmla="*/ 177 w 240"/>
                  <a:gd name="T13" fmla="*/ 20 h 240"/>
                  <a:gd name="T14" fmla="*/ 120 w 240"/>
                  <a:gd name="T15" fmla="*/ 0 h 240"/>
                  <a:gd name="T16" fmla="*/ 63 w 240"/>
                  <a:gd name="T17" fmla="*/ 20 h 240"/>
                  <a:gd name="T18" fmla="*/ 50 w 240"/>
                  <a:gd name="T19" fmla="*/ 55 h 240"/>
                  <a:gd name="T20" fmla="*/ 56 w 240"/>
                  <a:gd name="T21" fmla="*/ 91 h 240"/>
                  <a:gd name="T22" fmla="*/ 54 w 240"/>
                  <a:gd name="T23" fmla="*/ 100 h 240"/>
                  <a:gd name="T24" fmla="*/ 66 w 240"/>
                  <a:gd name="T25" fmla="*/ 118 h 240"/>
                  <a:gd name="T26" fmla="*/ 84 w 240"/>
                  <a:gd name="T27" fmla="*/ 153 h 240"/>
                  <a:gd name="T28" fmla="*/ 29 w 240"/>
                  <a:gd name="T29" fmla="*/ 169 h 240"/>
                  <a:gd name="T30" fmla="*/ 0 w 240"/>
                  <a:gd name="T31" fmla="*/ 212 h 240"/>
                  <a:gd name="T32" fmla="*/ 0 w 240"/>
                  <a:gd name="T33" fmla="*/ 240 h 240"/>
                  <a:gd name="T34" fmla="*/ 240 w 240"/>
                  <a:gd name="T35" fmla="*/ 240 h 240"/>
                  <a:gd name="T36" fmla="*/ 240 w 240"/>
                  <a:gd name="T37" fmla="*/ 212 h 240"/>
                  <a:gd name="T38" fmla="*/ 211 w 240"/>
                  <a:gd name="T39" fmla="*/ 169 h 240"/>
                  <a:gd name="T40" fmla="*/ 120 w 240"/>
                  <a:gd name="T41" fmla="*/ 161 h 240"/>
                  <a:gd name="T42" fmla="*/ 74 w 240"/>
                  <a:gd name="T43" fmla="*/ 115 h 240"/>
                  <a:gd name="T44" fmla="*/ 70 w 240"/>
                  <a:gd name="T45" fmla="*/ 111 h 240"/>
                  <a:gd name="T46" fmla="*/ 62 w 240"/>
                  <a:gd name="T47" fmla="*/ 100 h 240"/>
                  <a:gd name="T48" fmla="*/ 70 w 240"/>
                  <a:gd name="T49" fmla="*/ 89 h 240"/>
                  <a:gd name="T50" fmla="*/ 73 w 240"/>
                  <a:gd name="T51" fmla="*/ 85 h 240"/>
                  <a:gd name="T52" fmla="*/ 78 w 240"/>
                  <a:gd name="T53" fmla="*/ 63 h 240"/>
                  <a:gd name="T54" fmla="*/ 120 w 240"/>
                  <a:gd name="T55" fmla="*/ 46 h 240"/>
                  <a:gd name="T56" fmla="*/ 162 w 240"/>
                  <a:gd name="T57" fmla="*/ 63 h 240"/>
                  <a:gd name="T58" fmla="*/ 167 w 240"/>
                  <a:gd name="T59" fmla="*/ 85 h 240"/>
                  <a:gd name="T60" fmla="*/ 170 w 240"/>
                  <a:gd name="T61" fmla="*/ 89 h 240"/>
                  <a:gd name="T62" fmla="*/ 178 w 240"/>
                  <a:gd name="T63" fmla="*/ 100 h 240"/>
                  <a:gd name="T64" fmla="*/ 170 w 240"/>
                  <a:gd name="T65" fmla="*/ 111 h 240"/>
                  <a:gd name="T66" fmla="*/ 166 w 240"/>
                  <a:gd name="T67" fmla="*/ 115 h 240"/>
                  <a:gd name="T68" fmla="*/ 120 w 240"/>
                  <a:gd name="T69" fmla="*/ 16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0" h="240">
                    <a:moveTo>
                      <a:pt x="211" y="169"/>
                    </a:moveTo>
                    <a:cubicBezTo>
                      <a:pt x="156" y="152"/>
                      <a:pt x="156" y="152"/>
                      <a:pt x="156" y="152"/>
                    </a:cubicBezTo>
                    <a:cubicBezTo>
                      <a:pt x="165" y="144"/>
                      <a:pt x="173" y="132"/>
                      <a:pt x="174" y="118"/>
                    </a:cubicBezTo>
                    <a:cubicBezTo>
                      <a:pt x="182" y="116"/>
                      <a:pt x="186" y="108"/>
                      <a:pt x="186" y="100"/>
                    </a:cubicBezTo>
                    <a:cubicBezTo>
                      <a:pt x="186" y="97"/>
                      <a:pt x="185" y="94"/>
                      <a:pt x="184" y="91"/>
                    </a:cubicBezTo>
                    <a:cubicBezTo>
                      <a:pt x="190" y="55"/>
                      <a:pt x="190" y="55"/>
                      <a:pt x="190" y="55"/>
                    </a:cubicBezTo>
                    <a:cubicBezTo>
                      <a:pt x="190" y="54"/>
                      <a:pt x="191" y="35"/>
                      <a:pt x="177" y="20"/>
                    </a:cubicBezTo>
                    <a:cubicBezTo>
                      <a:pt x="165" y="7"/>
                      <a:pt x="146" y="0"/>
                      <a:pt x="120" y="0"/>
                    </a:cubicBezTo>
                    <a:cubicBezTo>
                      <a:pt x="94" y="0"/>
                      <a:pt x="75" y="7"/>
                      <a:pt x="63" y="20"/>
                    </a:cubicBezTo>
                    <a:cubicBezTo>
                      <a:pt x="49" y="35"/>
                      <a:pt x="50" y="54"/>
                      <a:pt x="50" y="55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5" y="94"/>
                      <a:pt x="54" y="97"/>
                      <a:pt x="54" y="100"/>
                    </a:cubicBezTo>
                    <a:cubicBezTo>
                      <a:pt x="54" y="108"/>
                      <a:pt x="58" y="116"/>
                      <a:pt x="66" y="118"/>
                    </a:cubicBezTo>
                    <a:cubicBezTo>
                      <a:pt x="67" y="132"/>
                      <a:pt x="75" y="144"/>
                      <a:pt x="84" y="153"/>
                    </a:cubicBezTo>
                    <a:cubicBezTo>
                      <a:pt x="29" y="169"/>
                      <a:pt x="29" y="169"/>
                      <a:pt x="29" y="169"/>
                    </a:cubicBezTo>
                    <a:cubicBezTo>
                      <a:pt x="12" y="176"/>
                      <a:pt x="0" y="193"/>
                      <a:pt x="0" y="212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240" y="240"/>
                      <a:pt x="240" y="240"/>
                      <a:pt x="240" y="240"/>
                    </a:cubicBezTo>
                    <a:cubicBezTo>
                      <a:pt x="240" y="212"/>
                      <a:pt x="240" y="212"/>
                      <a:pt x="240" y="212"/>
                    </a:cubicBezTo>
                    <a:cubicBezTo>
                      <a:pt x="240" y="193"/>
                      <a:pt x="228" y="176"/>
                      <a:pt x="211" y="169"/>
                    </a:cubicBezTo>
                    <a:close/>
                    <a:moveTo>
                      <a:pt x="120" y="161"/>
                    </a:moveTo>
                    <a:cubicBezTo>
                      <a:pt x="107" y="161"/>
                      <a:pt x="74" y="143"/>
                      <a:pt x="74" y="115"/>
                    </a:cubicBezTo>
                    <a:cubicBezTo>
                      <a:pt x="74" y="113"/>
                      <a:pt x="72" y="111"/>
                      <a:pt x="70" y="111"/>
                    </a:cubicBezTo>
                    <a:cubicBezTo>
                      <a:pt x="64" y="111"/>
                      <a:pt x="62" y="104"/>
                      <a:pt x="62" y="100"/>
                    </a:cubicBezTo>
                    <a:cubicBezTo>
                      <a:pt x="62" y="96"/>
                      <a:pt x="64" y="89"/>
                      <a:pt x="70" y="89"/>
                    </a:cubicBezTo>
                    <a:cubicBezTo>
                      <a:pt x="71" y="89"/>
                      <a:pt x="73" y="87"/>
                      <a:pt x="73" y="85"/>
                    </a:cubicBezTo>
                    <a:cubicBezTo>
                      <a:pt x="78" y="63"/>
                      <a:pt x="78" y="63"/>
                      <a:pt x="78" y="63"/>
                    </a:cubicBezTo>
                    <a:cubicBezTo>
                      <a:pt x="108" y="63"/>
                      <a:pt x="116" y="53"/>
                      <a:pt x="120" y="46"/>
                    </a:cubicBezTo>
                    <a:cubicBezTo>
                      <a:pt x="124" y="53"/>
                      <a:pt x="132" y="63"/>
                      <a:pt x="162" y="63"/>
                    </a:cubicBezTo>
                    <a:cubicBezTo>
                      <a:pt x="167" y="85"/>
                      <a:pt x="167" y="85"/>
                      <a:pt x="167" y="85"/>
                    </a:cubicBezTo>
                    <a:cubicBezTo>
                      <a:pt x="167" y="87"/>
                      <a:pt x="169" y="89"/>
                      <a:pt x="170" y="89"/>
                    </a:cubicBezTo>
                    <a:cubicBezTo>
                      <a:pt x="176" y="89"/>
                      <a:pt x="178" y="96"/>
                      <a:pt x="178" y="100"/>
                    </a:cubicBezTo>
                    <a:cubicBezTo>
                      <a:pt x="178" y="104"/>
                      <a:pt x="176" y="111"/>
                      <a:pt x="170" y="111"/>
                    </a:cubicBezTo>
                    <a:cubicBezTo>
                      <a:pt x="168" y="111"/>
                      <a:pt x="166" y="113"/>
                      <a:pt x="166" y="115"/>
                    </a:cubicBezTo>
                    <a:cubicBezTo>
                      <a:pt x="166" y="143"/>
                      <a:pt x="133" y="161"/>
                      <a:pt x="120" y="1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 6">
                <a:extLst>
                  <a:ext uri="{FF2B5EF4-FFF2-40B4-BE49-F238E27FC236}">
                    <a16:creationId xmlns:a16="http://schemas.microsoft.com/office/drawing/2014/main" id="{4D650748-4605-4B1B-83B7-C466D578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0213" y="3300413"/>
                <a:ext cx="104775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" name="Freeform 7">
                <a:extLst>
                  <a:ext uri="{FF2B5EF4-FFF2-40B4-BE49-F238E27FC236}">
                    <a16:creationId xmlns:a16="http://schemas.microsoft.com/office/drawing/2014/main" id="{1E49EC8F-0686-4491-81EB-687BBFC92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9438" y="330041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3 w 28"/>
                  <a:gd name="T17" fmla="*/ 8 h 13"/>
                  <a:gd name="T18" fmla="*/ 14 w 28"/>
                  <a:gd name="T19" fmla="*/ 8 h 13"/>
                  <a:gd name="T20" fmla="*/ 16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D7E8136B-D384-4EFB-9920-DA4C8AD849E7}"/>
              </a:ext>
            </a:extLst>
          </p:cNvPr>
          <p:cNvGrpSpPr/>
          <p:nvPr/>
        </p:nvGrpSpPr>
        <p:grpSpPr>
          <a:xfrm>
            <a:off x="923925" y="3654010"/>
            <a:ext cx="3432115" cy="1241839"/>
            <a:chOff x="4653027" y="1303782"/>
            <a:chExt cx="2895629" cy="943716"/>
          </a:xfrm>
        </p:grpSpPr>
        <p:sp>
          <p:nvSpPr>
            <p:cNvPr id="182" name="Rounded Rectangle 14">
              <a:extLst>
                <a:ext uri="{FF2B5EF4-FFF2-40B4-BE49-F238E27FC236}">
                  <a16:creationId xmlns:a16="http://schemas.microsoft.com/office/drawing/2014/main" id="{6F1219D3-B844-435B-A819-1C766AAFD608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2FBAC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C2108D43-C505-44D0-A815-368FB29E5E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88" name="Freeform 8">
                <a:extLst>
                  <a:ext uri="{FF2B5EF4-FFF2-40B4-BE49-F238E27FC236}">
                    <a16:creationId xmlns:a16="http://schemas.microsoft.com/office/drawing/2014/main" id="{AB19D347-4B48-4EC0-931A-936D54FA7D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9" name="Freeform 9">
                <a:extLst>
                  <a:ext uri="{FF2B5EF4-FFF2-40B4-BE49-F238E27FC236}">
                    <a16:creationId xmlns:a16="http://schemas.microsoft.com/office/drawing/2014/main" id="{FF34BBCE-F480-43D7-869B-E496456BB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0" name="Freeform 10">
                <a:extLst>
                  <a:ext uri="{FF2B5EF4-FFF2-40B4-BE49-F238E27FC236}">
                    <a16:creationId xmlns:a16="http://schemas.microsoft.com/office/drawing/2014/main" id="{9F0CFFD9-FE89-4CFB-9BE1-8B0B56940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11">
                <a:extLst>
                  <a:ext uri="{FF2B5EF4-FFF2-40B4-BE49-F238E27FC236}">
                    <a16:creationId xmlns:a16="http://schemas.microsoft.com/office/drawing/2014/main" id="{5C433EB8-E328-4CC8-B792-ECE4BBA3E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2">
                <a:extLst>
                  <a:ext uri="{FF2B5EF4-FFF2-40B4-BE49-F238E27FC236}">
                    <a16:creationId xmlns:a16="http://schemas.microsoft.com/office/drawing/2014/main" id="{5D71564D-BAC5-44AD-8B97-EA078C506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56D06CFA-2BC3-4026-A5B1-DF03301C74EB}"/>
                </a:ext>
              </a:extLst>
            </p:cNvPr>
            <p:cNvSpPr txBox="1"/>
            <p:nvPr/>
          </p:nvSpPr>
          <p:spPr>
            <a:xfrm>
              <a:off x="5443018" y="1659034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HÁI NIỆM</a:t>
              </a: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63D02AB1-6A9E-4722-BB4D-50B47056322A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479BA7E-2C6E-4804-A89B-95E6AB9508DE}"/>
              </a:ext>
            </a:extLst>
          </p:cNvPr>
          <p:cNvGrpSpPr/>
          <p:nvPr/>
        </p:nvGrpSpPr>
        <p:grpSpPr>
          <a:xfrm>
            <a:off x="4465578" y="3671371"/>
            <a:ext cx="3270527" cy="1241838"/>
            <a:chOff x="4653027" y="1303782"/>
            <a:chExt cx="2895629" cy="943716"/>
          </a:xfrm>
        </p:grpSpPr>
        <p:sp>
          <p:nvSpPr>
            <p:cNvPr id="170" name="Rounded Rectangle 14">
              <a:extLst>
                <a:ext uri="{FF2B5EF4-FFF2-40B4-BE49-F238E27FC236}">
                  <a16:creationId xmlns:a16="http://schemas.microsoft.com/office/drawing/2014/main" id="{C8C94F41-EA15-4CE0-83EE-726F6771940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8DE0ADBD-0751-48E8-8342-7180373292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76" name="Freeform 8">
                <a:extLst>
                  <a:ext uri="{FF2B5EF4-FFF2-40B4-BE49-F238E27FC236}">
                    <a16:creationId xmlns:a16="http://schemas.microsoft.com/office/drawing/2014/main" id="{74377EA4-6553-4EB4-AE1E-9B6F9FF6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9">
                <a:extLst>
                  <a:ext uri="{FF2B5EF4-FFF2-40B4-BE49-F238E27FC236}">
                    <a16:creationId xmlns:a16="http://schemas.microsoft.com/office/drawing/2014/main" id="{8AF75998-E744-4706-9C52-53EF0B1C7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" name="Freeform 10">
                <a:extLst>
                  <a:ext uri="{FF2B5EF4-FFF2-40B4-BE49-F238E27FC236}">
                    <a16:creationId xmlns:a16="http://schemas.microsoft.com/office/drawing/2014/main" id="{F04D0BA6-F526-4A3E-9DB4-818BDE15B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11">
                <a:extLst>
                  <a:ext uri="{FF2B5EF4-FFF2-40B4-BE49-F238E27FC236}">
                    <a16:creationId xmlns:a16="http://schemas.microsoft.com/office/drawing/2014/main" id="{2219B4BB-9A08-488F-8DAA-B83260D61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12">
                <a:extLst>
                  <a:ext uri="{FF2B5EF4-FFF2-40B4-BE49-F238E27FC236}">
                    <a16:creationId xmlns:a16="http://schemas.microsoft.com/office/drawing/2014/main" id="{27FB9CB2-CAEB-4CAC-8A34-A784DA40C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8524D28B-9480-43A7-98A1-3CBFAEE099D9}"/>
                </a:ext>
              </a:extLst>
            </p:cNvPr>
            <p:cNvSpPr txBox="1"/>
            <p:nvPr/>
          </p:nvSpPr>
          <p:spPr>
            <a:xfrm>
              <a:off x="5463801" y="1645840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ÂN LOẠI</a:t>
              </a: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BF78E02-459D-419E-811B-9B2E27578ABC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3F6E8E-C9BA-4BFE-A4BB-59F7E5ED8353}"/>
              </a:ext>
            </a:extLst>
          </p:cNvPr>
          <p:cNvGrpSpPr/>
          <p:nvPr/>
        </p:nvGrpSpPr>
        <p:grpSpPr>
          <a:xfrm>
            <a:off x="4653027" y="2370582"/>
            <a:ext cx="2895629" cy="943716"/>
            <a:chOff x="4653027" y="1303782"/>
            <a:chExt cx="2895629" cy="943716"/>
          </a:xfrm>
        </p:grpSpPr>
        <p:sp>
          <p:nvSpPr>
            <p:cNvPr id="44" name="Rounded Rectangle 14">
              <a:extLst>
                <a:ext uri="{FF2B5EF4-FFF2-40B4-BE49-F238E27FC236}">
                  <a16:creationId xmlns:a16="http://schemas.microsoft.com/office/drawing/2014/main" id="{4CFD9C26-843A-490C-BCDF-BB046B67401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BA496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5A7C927-A92F-4DE4-A0F2-36569544EC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id="{00D85DCC-2A48-4E02-BFD2-EE593079D6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EA4C538A-54ED-4A5A-9367-FF7D02A7A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id="{11F7EFD0-895E-4213-AF31-FDEE9EBA2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>
                <a:extLst>
                  <a:ext uri="{FF2B5EF4-FFF2-40B4-BE49-F238E27FC236}">
                    <a16:creationId xmlns:a16="http://schemas.microsoft.com/office/drawing/2014/main" id="{98DCF8B5-017B-482C-9730-BC98D0B1E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>
                <a:extLst>
                  <a:ext uri="{FF2B5EF4-FFF2-40B4-BE49-F238E27FC236}">
                    <a16:creationId xmlns:a16="http://schemas.microsoft.com/office/drawing/2014/main" id="{79A58072-A99C-406D-B69E-078BAAEA9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02611F1-467A-4E15-9797-DD254BFD1E8D}"/>
                </a:ext>
              </a:extLst>
            </p:cNvPr>
            <p:cNvSpPr txBox="1"/>
            <p:nvPr/>
          </p:nvSpPr>
          <p:spPr>
            <a:xfrm>
              <a:off x="5435821" y="1559481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ẢM BIẾN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D866698-C20A-48D6-99EC-88B36AD41DAE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B3B9B0-4341-4598-9F6C-C61EE156135C}"/>
              </a:ext>
            </a:extLst>
          </p:cNvPr>
          <p:cNvGrpSpPr/>
          <p:nvPr/>
        </p:nvGrpSpPr>
        <p:grpSpPr>
          <a:xfrm>
            <a:off x="197699" y="177800"/>
            <a:ext cx="11796602" cy="615101"/>
            <a:chOff x="197699" y="177800"/>
            <a:chExt cx="11796602" cy="615101"/>
          </a:xfrm>
        </p:grpSpPr>
        <p:sp>
          <p:nvSpPr>
            <p:cNvPr id="14" name="Half Frame 13">
              <a:extLst>
                <a:ext uri="{FF2B5EF4-FFF2-40B4-BE49-F238E27FC236}">
                  <a16:creationId xmlns:a16="http://schemas.microsoft.com/office/drawing/2014/main" id="{F29B2B6A-AB41-45D2-95CD-5A3902C2A1AB}"/>
                </a:ext>
              </a:extLst>
            </p:cNvPr>
            <p:cNvSpPr/>
            <p:nvPr/>
          </p:nvSpPr>
          <p:spPr>
            <a:xfrm>
              <a:off x="197699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Half Frame 14">
              <a:extLst>
                <a:ext uri="{FF2B5EF4-FFF2-40B4-BE49-F238E27FC236}">
                  <a16:creationId xmlns:a16="http://schemas.microsoft.com/office/drawing/2014/main" id="{0B479F6D-09AF-4941-8C01-980B453DBED4}"/>
                </a:ext>
              </a:extLst>
            </p:cNvPr>
            <p:cNvSpPr/>
            <p:nvPr/>
          </p:nvSpPr>
          <p:spPr>
            <a:xfrm flipH="1">
              <a:off x="11379200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8EDF39-4C88-48E7-B243-DDB03AA8E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19944-944D-4CCD-B088-42500AB2AC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7EFFDC-D8E5-4D19-9612-FA9E5CC84444}"/>
              </a:ext>
            </a:extLst>
          </p:cNvPr>
          <p:cNvSpPr txBox="1"/>
          <p:nvPr/>
        </p:nvSpPr>
        <p:spPr>
          <a:xfrm>
            <a:off x="812801" y="313492"/>
            <a:ext cx="105664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Segoe UI Semibold" panose="020B0702040204020203" pitchFamily="34" charset="0"/>
              </a:rPr>
              <a:t>BÀI 7. CẢM BIẾN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A1A27EA-62B9-4E7B-8F9D-37BBF3C7581B}"/>
              </a:ext>
            </a:extLst>
          </p:cNvPr>
          <p:cNvCxnSpPr>
            <a:cxnSpLocks/>
            <a:stCxn id="44" idx="2"/>
            <a:endCxn id="170" idx="0"/>
          </p:cNvCxnSpPr>
          <p:nvPr/>
        </p:nvCxnSpPr>
        <p:spPr>
          <a:xfrm>
            <a:off x="6100842" y="3314298"/>
            <a:ext cx="0" cy="35707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B740D1D-CBD9-47BE-97E7-D3488911157A}"/>
              </a:ext>
            </a:extLst>
          </p:cNvPr>
          <p:cNvCxnSpPr>
            <a:cxnSpLocks/>
            <a:stCxn id="44" idx="1"/>
            <a:endCxn id="182" idx="0"/>
          </p:cNvCxnSpPr>
          <p:nvPr/>
        </p:nvCxnSpPr>
        <p:spPr>
          <a:xfrm rot="10800000" flipV="1">
            <a:off x="2639983" y="2842440"/>
            <a:ext cx="2013044" cy="81157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C8E3917-EB2A-0076-C81C-26A80328F6BB}"/>
              </a:ext>
            </a:extLst>
          </p:cNvPr>
          <p:cNvCxnSpPr>
            <a:stCxn id="44" idx="3"/>
            <a:endCxn id="154" idx="0"/>
          </p:cNvCxnSpPr>
          <p:nvPr/>
        </p:nvCxnSpPr>
        <p:spPr>
          <a:xfrm>
            <a:off x="7548656" y="2842440"/>
            <a:ext cx="2294493" cy="83778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303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  <a:latin typeface="Abhaya Libre"/>
              </a:rPr>
              <a:t>I. KHÁI NIỆM VÀ PHÂN LOẠI CẢM BIẾN</a:t>
            </a:r>
            <a:endParaRPr lang="vi-VN" sz="32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224876" y="1572717"/>
            <a:ext cx="11674850" cy="2147514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88724" y="1960663"/>
            <a:ext cx="111747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là</a:t>
            </a:r>
            <a:r>
              <a:rPr lang="en-US" sz="2800" dirty="0"/>
              <a:t> </a:t>
            </a:r>
            <a:r>
              <a:rPr lang="en-US" sz="2800" dirty="0" err="1"/>
              <a:t>thiết</a:t>
            </a:r>
            <a:r>
              <a:rPr lang="en-US" sz="2800" dirty="0"/>
              <a:t> </a:t>
            </a:r>
            <a:r>
              <a:rPr lang="en-US" sz="2800" dirty="0" err="1"/>
              <a:t>bị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tử</a:t>
            </a:r>
            <a:r>
              <a:rPr lang="en-US" sz="2800" dirty="0"/>
              <a:t> </a:t>
            </a:r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nhận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vật</a:t>
            </a:r>
            <a:r>
              <a:rPr lang="en-US" sz="2800" dirty="0"/>
              <a:t> </a:t>
            </a:r>
            <a:r>
              <a:rPr lang="en-US" sz="2800" dirty="0" err="1"/>
              <a:t>lí</a:t>
            </a:r>
            <a:r>
              <a:rPr lang="en-US" sz="2800" dirty="0"/>
              <a:t>, </a:t>
            </a:r>
            <a:r>
              <a:rPr lang="en-US" sz="2800" dirty="0" err="1"/>
              <a:t>hóa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, </a:t>
            </a:r>
            <a:r>
              <a:rPr lang="en-US" sz="2800" dirty="0" err="1"/>
              <a:t>sinh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đổi</a:t>
            </a:r>
            <a:r>
              <a:rPr lang="en-US" sz="2800" dirty="0"/>
              <a:t> </a:t>
            </a:r>
            <a:r>
              <a:rPr lang="en-US" sz="2800" dirty="0" err="1"/>
              <a:t>thành</a:t>
            </a:r>
            <a:r>
              <a:rPr lang="en-US" sz="2800" dirty="0"/>
              <a:t> </a:t>
            </a:r>
            <a:r>
              <a:rPr lang="en-US" sz="2800" dirty="0" err="1"/>
              <a:t>tín</a:t>
            </a:r>
            <a:r>
              <a:rPr lang="en-US" sz="2800" dirty="0"/>
              <a:t> </a:t>
            </a:r>
            <a:r>
              <a:rPr lang="en-US" sz="2800" dirty="0" err="1"/>
              <a:t>hiệu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để</a:t>
            </a:r>
            <a:r>
              <a:rPr lang="en-US" sz="2800" dirty="0"/>
              <a:t> </a:t>
            </a:r>
            <a:r>
              <a:rPr lang="en-US" sz="2800" dirty="0" err="1"/>
              <a:t>thu</a:t>
            </a:r>
            <a:r>
              <a:rPr lang="en-US" sz="2800" dirty="0"/>
              <a:t> </a:t>
            </a:r>
            <a:r>
              <a:rPr lang="en-US" sz="2800" dirty="0" err="1"/>
              <a:t>thập</a:t>
            </a:r>
            <a:r>
              <a:rPr lang="en-US" sz="2800" dirty="0"/>
              <a:t> </a:t>
            </a:r>
            <a:r>
              <a:rPr lang="en-US" sz="2800" dirty="0" err="1"/>
              <a:t>thông</a:t>
            </a:r>
            <a:r>
              <a:rPr lang="en-US" sz="2800" dirty="0"/>
              <a:t> tin </a:t>
            </a:r>
            <a:r>
              <a:rPr lang="en-US" sz="2800" dirty="0" err="1"/>
              <a:t>về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đó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84615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4516015" y="71396"/>
            <a:ext cx="2333601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ân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oại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7F5F740-C144-D3B9-8A8B-29921F70D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354382"/>
              </p:ext>
            </p:extLst>
          </p:nvPr>
        </p:nvGraphicFramePr>
        <p:xfrm>
          <a:off x="111966" y="649869"/>
          <a:ext cx="13221479" cy="5990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BBD994E0-0820-1E0E-14F4-5DA6A5F89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9321" y="372090"/>
            <a:ext cx="3185662" cy="94177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3B56B0E-2246-0CC5-7684-55B7A7CA13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7367" y="1398463"/>
            <a:ext cx="4000847" cy="92972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F865F5C-42CE-2E7E-1D1D-FB251001B8DA}"/>
              </a:ext>
            </a:extLst>
          </p:cNvPr>
          <p:cNvGrpSpPr/>
          <p:nvPr/>
        </p:nvGrpSpPr>
        <p:grpSpPr>
          <a:xfrm>
            <a:off x="10562251" y="2814212"/>
            <a:ext cx="1517781" cy="1405535"/>
            <a:chOff x="10235181" y="2814213"/>
            <a:chExt cx="1863381" cy="164774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0FF7E5-ACF6-0759-980A-E074DDD65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235181" y="2814213"/>
              <a:ext cx="1763485" cy="1172317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F5C0CB7-C476-51C8-94E6-340ACACD4760}"/>
                </a:ext>
              </a:extLst>
            </p:cNvPr>
            <p:cNvSpPr txBox="1"/>
            <p:nvPr/>
          </p:nvSpPr>
          <p:spPr>
            <a:xfrm>
              <a:off x="10235181" y="4065059"/>
              <a:ext cx="1863381" cy="396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PH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0478456-ECB1-224B-EC61-BC3FC4C545F9}"/>
              </a:ext>
            </a:extLst>
          </p:cNvPr>
          <p:cNvGrpSpPr/>
          <p:nvPr/>
        </p:nvGrpSpPr>
        <p:grpSpPr>
          <a:xfrm>
            <a:off x="7928310" y="2599507"/>
            <a:ext cx="2025120" cy="1311597"/>
            <a:chOff x="7928310" y="2599507"/>
            <a:chExt cx="2025120" cy="1311597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36BF1A2-1518-CD9F-EFAE-484A0029E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023949" y="2599507"/>
              <a:ext cx="1833842" cy="1029118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FA3894D-2C35-A348-5A8C-DCE40D6D6A13}"/>
                </a:ext>
              </a:extLst>
            </p:cNvPr>
            <p:cNvSpPr txBox="1"/>
            <p:nvPr/>
          </p:nvSpPr>
          <p:spPr>
            <a:xfrm>
              <a:off x="7928310" y="3572550"/>
              <a:ext cx="2025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oxi</a:t>
              </a:r>
              <a:r>
                <a:rPr lang="en-US" sz="1600" dirty="0"/>
                <a:t> </a:t>
              </a:r>
              <a:r>
                <a:rPr lang="en-US" sz="1600" dirty="0" err="1"/>
                <a:t>máu</a:t>
              </a:r>
              <a:endParaRPr lang="en-US" sz="1600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108874F-49B4-A610-29B1-CDB5D70131B2}"/>
              </a:ext>
            </a:extLst>
          </p:cNvPr>
          <p:cNvGrpSpPr/>
          <p:nvPr/>
        </p:nvGrpSpPr>
        <p:grpSpPr>
          <a:xfrm>
            <a:off x="7928310" y="4005574"/>
            <a:ext cx="1833842" cy="1636849"/>
            <a:chOff x="7928310" y="4005574"/>
            <a:chExt cx="1833842" cy="1636849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512C86C-6825-65B9-06C0-20903A42B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28310" y="4005574"/>
              <a:ext cx="1833842" cy="1298295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90F4192-242B-9070-A428-65E8452658CB}"/>
                </a:ext>
              </a:extLst>
            </p:cNvPr>
            <p:cNvSpPr txBox="1"/>
            <p:nvPr/>
          </p:nvSpPr>
          <p:spPr>
            <a:xfrm>
              <a:off x="7928310" y="5303869"/>
              <a:ext cx="183384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khói</a:t>
              </a:r>
              <a:endParaRPr lang="en-US" sz="1600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136152F-B4FF-28EC-D6FB-0D2E6E0C882D}"/>
              </a:ext>
            </a:extLst>
          </p:cNvPr>
          <p:cNvGrpSpPr/>
          <p:nvPr/>
        </p:nvGrpSpPr>
        <p:grpSpPr>
          <a:xfrm>
            <a:off x="10323825" y="4306864"/>
            <a:ext cx="1756207" cy="2345647"/>
            <a:chOff x="10323825" y="4306864"/>
            <a:chExt cx="1756207" cy="2345647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307B708-EA13-D5B8-1A15-1B280FDD2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23825" y="4306864"/>
              <a:ext cx="1756207" cy="1756207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C9A5B46-3845-E625-B998-AB2894D40316}"/>
                </a:ext>
              </a:extLst>
            </p:cNvPr>
            <p:cNvSpPr txBox="1"/>
            <p:nvPr/>
          </p:nvSpPr>
          <p:spPr>
            <a:xfrm>
              <a:off x="10323825" y="6067736"/>
              <a:ext cx="17562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độ</a:t>
              </a:r>
              <a:r>
                <a:rPr lang="en-US" sz="1600" dirty="0"/>
                <a:t> </a:t>
              </a:r>
              <a:r>
                <a:rPr lang="en-US" sz="1600" dirty="0" err="1"/>
                <a:t>ẩm</a:t>
              </a:r>
              <a:r>
                <a:rPr lang="en-US" sz="1600" dirty="0"/>
                <a:t> </a:t>
              </a:r>
              <a:r>
                <a:rPr lang="en-US" sz="1600" dirty="0" err="1"/>
                <a:t>đất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4892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009F093-E4BD-4648-B182-3D088C5AD7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D92BB5F-7A22-479A-8E4F-7F74B41A7D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B758390-B5F0-471B-A598-F2EA7FE78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AC2AB6F-F213-4ADF-B92D-32AD484335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DDBDD1-CF83-494D-894F-6880C2D1A7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34B3B74-7006-401E-8196-8B4D88A107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010BE2A-D30E-4C61-B395-834D194CA7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422C1E-5D75-4CAB-987F-169DFF25D58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36A4956-C567-4A65-BE49-ECCDEB6674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2C90DAF-827F-4305-ABBF-900B3C60FD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72F36CC-95FD-47E1-84D8-BB35AD9026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6F589A2-C869-4FDD-9F13-DD0AB298EE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5F87995-9438-4A28-B276-99BA28F0E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D5AB20-F169-4710-B137-5762279459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D79924C-5A2B-403D-9075-C8164C3720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7AB0CFD-7036-41CE-B618-B6E5DB3CB8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5DA46AE-C83A-4CC3-A7D0-23A04927D6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6105C51-DAF6-418F-BDF8-33E1629D70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5AB3036-76EC-4A10-8347-DBC2F7417D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DAAA332-8291-41B4-9747-D0D8E0453E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CF8CB4E-235E-49F1-82FC-E50ABCF1C2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98A2477-3956-4745-B81F-52E9119B82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1B723CF-9090-4960-826E-9E461027B3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EA0893E-3951-4B29-A113-869D084482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FA06B25-175B-4202-8BFF-4182A0ADC6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40F3061-EE04-452A-8A43-30EE3204C9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16AABA0-9BE1-4CD6-B17B-9B4879AB14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Sub>
          <a:bldDgm bld="lvl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694694"/>
            <a:ext cx="11932170" cy="2002399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472442" y="4835045"/>
            <a:ext cx="110794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Quang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phụ</a:t>
            </a:r>
            <a:r>
              <a:rPr lang="en-US" sz="2400" dirty="0"/>
              <a:t> </a:t>
            </a:r>
            <a:r>
              <a:rPr lang="en-US" sz="2400" dirty="0" err="1"/>
              <a:t>thuộc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endParaRPr lang="en-US" sz="2400" dirty="0"/>
          </a:p>
          <a:p>
            <a:r>
              <a:rPr lang="en-US" sz="2400" dirty="0"/>
              <a:t>- Khi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bước</a:t>
            </a:r>
            <a:r>
              <a:rPr lang="en-US" sz="2400" dirty="0"/>
              <a:t> </a:t>
            </a:r>
            <a:r>
              <a:rPr lang="en-US" sz="2400" dirty="0" err="1"/>
              <a:t>sóng</a:t>
            </a:r>
            <a:r>
              <a:rPr lang="en-US" sz="2400" dirty="0"/>
              <a:t> </a:t>
            </a:r>
            <a:r>
              <a:rPr lang="en-US" sz="2400" dirty="0" err="1"/>
              <a:t>thích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,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số</a:t>
            </a:r>
            <a:r>
              <a:rPr lang="en-US" sz="2400" dirty="0"/>
              <a:t> electron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bứt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khỏi</a:t>
            </a:r>
            <a:r>
              <a:rPr lang="en-US" sz="2400" dirty="0"/>
              <a:t> </a:t>
            </a:r>
            <a:r>
              <a:rPr lang="en-US" sz="2400" dirty="0" err="1"/>
              <a:t>nguyê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electron </a:t>
            </a:r>
            <a:r>
              <a:rPr lang="en-US" sz="2400" dirty="0" err="1"/>
              <a:t>tự</a:t>
            </a:r>
            <a:r>
              <a:rPr lang="en-US" sz="2400" dirty="0"/>
              <a:t> do,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.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nhỏ</a:t>
            </a:r>
            <a:endParaRPr 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76C1C5-C786-3ACE-D50A-25FFC14098B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DFFFE"/>
              </a:clrFrom>
              <a:clrTo>
                <a:srgbClr val="FD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39291" y="1608709"/>
            <a:ext cx="611505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27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149903" y="1722343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Trong </a:t>
            </a:r>
            <a:r>
              <a:rPr lang="en-US" sz="2400" dirty="0" err="1"/>
              <a:t>bóng</a:t>
            </a:r>
            <a:r>
              <a:rPr lang="en-US" sz="2400" dirty="0"/>
              <a:t> </a:t>
            </a:r>
            <a:r>
              <a:rPr lang="en-US" sz="2400" dirty="0" err="1"/>
              <a:t>tối</a:t>
            </a:r>
            <a:r>
              <a:rPr lang="en-US" sz="2400" dirty="0"/>
              <a:t>,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lên</a:t>
            </a:r>
            <a:r>
              <a:rPr lang="en-US" sz="2400" dirty="0"/>
              <a:t> </a:t>
            </a:r>
            <a:r>
              <a:rPr lang="en-US" sz="2400" dirty="0" err="1"/>
              <a:t>đế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M</a:t>
            </a:r>
            <a:r>
              <a:rPr lang="el-GR" sz="2400" dirty="0"/>
              <a:t>Ω</a:t>
            </a:r>
            <a:r>
              <a:rPr lang="en-US" sz="2400" dirty="0"/>
              <a:t>,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 </a:t>
            </a:r>
            <a:r>
              <a:rPr lang="en-US" sz="2400" dirty="0" err="1"/>
              <a:t>xuống</a:t>
            </a:r>
            <a:r>
              <a:rPr lang="en-US" sz="2400" dirty="0"/>
              <a:t> </a:t>
            </a:r>
            <a:r>
              <a:rPr lang="en-US" sz="2400" dirty="0" err="1"/>
              <a:t>cò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</a:t>
            </a:r>
            <a:r>
              <a:rPr lang="en-US" sz="2400" dirty="0" err="1"/>
              <a:t>trăm</a:t>
            </a:r>
            <a:r>
              <a:rPr lang="en-US" sz="2400" dirty="0"/>
              <a:t> </a:t>
            </a:r>
            <a:r>
              <a:rPr lang="en-US" sz="2400" dirty="0" err="1"/>
              <a:t>ôm</a:t>
            </a:r>
            <a:r>
              <a:rPr lang="en-US" sz="2400" dirty="0"/>
              <a:t>.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tuyến</a:t>
            </a:r>
            <a:r>
              <a:rPr lang="en-US" sz="2400" dirty="0"/>
              <a:t> </a:t>
            </a:r>
            <a:r>
              <a:rPr lang="en-US" sz="2400" dirty="0" err="1"/>
              <a:t>tính</a:t>
            </a: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5468D7-6B5C-51E3-A490-2DFB5E38F3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13356" y="1075780"/>
            <a:ext cx="5078533" cy="39917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0CF69A0-FEB4-DBF9-A368-9D154C4C7DBB}"/>
              </a:ext>
            </a:extLst>
          </p:cNvPr>
          <p:cNvSpPr txBox="1"/>
          <p:nvPr/>
        </p:nvSpPr>
        <p:spPr>
          <a:xfrm>
            <a:off x="149903" y="3565998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Khi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, </a:t>
            </a:r>
            <a:r>
              <a:rPr lang="en-US" sz="2400" dirty="0" err="1"/>
              <a:t>tức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0B710-1E35-C7D6-814E-C131A4D3BEC3}"/>
              </a:ext>
            </a:extLst>
          </p:cNvPr>
          <p:cNvSpPr txBox="1"/>
          <p:nvPr/>
        </p:nvSpPr>
        <p:spPr>
          <a:xfrm>
            <a:off x="167402" y="5687637"/>
            <a:ext cx="11857195" cy="83099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Quang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ể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o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á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hoặ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ù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o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ứ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ều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khiể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iế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ị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ằ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ứ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ạ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737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6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873083"/>
            <a:ext cx="11932170" cy="1597843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366044" y="5185854"/>
            <a:ext cx="11601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oạ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rõ</a:t>
            </a:r>
            <a:r>
              <a:rPr lang="en-US" sz="2400" dirty="0"/>
              <a:t> </a:t>
            </a:r>
            <a:r>
              <a:rPr lang="en-US" sz="2400" dirty="0" err="1"/>
              <a:t>rệt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26FC37-58D9-315B-E482-C70A451690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283" y="2146823"/>
            <a:ext cx="3627434" cy="1729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0221060-4B58-63C2-8D43-037123E7138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18072" y="1439104"/>
            <a:ext cx="3171004" cy="31453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71EF14-F7B5-D48D-8817-2D8AAA85BE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2900" y="1420523"/>
            <a:ext cx="3767137" cy="275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3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EE92C6-2CC4-FE22-1490-C11E68BDB1E2}"/>
              </a:ext>
            </a:extLst>
          </p:cNvPr>
          <p:cNvGrpSpPr/>
          <p:nvPr/>
        </p:nvGrpSpPr>
        <p:grpSpPr>
          <a:xfrm>
            <a:off x="685800" y="962919"/>
            <a:ext cx="4739914" cy="3955429"/>
            <a:chOff x="685800" y="962919"/>
            <a:chExt cx="4739914" cy="395542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084EE6B-E63A-C61F-650E-649A00F407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CFCFA"/>
                </a:clrFrom>
                <a:clrTo>
                  <a:srgbClr val="FCFC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8199" y="962919"/>
              <a:ext cx="4587515" cy="389751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0A7F42-7447-7590-DB44-BD32C8DF0B11}"/>
                </a:ext>
              </a:extLst>
            </p:cNvPr>
            <p:cNvSpPr txBox="1"/>
            <p:nvPr/>
          </p:nvSpPr>
          <p:spPr>
            <a:xfrm>
              <a:off x="685800" y="4456683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chemeClr val="accent1"/>
                  </a:solidFill>
                </a:rPr>
                <a:t>Điện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rở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giảm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khi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nhiệt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độ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ăng</a:t>
              </a:r>
              <a:endParaRPr lang="en-US" sz="2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481E0F-5BEB-EADF-34EB-364344D93D71}"/>
              </a:ext>
            </a:extLst>
          </p:cNvPr>
          <p:cNvGrpSpPr/>
          <p:nvPr/>
        </p:nvGrpSpPr>
        <p:grpSpPr>
          <a:xfrm>
            <a:off x="6013450" y="1662683"/>
            <a:ext cx="5016500" cy="3223399"/>
            <a:chOff x="6013450" y="1662683"/>
            <a:chExt cx="5016500" cy="322339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CD89D8A-9720-DF1F-7F23-C40AF092F3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DFDFF"/>
                </a:clrFrom>
                <a:clrTo>
                  <a:srgbClr val="FDFD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13450" y="1662683"/>
              <a:ext cx="5016500" cy="27940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A5B77F-67DB-D664-9635-B7CBF39E8FF7}"/>
                </a:ext>
              </a:extLst>
            </p:cNvPr>
            <p:cNvSpPr txBox="1"/>
            <p:nvPr/>
          </p:nvSpPr>
          <p:spPr>
            <a:xfrm>
              <a:off x="6263913" y="4424417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00B050"/>
                  </a:solidFill>
                </a:rPr>
                <a:t>Điện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rở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khi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nhiệt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độ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endParaRPr lang="en-US" sz="2400" dirty="0">
                <a:solidFill>
                  <a:srgbClr val="00B050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B07C40E-5D9E-1202-D03A-7E95615882D9}"/>
              </a:ext>
            </a:extLst>
          </p:cNvPr>
          <p:cNvSpPr txBox="1"/>
          <p:nvPr/>
        </p:nvSpPr>
        <p:spPr>
          <a:xfrm>
            <a:off x="400050" y="5018687"/>
            <a:ext cx="11391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hi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: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E96735-D4DD-F66F-784A-0596F7FE5E10}"/>
              </a:ext>
            </a:extLst>
          </p:cNvPr>
          <p:cNvSpPr txBox="1"/>
          <p:nvPr/>
        </p:nvSpPr>
        <p:spPr>
          <a:xfrm>
            <a:off x="1303020" y="6105976"/>
            <a:ext cx="9585960" cy="46166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là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ả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iế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1202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2" grpId="0"/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heme/theme1.xml><?xml version="1.0" encoding="utf-8"?>
<a:theme xmlns:a="http://schemas.openxmlformats.org/drawingml/2006/main" name="Office Theme">
  <a:themeElements>
    <a:clrScheme name="PTIFY - Cobalt  - Light">
      <a:dk1>
        <a:srgbClr val="341933"/>
      </a:dk1>
      <a:lt1>
        <a:srgbClr val="FFFFFF"/>
      </a:lt1>
      <a:dk2>
        <a:srgbClr val="562855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PPTIFY Space - Dark">
      <a:dk1>
        <a:srgbClr val="FFFFFF"/>
      </a:dk1>
      <a:lt1>
        <a:srgbClr val="FFFFFF"/>
      </a:lt1>
      <a:dk2>
        <a:srgbClr val="FFFFFF"/>
      </a:dk2>
      <a:lt2>
        <a:srgbClr val="0B0D43"/>
      </a:lt2>
      <a:accent1>
        <a:srgbClr val="6A38A0"/>
      </a:accent1>
      <a:accent2>
        <a:srgbClr val="57C0FC"/>
      </a:accent2>
      <a:accent3>
        <a:srgbClr val="E89BC8"/>
      </a:accent3>
      <a:accent4>
        <a:srgbClr val="1669CF"/>
      </a:accent4>
      <a:accent5>
        <a:srgbClr val="3FE4EC"/>
      </a:accent5>
      <a:accent6>
        <a:srgbClr val="B445BB"/>
      </a:accent6>
      <a:hlink>
        <a:srgbClr val="F6F7F6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4</TotalTime>
  <Words>2362</Words>
  <PresentationFormat>Widescreen</PresentationFormat>
  <Paragraphs>155</Paragraphs>
  <Slides>2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5" baseType="lpstr">
      <vt:lpstr>Abhaya Libre</vt:lpstr>
      <vt:lpstr>Abhaya Libre ExtraBold</vt:lpstr>
      <vt:lpstr>Arial</vt:lpstr>
      <vt:lpstr>Bahnschrift</vt:lpstr>
      <vt:lpstr>Calibri</vt:lpstr>
      <vt:lpstr>Calibri Light</vt:lpstr>
      <vt:lpstr>Century Gothic</vt:lpstr>
      <vt:lpstr>Dosis</vt:lpstr>
      <vt:lpstr>Roboto Regular</vt:lpstr>
      <vt:lpstr>Times New Roman</vt:lpstr>
      <vt:lpstr>Office Theme</vt:lpstr>
      <vt:lpstr>Tema de Office</vt:lpstr>
      <vt:lpstr>3_Office Theme</vt:lpstr>
      <vt:lpstr>4_Office Theme</vt:lpstr>
      <vt:lpstr>5_Office Theme</vt:lpstr>
      <vt:lpstr>1_Office Theme</vt:lpstr>
      <vt:lpstr>think-cell Slide</vt:lpstr>
      <vt:lpstr>PowerPoint Presentation</vt:lpstr>
      <vt:lpstr>PowerPoint Presentation</vt:lpstr>
      <vt:lpstr>PowerPoint Presentation</vt:lpstr>
      <vt:lpstr>I. KHÁI NIỆM VÀ PHÂN LOẠI CẢM BIẾN</vt:lpstr>
      <vt:lpstr>PowerPoint Presentation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PowerPoint Presentation</vt:lpstr>
      <vt:lpstr>I. BỘ KHUẾCH ĐẠI VÀ BỘ KHUẾCH ĐẠI THUẬT TOÁN</vt:lpstr>
      <vt:lpstr>Kí hiệu bộ khuếch đại thuật toán</vt:lpstr>
      <vt:lpstr>PowerPoint Presentation</vt:lpstr>
      <vt:lpstr>III. THIẾT BỊ ĐẦU RA</vt:lpstr>
      <vt:lpstr>Cấu tạo và hoạt động của relay điện từ</vt:lpstr>
      <vt:lpstr>2. Diode phát quang (LED)</vt:lpstr>
      <vt:lpstr>3. Bộ hiển thị</vt:lpstr>
      <vt:lpstr>BÀI 9. MẠCH ĐIỆN ĐƠN GIẢN CÓ SỬ DỤNG THIẾT BỊ ĐẦU RA</vt:lpstr>
      <vt:lpstr>I. MẠCH ĐIỆN TẠO TÍN HIỆU ĐIỀU KHIỂN THIẾT BỊ TỰ ĐỘNG SỬ DỤNG CẢM BIẾN</vt:lpstr>
      <vt:lpstr>II. MỘT SỐ MẠCH ĐIỆN ỨNG DỤNG CẢM BIẾN</vt:lpstr>
      <vt:lpstr>II. MỘT SỐ MẠCH ĐIỆN ỨNG DỤNG CẢM BIẾN</vt:lpstr>
      <vt:lpstr>Thiết bị cảnh báo rò rỉ khí cháy thực tế</vt:lpstr>
      <vt:lpstr>II. MỘT SỐ MẠCH ĐIỆN ỨNG DỤNG CẢM BIẾN</vt:lpstr>
      <vt:lpstr>3. Mạch điện tự động đóng mở van nước</vt:lpstr>
      <vt:lpstr>3. Mạch điện tự động đóng mở van nước</vt:lpstr>
      <vt:lpstr>4. Mạch điện đo nhiệt độ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dcterms:created xsi:type="dcterms:W3CDTF">2018-12-21T22:04:22Z</dcterms:created>
  <dcterms:modified xsi:type="dcterms:W3CDTF">2023-07-24T15:06:58Z</dcterms:modified>
</cp:coreProperties>
</file>